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5.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notesSlides/notesSlide2.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theme/themeOverride1.xml" ContentType="application/vnd.openxmlformats-officedocument.themeOverrid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38" r:id="rId5"/>
    <p:sldMasterId id="2147483765" r:id="rId6"/>
    <p:sldMasterId id="2147483778" r:id="rId7"/>
    <p:sldMasterId id="2147483819" r:id="rId8"/>
    <p:sldMasterId id="2147483847" r:id="rId9"/>
  </p:sldMasterIdLst>
  <p:notesMasterIdLst>
    <p:notesMasterId r:id="rId43"/>
  </p:notesMasterIdLst>
  <p:sldIdLst>
    <p:sldId id="256" r:id="rId10"/>
    <p:sldId id="2147469824" r:id="rId11"/>
    <p:sldId id="266" r:id="rId12"/>
    <p:sldId id="482" r:id="rId13"/>
    <p:sldId id="2147469821" r:id="rId14"/>
    <p:sldId id="2147469806" r:id="rId15"/>
    <p:sldId id="2147469829" r:id="rId16"/>
    <p:sldId id="2147469822" r:id="rId17"/>
    <p:sldId id="481" r:id="rId18"/>
    <p:sldId id="2147469827" r:id="rId19"/>
    <p:sldId id="2147469823" r:id="rId20"/>
    <p:sldId id="2147469826" r:id="rId21"/>
    <p:sldId id="2147469825" r:id="rId22"/>
    <p:sldId id="2147469828" r:id="rId23"/>
    <p:sldId id="2147470050" r:id="rId24"/>
    <p:sldId id="2147469830" r:id="rId25"/>
    <p:sldId id="2147470056" r:id="rId26"/>
    <p:sldId id="329" r:id="rId27"/>
    <p:sldId id="298" r:id="rId28"/>
    <p:sldId id="349" r:id="rId29"/>
    <p:sldId id="2147470051" r:id="rId30"/>
    <p:sldId id="2147469805" r:id="rId31"/>
    <p:sldId id="341" r:id="rId32"/>
    <p:sldId id="2147469790" r:id="rId33"/>
    <p:sldId id="2147469816" r:id="rId34"/>
    <p:sldId id="693" r:id="rId35"/>
    <p:sldId id="2147470053" r:id="rId36"/>
    <p:sldId id="11808" r:id="rId37"/>
    <p:sldId id="2147470055" r:id="rId38"/>
    <p:sldId id="2145706903" r:id="rId39"/>
    <p:sldId id="2145706900" r:id="rId40"/>
    <p:sldId id="2147469789" r:id="rId41"/>
    <p:sldId id="268" r:id="rId42"/>
  </p:sldIdLst>
  <p:sldSz cx="12192000" cy="6858000"/>
  <p:notesSz cx="6797675" cy="9926638"/>
  <p:defaultTex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48" userDrawn="1">
          <p15:clr>
            <a:srgbClr val="A4A3A4"/>
          </p15:clr>
        </p15:guide>
        <p15:guide id="2" pos="71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D3F3"/>
    <a:srgbClr val="C62B37"/>
    <a:srgbClr val="E3EDC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DD0B40-EE95-480C-AE91-E75053A9FE4A}" v="141" dt="2023-05-30T06:38:27.33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796" autoAdjust="0"/>
  </p:normalViewPr>
  <p:slideViewPr>
    <p:cSldViewPr snapToObjects="1">
      <p:cViewPr varScale="1">
        <p:scale>
          <a:sx n="78" d="100"/>
          <a:sy n="78" d="100"/>
        </p:scale>
        <p:origin x="878" y="67"/>
      </p:cViewPr>
      <p:guideLst>
        <p:guide orient="horz" pos="3748"/>
        <p:guide pos="71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notesMaster" Target="notesMasters/notesMaster1.xml"/><Relationship Id="rId48"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oleObject" Target="https://edfluminus-my.sharepoint.com/personal/gregory_michiels_luminus_be/Documents/gas%20suppl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https://febeg.sharepoint.com/Shared%20Documents/Economisch%20Departement/Commissie%20Producenten/020.%20Statistieken%20sector/Elektriciteit%20en%20gas/FEBEG/2023/Retail%20Statistics%202022%20(2023)/2020-2021-2022-2023_Prijsevolutie_Grafieken.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https://siapartners1.sharepoint.com/sites/BENE_BU_NRI/Documents%20partages/General/BU_NRG_NL&amp;BE/03.%20Missions/01.%20Current%20missions/50.%20FEBEG%20-%20Study%20suppliers%202022/Excel/FEBEG_Calculations_2023.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_rels/chart9.xml.rels><?xml version="1.0" encoding="UTF-8" standalone="yes"?>
<Relationships xmlns="http://schemas.openxmlformats.org/package/2006/relationships"><Relationship Id="rId3" Type="http://schemas.openxmlformats.org/officeDocument/2006/relationships/oleObject" Target="https://febeg-my.sharepoint.com/personal/mvdb_febeg_be/Documents/literatuur/20230418_CRM_Assumptions_Workbook_review-%202022.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European Gas impor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l-BE"/>
        </a:p>
      </c:txPr>
    </c:title>
    <c:autoTitleDeleted val="0"/>
    <c:plotArea>
      <c:layout/>
      <c:barChart>
        <c:barDir val="col"/>
        <c:grouping val="stacked"/>
        <c:varyColors val="0"/>
        <c:ser>
          <c:idx val="0"/>
          <c:order val="0"/>
          <c:tx>
            <c:strRef>
              <c:f>Sheet1!$A$12</c:f>
              <c:strCache>
                <c:ptCount val="1"/>
                <c:pt idx="0">
                  <c:v>Norway pip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1:$C$11</c:f>
              <c:strCache>
                <c:ptCount val="2"/>
                <c:pt idx="0">
                  <c:v>Winter 20-21</c:v>
                </c:pt>
                <c:pt idx="1">
                  <c:v>Winter 21-22</c:v>
                </c:pt>
              </c:strCache>
            </c:strRef>
          </c:cat>
          <c:val>
            <c:numRef>
              <c:f>Sheet1!$B$12:$C$12</c:f>
              <c:numCache>
                <c:formatCode>0%</c:formatCode>
                <c:ptCount val="2"/>
                <c:pt idx="0">
                  <c:v>0.24</c:v>
                </c:pt>
                <c:pt idx="1">
                  <c:v>0.28000000000000003</c:v>
                </c:pt>
              </c:numCache>
            </c:numRef>
          </c:val>
          <c:extLst>
            <c:ext xmlns:c16="http://schemas.microsoft.com/office/drawing/2014/chart" uri="{C3380CC4-5D6E-409C-BE32-E72D297353CC}">
              <c16:uniqueId val="{00000000-8629-4459-8A7E-E720E6D09A63}"/>
            </c:ext>
          </c:extLst>
        </c:ser>
        <c:ser>
          <c:idx val="1"/>
          <c:order val="1"/>
          <c:tx>
            <c:strRef>
              <c:f>Sheet1!$A$13</c:f>
              <c:strCache>
                <c:ptCount val="1"/>
                <c:pt idx="0">
                  <c:v>Russia pipe</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8629-4459-8A7E-E720E6D09A6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1:$C$11</c:f>
              <c:strCache>
                <c:ptCount val="2"/>
                <c:pt idx="0">
                  <c:v>Winter 20-21</c:v>
                </c:pt>
                <c:pt idx="1">
                  <c:v>Winter 21-22</c:v>
                </c:pt>
              </c:strCache>
            </c:strRef>
          </c:cat>
          <c:val>
            <c:numRef>
              <c:f>Sheet1!$B$13:$C$13</c:f>
              <c:numCache>
                <c:formatCode>0%</c:formatCode>
                <c:ptCount val="2"/>
                <c:pt idx="0">
                  <c:v>0.42</c:v>
                </c:pt>
                <c:pt idx="1">
                  <c:v>0</c:v>
                </c:pt>
              </c:numCache>
            </c:numRef>
          </c:val>
          <c:extLst>
            <c:ext xmlns:c16="http://schemas.microsoft.com/office/drawing/2014/chart" uri="{C3380CC4-5D6E-409C-BE32-E72D297353CC}">
              <c16:uniqueId val="{00000002-8629-4459-8A7E-E720E6D09A63}"/>
            </c:ext>
          </c:extLst>
        </c:ser>
        <c:ser>
          <c:idx val="2"/>
          <c:order val="2"/>
          <c:tx>
            <c:strRef>
              <c:f>Sheet1!$A$14</c:f>
              <c:strCache>
                <c:ptCount val="1"/>
                <c:pt idx="0">
                  <c:v>North Africa pip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1:$C$11</c:f>
              <c:strCache>
                <c:ptCount val="2"/>
                <c:pt idx="0">
                  <c:v>Winter 20-21</c:v>
                </c:pt>
                <c:pt idx="1">
                  <c:v>Winter 21-22</c:v>
                </c:pt>
              </c:strCache>
            </c:strRef>
          </c:cat>
          <c:val>
            <c:numRef>
              <c:f>Sheet1!$B$14:$C$14</c:f>
              <c:numCache>
                <c:formatCode>0%</c:formatCode>
                <c:ptCount val="2"/>
                <c:pt idx="0">
                  <c:v>0.13</c:v>
                </c:pt>
                <c:pt idx="1">
                  <c:v>0.13</c:v>
                </c:pt>
              </c:numCache>
            </c:numRef>
          </c:val>
          <c:extLst>
            <c:ext xmlns:c16="http://schemas.microsoft.com/office/drawing/2014/chart" uri="{C3380CC4-5D6E-409C-BE32-E72D297353CC}">
              <c16:uniqueId val="{00000003-8629-4459-8A7E-E720E6D09A63}"/>
            </c:ext>
          </c:extLst>
        </c:ser>
        <c:ser>
          <c:idx val="3"/>
          <c:order val="3"/>
          <c:tx>
            <c:strRef>
              <c:f>Sheet1!$A$15</c:f>
              <c:strCache>
                <c:ptCount val="1"/>
                <c:pt idx="0">
                  <c:v>LNG</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1:$C$11</c:f>
              <c:strCache>
                <c:ptCount val="2"/>
                <c:pt idx="0">
                  <c:v>Winter 20-21</c:v>
                </c:pt>
                <c:pt idx="1">
                  <c:v>Winter 21-22</c:v>
                </c:pt>
              </c:strCache>
            </c:strRef>
          </c:cat>
          <c:val>
            <c:numRef>
              <c:f>Sheet1!$B$15:$C$15</c:f>
              <c:numCache>
                <c:formatCode>0%</c:formatCode>
                <c:ptCount val="2"/>
                <c:pt idx="0">
                  <c:v>0.2</c:v>
                </c:pt>
                <c:pt idx="1">
                  <c:v>0.37</c:v>
                </c:pt>
              </c:numCache>
            </c:numRef>
          </c:val>
          <c:extLst>
            <c:ext xmlns:c16="http://schemas.microsoft.com/office/drawing/2014/chart" uri="{C3380CC4-5D6E-409C-BE32-E72D297353CC}">
              <c16:uniqueId val="{00000004-8629-4459-8A7E-E720E6D09A63}"/>
            </c:ext>
          </c:extLst>
        </c:ser>
        <c:ser>
          <c:idx val="4"/>
          <c:order val="4"/>
          <c:tx>
            <c:strRef>
              <c:f>Sheet1!$A$16</c:f>
              <c:strCache>
                <c:ptCount val="1"/>
                <c:pt idx="0">
                  <c:v>Azerbaijan via Trans-Adriatic pip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1:$C$11</c:f>
              <c:strCache>
                <c:ptCount val="2"/>
                <c:pt idx="0">
                  <c:v>Winter 20-21</c:v>
                </c:pt>
                <c:pt idx="1">
                  <c:v>Winter 21-22</c:v>
                </c:pt>
              </c:strCache>
            </c:strRef>
          </c:cat>
          <c:val>
            <c:numRef>
              <c:f>Sheet1!$B$16:$C$16</c:f>
              <c:numCache>
                <c:formatCode>0%</c:formatCode>
                <c:ptCount val="2"/>
                <c:pt idx="0">
                  <c:v>0.01</c:v>
                </c:pt>
                <c:pt idx="1">
                  <c:v>0.03</c:v>
                </c:pt>
              </c:numCache>
            </c:numRef>
          </c:val>
          <c:extLst>
            <c:ext xmlns:c16="http://schemas.microsoft.com/office/drawing/2014/chart" uri="{C3380CC4-5D6E-409C-BE32-E72D297353CC}">
              <c16:uniqueId val="{00000005-8629-4459-8A7E-E720E6D09A63}"/>
            </c:ext>
          </c:extLst>
        </c:ser>
        <c:ser>
          <c:idx val="5"/>
          <c:order val="5"/>
          <c:tx>
            <c:strRef>
              <c:f>Sheet1!$A$17</c:f>
              <c:strCache>
                <c:ptCount val="1"/>
                <c:pt idx="0">
                  <c:v>Sobriety, energy efficiency and demand reduction</c:v>
                </c:pt>
              </c:strCache>
            </c:strRef>
          </c:tx>
          <c:spPr>
            <a:solidFill>
              <a:srgbClr val="00CC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8629-4459-8A7E-E720E6D09A63}"/>
                </c:ext>
              </c:extLst>
            </c:dLbl>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l-BE"/>
                </a:p>
              </c:txPr>
              <c:dLblPos val="ctr"/>
              <c:showLegendKey val="0"/>
              <c:showVal val="1"/>
              <c:showCatName val="0"/>
              <c:showSerName val="0"/>
              <c:showPercent val="0"/>
              <c:showBubbleSize val="0"/>
              <c:extLst>
                <c:ext xmlns:c16="http://schemas.microsoft.com/office/drawing/2014/chart" uri="{C3380CC4-5D6E-409C-BE32-E72D297353CC}">
                  <c16:uniqueId val="{00000001-E3F8-4485-8C35-9F41ABEEC69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1:$C$11</c:f>
              <c:strCache>
                <c:ptCount val="2"/>
                <c:pt idx="0">
                  <c:v>Winter 20-21</c:v>
                </c:pt>
                <c:pt idx="1">
                  <c:v>Winter 21-22</c:v>
                </c:pt>
              </c:strCache>
            </c:strRef>
          </c:cat>
          <c:val>
            <c:numRef>
              <c:f>Sheet1!$B$17:$C$17</c:f>
              <c:numCache>
                <c:formatCode>0%</c:formatCode>
                <c:ptCount val="2"/>
                <c:pt idx="0">
                  <c:v>0</c:v>
                </c:pt>
                <c:pt idx="1">
                  <c:v>0.18999999999999995</c:v>
                </c:pt>
              </c:numCache>
            </c:numRef>
          </c:val>
          <c:extLst>
            <c:ext xmlns:c16="http://schemas.microsoft.com/office/drawing/2014/chart" uri="{C3380CC4-5D6E-409C-BE32-E72D297353CC}">
              <c16:uniqueId val="{00000007-8629-4459-8A7E-E720E6D09A63}"/>
            </c:ext>
          </c:extLst>
        </c:ser>
        <c:dLbls>
          <c:dLblPos val="ctr"/>
          <c:showLegendKey val="0"/>
          <c:showVal val="1"/>
          <c:showCatName val="0"/>
          <c:showSerName val="0"/>
          <c:showPercent val="0"/>
          <c:showBubbleSize val="0"/>
        </c:dLbls>
        <c:gapWidth val="150"/>
        <c:overlap val="100"/>
        <c:axId val="394747680"/>
        <c:axId val="394746040"/>
      </c:barChart>
      <c:catAx>
        <c:axId val="394747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BE"/>
          </a:p>
        </c:txPr>
        <c:crossAx val="394746040"/>
        <c:crosses val="autoZero"/>
        <c:auto val="1"/>
        <c:lblAlgn val="ctr"/>
        <c:lblOffset val="100"/>
        <c:noMultiLvlLbl val="0"/>
      </c:catAx>
      <c:valAx>
        <c:axId val="3947460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BE"/>
          </a:p>
        </c:txPr>
        <c:crossAx val="394747680"/>
        <c:crosses val="autoZero"/>
        <c:crossBetween val="between"/>
      </c:valAx>
      <c:spPr>
        <a:noFill/>
        <a:ln w="25400">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B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fr-FR"/>
              <a:t>Evolution of residential tariffs for gas (VL)</a:t>
            </a:r>
          </a:p>
        </c:rich>
      </c:tx>
      <c:overlay val="0"/>
      <c:spPr>
        <a:noFill/>
        <a:ln>
          <a:noFill/>
        </a:ln>
        <a:effectLst/>
      </c:spPr>
    </c:title>
    <c:autoTitleDeleted val="0"/>
    <c:plotArea>
      <c:layout/>
      <c:barChart>
        <c:barDir val="col"/>
        <c:grouping val="clustered"/>
        <c:varyColors val="0"/>
        <c:ser>
          <c:idx val="0"/>
          <c:order val="0"/>
          <c:tx>
            <c:strRef>
              <c:f>'[2020-2021-2022-2023_Prijsevolutie_Grafieken.xlsx]GAS VL'!$A$14</c:f>
              <c:strCache>
                <c:ptCount val="1"/>
                <c:pt idx="0">
                  <c:v>Residential commercial tariff (all in price)</c:v>
                </c:pt>
              </c:strCache>
            </c:strRef>
          </c:tx>
          <c:spPr>
            <a:solidFill>
              <a:schemeClr val="accent1"/>
            </a:solidFill>
            <a:ln>
              <a:noFill/>
            </a:ln>
            <a:effectLst/>
          </c:spPr>
          <c:invertIfNegative val="0"/>
          <c:dLbls>
            <c:numFmt formatCode="#,##0\ &quot;€&quot;" sourceLinked="0"/>
            <c:spPr>
              <a:noFill/>
              <a:ln>
                <a:noFill/>
              </a:ln>
              <a:effectLst/>
            </c:spPr>
            <c:txPr>
              <a:bodyPr rot="-5400000" vert="horz"/>
              <a:lstStyle/>
              <a:p>
                <a:pPr>
                  <a:defRPr sz="1100" b="1">
                    <a:solidFill>
                      <a:srgbClr val="FFFFFF"/>
                    </a:solidFill>
                  </a:defRPr>
                </a:pPr>
                <a:endParaRPr lang="nl-B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2020-2021-2022-2023_Prijsevolutie_Grafieken.xlsx]GAS VL'!$B$13:$AO$13</c:f>
              <c:numCache>
                <c:formatCode>mmm\-yy</c:formatCode>
                <c:ptCount val="23"/>
                <c:pt idx="0">
                  <c:v>44348</c:v>
                </c:pt>
                <c:pt idx="1">
                  <c:v>44378</c:v>
                </c:pt>
                <c:pt idx="2">
                  <c:v>44409</c:v>
                </c:pt>
                <c:pt idx="3">
                  <c:v>44440</c:v>
                </c:pt>
                <c:pt idx="4">
                  <c:v>44470</c:v>
                </c:pt>
                <c:pt idx="5">
                  <c:v>44501</c:v>
                </c:pt>
                <c:pt idx="6">
                  <c:v>44531</c:v>
                </c:pt>
                <c:pt idx="7">
                  <c:v>44562</c:v>
                </c:pt>
                <c:pt idx="8">
                  <c:v>44593</c:v>
                </c:pt>
                <c:pt idx="9">
                  <c:v>44621</c:v>
                </c:pt>
                <c:pt idx="10">
                  <c:v>44652</c:v>
                </c:pt>
                <c:pt idx="11">
                  <c:v>44682</c:v>
                </c:pt>
                <c:pt idx="12">
                  <c:v>44713</c:v>
                </c:pt>
                <c:pt idx="13">
                  <c:v>44743</c:v>
                </c:pt>
                <c:pt idx="14">
                  <c:v>44774</c:v>
                </c:pt>
                <c:pt idx="15">
                  <c:v>44805</c:v>
                </c:pt>
                <c:pt idx="16">
                  <c:v>44835</c:v>
                </c:pt>
                <c:pt idx="17">
                  <c:v>44866</c:v>
                </c:pt>
                <c:pt idx="18">
                  <c:v>44896</c:v>
                </c:pt>
                <c:pt idx="19">
                  <c:v>44927</c:v>
                </c:pt>
                <c:pt idx="20">
                  <c:v>44958</c:v>
                </c:pt>
                <c:pt idx="21">
                  <c:v>44986</c:v>
                </c:pt>
                <c:pt idx="22">
                  <c:v>45017</c:v>
                </c:pt>
              </c:numCache>
              <c:extLst/>
            </c:numRef>
          </c:cat>
          <c:val>
            <c:numRef>
              <c:f>'[2020-2021-2022-2023_Prijsevolutie_Grafieken.xlsx]GAS VL'!$B$14:$AO$14</c:f>
              <c:numCache>
                <c:formatCode>_("€"* #,##0.00_);_("€"* \(#,##0.00\);_("€"* "-"??_);_(@_)</c:formatCode>
                <c:ptCount val="23"/>
                <c:pt idx="0">
                  <c:v>855.1</c:v>
                </c:pt>
                <c:pt idx="1">
                  <c:v>1001.3</c:v>
                </c:pt>
                <c:pt idx="2">
                  <c:v>1088</c:v>
                </c:pt>
                <c:pt idx="3">
                  <c:v>1183.2</c:v>
                </c:pt>
                <c:pt idx="4">
                  <c:v>1728.9</c:v>
                </c:pt>
                <c:pt idx="5">
                  <c:v>1980.5</c:v>
                </c:pt>
                <c:pt idx="6">
                  <c:v>1943.1</c:v>
                </c:pt>
                <c:pt idx="7">
                  <c:v>2662.2</c:v>
                </c:pt>
                <c:pt idx="8">
                  <c:v>2323.9</c:v>
                </c:pt>
                <c:pt idx="9">
                  <c:v>2295</c:v>
                </c:pt>
                <c:pt idx="10">
                  <c:v>2679.2</c:v>
                </c:pt>
                <c:pt idx="11">
                  <c:v>2320.5</c:v>
                </c:pt>
                <c:pt idx="12">
                  <c:v>2199.8000000000002</c:v>
                </c:pt>
                <c:pt idx="13">
                  <c:v>2289.9</c:v>
                </c:pt>
                <c:pt idx="14">
                  <c:v>2714.9</c:v>
                </c:pt>
                <c:pt idx="15">
                  <c:v>2890</c:v>
                </c:pt>
                <c:pt idx="16">
                  <c:v>3469.7</c:v>
                </c:pt>
                <c:pt idx="17">
                  <c:v>2720</c:v>
                </c:pt>
                <c:pt idx="18">
                  <c:v>3087.2</c:v>
                </c:pt>
                <c:pt idx="19">
                  <c:v>2663.9</c:v>
                </c:pt>
                <c:pt idx="20">
                  <c:v>2172.6</c:v>
                </c:pt>
                <c:pt idx="21">
                  <c:v>2065.5</c:v>
                </c:pt>
                <c:pt idx="22">
                  <c:v>1433.1</c:v>
                </c:pt>
              </c:numCache>
              <c:extLst/>
            </c:numRef>
          </c:val>
          <c:extLst>
            <c:ext xmlns:c16="http://schemas.microsoft.com/office/drawing/2014/chart" uri="{C3380CC4-5D6E-409C-BE32-E72D297353CC}">
              <c16:uniqueId val="{00000000-A259-46CE-962C-81118E06B974}"/>
            </c:ext>
          </c:extLst>
        </c:ser>
        <c:ser>
          <c:idx val="1"/>
          <c:order val="1"/>
          <c:tx>
            <c:strRef>
              <c:f>'[2020-2021-2022-2023_Prijsevolutie_Grafieken.xlsx]GAS VL'!$A$15</c:f>
              <c:strCache>
                <c:ptCount val="1"/>
                <c:pt idx="0">
                  <c:v>Residential social tariff (all in price)</c:v>
                </c:pt>
              </c:strCache>
            </c:strRef>
          </c:tx>
          <c:spPr>
            <a:solidFill>
              <a:schemeClr val="accent2"/>
            </a:solidFill>
            <a:ln>
              <a:noFill/>
            </a:ln>
            <a:effectLst/>
          </c:spPr>
          <c:invertIfNegative val="0"/>
          <c:dLbls>
            <c:numFmt formatCode="#,##0\ &quot;€&quot;" sourceLinked="0"/>
            <c:spPr>
              <a:noFill/>
              <a:ln>
                <a:noFill/>
              </a:ln>
              <a:effectLst/>
            </c:spPr>
            <c:txPr>
              <a:bodyPr rot="-5400000" vert="horz"/>
              <a:lstStyle/>
              <a:p>
                <a:pPr>
                  <a:defRPr sz="1100" b="1"/>
                </a:pPr>
                <a:endParaRPr lang="nl-BE"/>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2020-2021-2022-2023_Prijsevolutie_Grafieken.xlsx]GAS VL'!$B$13:$AO$13</c:f>
              <c:numCache>
                <c:formatCode>mmm\-yy</c:formatCode>
                <c:ptCount val="23"/>
                <c:pt idx="0">
                  <c:v>44348</c:v>
                </c:pt>
                <c:pt idx="1">
                  <c:v>44378</c:v>
                </c:pt>
                <c:pt idx="2">
                  <c:v>44409</c:v>
                </c:pt>
                <c:pt idx="3">
                  <c:v>44440</c:v>
                </c:pt>
                <c:pt idx="4">
                  <c:v>44470</c:v>
                </c:pt>
                <c:pt idx="5">
                  <c:v>44501</c:v>
                </c:pt>
                <c:pt idx="6">
                  <c:v>44531</c:v>
                </c:pt>
                <c:pt idx="7">
                  <c:v>44562</c:v>
                </c:pt>
                <c:pt idx="8">
                  <c:v>44593</c:v>
                </c:pt>
                <c:pt idx="9">
                  <c:v>44621</c:v>
                </c:pt>
                <c:pt idx="10">
                  <c:v>44652</c:v>
                </c:pt>
                <c:pt idx="11">
                  <c:v>44682</c:v>
                </c:pt>
                <c:pt idx="12">
                  <c:v>44713</c:v>
                </c:pt>
                <c:pt idx="13">
                  <c:v>44743</c:v>
                </c:pt>
                <c:pt idx="14">
                  <c:v>44774</c:v>
                </c:pt>
                <c:pt idx="15">
                  <c:v>44805</c:v>
                </c:pt>
                <c:pt idx="16">
                  <c:v>44835</c:v>
                </c:pt>
                <c:pt idx="17">
                  <c:v>44866</c:v>
                </c:pt>
                <c:pt idx="18">
                  <c:v>44896</c:v>
                </c:pt>
                <c:pt idx="19">
                  <c:v>44927</c:v>
                </c:pt>
                <c:pt idx="20">
                  <c:v>44958</c:v>
                </c:pt>
                <c:pt idx="21">
                  <c:v>44986</c:v>
                </c:pt>
                <c:pt idx="22">
                  <c:v>45017</c:v>
                </c:pt>
              </c:numCache>
              <c:extLst/>
            </c:numRef>
          </c:cat>
          <c:val>
            <c:numRef>
              <c:f>'[2020-2021-2022-2023_Prijsevolutie_Grafieken.xlsx]GAS VL'!$B$15:$AO$15</c:f>
              <c:numCache>
                <c:formatCode>_("€"* #,##0.00_);_("€"* \(#,##0.00\);_("€"* "-"??_);_(@_)</c:formatCode>
                <c:ptCount val="23"/>
                <c:pt idx="0">
                  <c:v>409.7</c:v>
                </c:pt>
                <c:pt idx="1">
                  <c:v>419.9</c:v>
                </c:pt>
                <c:pt idx="2">
                  <c:v>419.9</c:v>
                </c:pt>
                <c:pt idx="3">
                  <c:v>419.9</c:v>
                </c:pt>
                <c:pt idx="4">
                  <c:v>465.8</c:v>
                </c:pt>
                <c:pt idx="5">
                  <c:v>465.8</c:v>
                </c:pt>
                <c:pt idx="6">
                  <c:v>465.8</c:v>
                </c:pt>
                <c:pt idx="7">
                  <c:v>503.2</c:v>
                </c:pt>
                <c:pt idx="8">
                  <c:v>503.2</c:v>
                </c:pt>
                <c:pt idx="9">
                  <c:v>503.2</c:v>
                </c:pt>
                <c:pt idx="10">
                  <c:v>484.5</c:v>
                </c:pt>
                <c:pt idx="11">
                  <c:v>484.5</c:v>
                </c:pt>
                <c:pt idx="12">
                  <c:v>484.5</c:v>
                </c:pt>
                <c:pt idx="13">
                  <c:v>525.29999999999995</c:v>
                </c:pt>
                <c:pt idx="14">
                  <c:v>525.29999999999995</c:v>
                </c:pt>
                <c:pt idx="15">
                  <c:v>525.29999999999995</c:v>
                </c:pt>
                <c:pt idx="16">
                  <c:v>578</c:v>
                </c:pt>
                <c:pt idx="17">
                  <c:v>578</c:v>
                </c:pt>
                <c:pt idx="18">
                  <c:v>578</c:v>
                </c:pt>
                <c:pt idx="19">
                  <c:v>634.1</c:v>
                </c:pt>
                <c:pt idx="20">
                  <c:v>634.1</c:v>
                </c:pt>
                <c:pt idx="21">
                  <c:v>634.1</c:v>
                </c:pt>
                <c:pt idx="22">
                  <c:v>693.6</c:v>
                </c:pt>
              </c:numCache>
              <c:extLst/>
            </c:numRef>
          </c:val>
          <c:extLst>
            <c:ext xmlns:c16="http://schemas.microsoft.com/office/drawing/2014/chart" uri="{C3380CC4-5D6E-409C-BE32-E72D297353CC}">
              <c16:uniqueId val="{00000001-A259-46CE-962C-81118E06B974}"/>
            </c:ext>
          </c:extLst>
        </c:ser>
        <c:dLbls>
          <c:dLblPos val="outEnd"/>
          <c:showLegendKey val="0"/>
          <c:showVal val="1"/>
          <c:showCatName val="0"/>
          <c:showSerName val="0"/>
          <c:showPercent val="0"/>
          <c:showBubbleSize val="0"/>
        </c:dLbls>
        <c:gapWidth val="30"/>
        <c:overlap val="-13"/>
        <c:axId val="1887350831"/>
        <c:axId val="1887337935"/>
      </c:barChart>
      <c:dateAx>
        <c:axId val="1887350831"/>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b="1">
                <a:solidFill>
                  <a:schemeClr val="bg1">
                    <a:lumMod val="50000"/>
                  </a:schemeClr>
                </a:solidFill>
              </a:defRPr>
            </a:pPr>
            <a:endParaRPr lang="nl-BE"/>
          </a:p>
        </c:txPr>
        <c:crossAx val="1887337935"/>
        <c:crosses val="autoZero"/>
        <c:auto val="1"/>
        <c:lblOffset val="100"/>
        <c:baseTimeUnit val="months"/>
      </c:dateAx>
      <c:valAx>
        <c:axId val="1887337935"/>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quot;€&quot;" sourceLinked="0"/>
        <c:majorTickMark val="none"/>
        <c:minorTickMark val="none"/>
        <c:tickLblPos val="nextTo"/>
        <c:spPr>
          <a:noFill/>
          <a:ln>
            <a:noFill/>
          </a:ln>
          <a:effectLst/>
        </c:spPr>
        <c:txPr>
          <a:bodyPr rot="-60000000" vert="horz"/>
          <a:lstStyle/>
          <a:p>
            <a:pPr>
              <a:defRPr/>
            </a:pPr>
            <a:endParaRPr lang="nl-BE"/>
          </a:p>
        </c:txPr>
        <c:crossAx val="1887350831"/>
        <c:crosses val="autoZero"/>
        <c:crossBetween val="between"/>
      </c:valAx>
      <c:spPr>
        <a:noFill/>
        <a:ln>
          <a:noFill/>
        </a:ln>
        <a:effectLst/>
      </c:spPr>
    </c:plotArea>
    <c:legend>
      <c:legendPos val="b"/>
      <c:overlay val="0"/>
      <c:spPr>
        <a:noFill/>
        <a:ln>
          <a:noFill/>
        </a:ln>
        <a:effectLst/>
      </c:spPr>
      <c:txPr>
        <a:bodyPr rot="0" vert="horz"/>
        <a:lstStyle/>
        <a:p>
          <a:pPr>
            <a:defRPr sz="1200" b="1" cap="small" baseline="0"/>
          </a:pPr>
          <a:endParaRPr lang="nl-BE"/>
        </a:p>
      </c:txPr>
    </c:legend>
    <c:plotVisOnly val="1"/>
    <c:dispBlanksAs val="gap"/>
    <c:showDLblsOverMax val="0"/>
  </c:chart>
  <c:spPr>
    <a:solidFill>
      <a:sysClr val="window" lastClr="FFFFFF"/>
    </a:solidFill>
    <a:ln w="9525" cap="flat" cmpd="sng" algn="ctr">
      <a:noFill/>
      <a:round/>
    </a:ln>
    <a:effectLst/>
  </c:spPr>
  <c:txPr>
    <a:bodyPr/>
    <a:lstStyle/>
    <a:p>
      <a:pPr>
        <a:defRPr>
          <a:latin typeface="Lucida Sans" panose="020B0602030504020204" pitchFamily="34" charset="0"/>
        </a:defRPr>
      </a:pPr>
      <a:endParaRPr lang="nl-B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4 - Results'!$C$6</c:f>
              <c:strCache>
                <c:ptCount val="1"/>
                <c:pt idx="0">
                  <c:v>EBIT Margin</c:v>
                </c:pt>
              </c:strCache>
            </c:strRef>
          </c:tx>
          <c:spPr>
            <a:solidFill>
              <a:srgbClr val="1DE9B6"/>
            </a:solidFill>
            <a:ln>
              <a:noFill/>
            </a:ln>
            <a:effectLst/>
          </c:spPr>
          <c:invertIfNegative val="1"/>
          <c:dPt>
            <c:idx val="5"/>
            <c:invertIfNegative val="1"/>
            <c:bubble3D val="0"/>
            <c:spPr>
              <a:solidFill>
                <a:srgbClr val="1DE9B6"/>
              </a:solidFill>
              <a:ln>
                <a:noFill/>
              </a:ln>
              <a:effectLst/>
            </c:spPr>
            <c:extLst>
              <c:ext xmlns:c16="http://schemas.microsoft.com/office/drawing/2014/chart" uri="{C3380CC4-5D6E-409C-BE32-E72D297353CC}">
                <c16:uniqueId val="{00000001-4C51-4FCD-B2BD-E1A91E0D5D34}"/>
              </c:ext>
            </c:extLst>
          </c:dPt>
          <c:dPt>
            <c:idx val="6"/>
            <c:invertIfNegative val="1"/>
            <c:bubble3D val="0"/>
            <c:spPr>
              <a:solidFill>
                <a:srgbClr val="1DE9B6"/>
              </a:solidFill>
              <a:ln>
                <a:noFill/>
              </a:ln>
              <a:effectLst/>
            </c:spPr>
            <c:extLst>
              <c:ext xmlns:c16="http://schemas.microsoft.com/office/drawing/2014/chart" uri="{C3380CC4-5D6E-409C-BE32-E72D297353CC}">
                <c16:uniqueId val="{00000003-4C51-4FCD-B2BD-E1A91E0D5D34}"/>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4 - Results'!$N$7:$N$13</c:f>
              <c:numCache>
                <c:formatCode>General</c:formatCode>
                <c:ptCount val="7"/>
                <c:pt idx="0">
                  <c:v>2016</c:v>
                </c:pt>
                <c:pt idx="1">
                  <c:v>2017</c:v>
                </c:pt>
                <c:pt idx="2">
                  <c:v>2018</c:v>
                </c:pt>
                <c:pt idx="3">
                  <c:v>2019</c:v>
                </c:pt>
                <c:pt idx="4">
                  <c:v>2020</c:v>
                </c:pt>
                <c:pt idx="5">
                  <c:v>2021</c:v>
                </c:pt>
                <c:pt idx="6">
                  <c:v>2022</c:v>
                </c:pt>
              </c:numCache>
            </c:numRef>
          </c:cat>
          <c:val>
            <c:numRef>
              <c:f>'#4 - Results'!$O$7:$O$13</c:f>
              <c:numCache>
                <c:formatCode>0.00%</c:formatCode>
                <c:ptCount val="7"/>
                <c:pt idx="0">
                  <c:v>2.0397540496826828E-2</c:v>
                </c:pt>
                <c:pt idx="1">
                  <c:v>1.8684522716335181E-2</c:v>
                </c:pt>
                <c:pt idx="2">
                  <c:v>9.4452278943595001E-3</c:v>
                </c:pt>
                <c:pt idx="3">
                  <c:v>1.2889823436282694E-2</c:v>
                </c:pt>
                <c:pt idx="4">
                  <c:v>1.272783841412603E-2</c:v>
                </c:pt>
                <c:pt idx="5">
                  <c:v>-1.2973402451484187E-2</c:v>
                </c:pt>
                <c:pt idx="6">
                  <c:v>-1.3883654812415724E-2</c:v>
                </c:pt>
              </c:numCache>
            </c:numRef>
          </c:val>
          <c:extLst>
            <c:ext xmlns:c14="http://schemas.microsoft.com/office/drawing/2007/8/2/chart" uri="{6F2FDCE9-48DA-4B69-8628-5D25D57E5C99}">
              <c14:invertSolidFillFmt>
                <c14:spPr xmlns:c14="http://schemas.microsoft.com/office/drawing/2007/8/2/chart">
                  <a:solidFill>
                    <a:srgbClr val="C00000"/>
                  </a:solidFill>
                  <a:ln>
                    <a:noFill/>
                  </a:ln>
                  <a:effectLst/>
                </c14:spPr>
              </c14:invertSolidFillFmt>
            </c:ext>
            <c:ext xmlns:c16="http://schemas.microsoft.com/office/drawing/2014/chart" uri="{C3380CC4-5D6E-409C-BE32-E72D297353CC}">
              <c16:uniqueId val="{00000004-4C51-4FCD-B2BD-E1A91E0D5D34}"/>
            </c:ext>
          </c:extLst>
        </c:ser>
        <c:dLbls>
          <c:dLblPos val="outEnd"/>
          <c:showLegendKey val="0"/>
          <c:showVal val="1"/>
          <c:showCatName val="0"/>
          <c:showSerName val="0"/>
          <c:showPercent val="0"/>
          <c:showBubbleSize val="0"/>
        </c:dLbls>
        <c:gapWidth val="219"/>
        <c:overlap val="-27"/>
        <c:axId val="1349683695"/>
        <c:axId val="1349684655"/>
      </c:barChart>
      <c:catAx>
        <c:axId val="1349683695"/>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BE"/>
          </a:p>
        </c:txPr>
        <c:crossAx val="1349684655"/>
        <c:crosses val="autoZero"/>
        <c:auto val="1"/>
        <c:lblAlgn val="ctr"/>
        <c:lblOffset val="100"/>
        <c:noMultiLvlLbl val="0"/>
      </c:catAx>
      <c:valAx>
        <c:axId val="1349684655"/>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2"/>
                </a:solidFill>
                <a:latin typeface="+mn-lt"/>
                <a:ea typeface="+mn-ea"/>
                <a:cs typeface="+mn-cs"/>
              </a:defRPr>
            </a:pPr>
            <a:endParaRPr lang="nl-BE"/>
          </a:p>
        </c:txPr>
        <c:crossAx val="13496836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w="9525" cap="flat" cmpd="sng" algn="ctr">
      <a:noFill/>
      <a:round/>
    </a:ln>
    <a:effectLst/>
  </c:spPr>
  <c:txPr>
    <a:bodyPr/>
    <a:lstStyle/>
    <a:p>
      <a:pPr>
        <a:defRPr/>
      </a:pPr>
      <a:endParaRPr lang="nl-B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0293501048218E-2"/>
          <c:y val="7.8195488721804512E-2"/>
          <c:w val="0.95639412997903561"/>
          <c:h val="0.84360902255639103"/>
        </c:manualLayout>
      </c:layout>
      <c:barChart>
        <c:barDir val="bar"/>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4.5112781954887221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52D-4157-B800-4F4DE11649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6.132829583008345</c:v>
                </c:pt>
              </c:numCache>
            </c:numRef>
          </c:val>
          <c:extLst>
            <c:ext xmlns:c16="http://schemas.microsoft.com/office/drawing/2014/chart" uri="{C3380CC4-5D6E-409C-BE32-E72D297353CC}">
              <c16:uniqueId val="{00000001-A52D-4157-B800-4F4DE1164987}"/>
            </c:ext>
          </c:extLst>
        </c:ser>
        <c:ser>
          <c:idx val="1"/>
          <c:order val="1"/>
          <c:spPr>
            <a:solidFill>
              <a:schemeClr val="accent2"/>
            </a:solidFill>
            <a:ln w="9525" algn="ctr">
              <a:solidFill>
                <a:schemeClr val="bg1"/>
              </a:solidFill>
              <a:prstDash val="solid"/>
            </a:ln>
          </c:spPr>
          <c:invertIfNegative val="0"/>
          <c:dLbls>
            <c:dLbl>
              <c:idx val="0"/>
              <c:layout>
                <c:manualLayout>
                  <c:x val="0"/>
                  <c:y val="4.5112781954887221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52D-4157-B800-4F4DE11649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6.824930230880558</c:v>
                </c:pt>
              </c:numCache>
            </c:numRef>
          </c:val>
          <c:extLst>
            <c:ext xmlns:c16="http://schemas.microsoft.com/office/drawing/2014/chart" uri="{C3380CC4-5D6E-409C-BE32-E72D297353CC}">
              <c16:uniqueId val="{00000003-A52D-4157-B800-4F4DE1164987}"/>
            </c:ext>
          </c:extLst>
        </c:ser>
        <c:ser>
          <c:idx val="2"/>
          <c:order val="2"/>
          <c:spPr>
            <a:solidFill>
              <a:schemeClr val="accent3"/>
            </a:solidFill>
            <a:ln w="9525" algn="ctr">
              <a:solidFill>
                <a:schemeClr val="bg1"/>
              </a:solidFill>
              <a:prstDash val="solid"/>
            </a:ln>
          </c:spPr>
          <c:invertIfNegative val="0"/>
          <c:dLbls>
            <c:dLbl>
              <c:idx val="0"/>
              <c:layout>
                <c:manualLayout>
                  <c:x val="0"/>
                  <c:y val="4.5112781954887221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2D-4157-B800-4F4DE11649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7.83023674161306</c:v>
                </c:pt>
              </c:numCache>
            </c:numRef>
          </c:val>
          <c:extLst>
            <c:ext xmlns:c16="http://schemas.microsoft.com/office/drawing/2014/chart" uri="{C3380CC4-5D6E-409C-BE32-E72D297353CC}">
              <c16:uniqueId val="{00000005-A52D-4157-B800-4F4DE1164987}"/>
            </c:ext>
          </c:extLst>
        </c:ser>
        <c:ser>
          <c:idx val="3"/>
          <c:order val="3"/>
          <c:spPr>
            <a:solidFill>
              <a:schemeClr val="accent4"/>
            </a:solidFill>
            <a:ln w="9525" algn="ctr">
              <a:solidFill>
                <a:schemeClr val="bg1"/>
              </a:solidFill>
              <a:prstDash val="solid"/>
            </a:ln>
          </c:spPr>
          <c:invertIfNegative val="0"/>
          <c:dLbls>
            <c:dLbl>
              <c:idx val="0"/>
              <c:layout>
                <c:manualLayout>
                  <c:x val="0"/>
                  <c:y val="-0.12030075187969924"/>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52D-4157-B800-4F4DE11649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5738650965045604</c:v>
                </c:pt>
              </c:numCache>
            </c:numRef>
          </c:val>
          <c:extLst>
            <c:ext xmlns:c16="http://schemas.microsoft.com/office/drawing/2014/chart" uri="{C3380CC4-5D6E-409C-BE32-E72D297353CC}">
              <c16:uniqueId val="{00000007-A52D-4157-B800-4F4DE1164987}"/>
            </c:ext>
          </c:extLst>
        </c:ser>
        <c:ser>
          <c:idx val="4"/>
          <c:order val="4"/>
          <c:spPr>
            <a:solidFill>
              <a:schemeClr val="tx2"/>
            </a:solidFill>
            <a:ln w="9525" algn="ctr">
              <a:solidFill>
                <a:schemeClr val="bg1"/>
              </a:solidFill>
              <a:prstDash val="solid"/>
            </a:ln>
          </c:spPr>
          <c:invertIfNegative val="0"/>
          <c:val>
            <c:numRef>
              <c:f>Sheet1!$A$5</c:f>
              <c:numCache>
                <c:formatCode>General</c:formatCode>
                <c:ptCount val="1"/>
                <c:pt idx="0">
                  <c:v>3.6381383479934803</c:v>
                </c:pt>
              </c:numCache>
            </c:numRef>
          </c:val>
          <c:extLst>
            <c:ext xmlns:c16="http://schemas.microsoft.com/office/drawing/2014/chart" uri="{C3380CC4-5D6E-409C-BE32-E72D297353CC}">
              <c16:uniqueId val="{00000008-A52D-4157-B800-4F4DE1164987}"/>
            </c:ext>
          </c:extLst>
        </c:ser>
        <c:dLbls>
          <c:showLegendKey val="0"/>
          <c:showVal val="0"/>
          <c:showCatName val="0"/>
          <c:showSerName val="0"/>
          <c:showPercent val="0"/>
          <c:showBubbleSize val="0"/>
        </c:dLbls>
        <c:gapWidth val="70"/>
        <c:overlap val="100"/>
        <c:axId val="882631152"/>
        <c:axId val="1"/>
      </c:barChart>
      <c:catAx>
        <c:axId val="882631152"/>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88263115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74068554396422E-2"/>
          <c:y val="7.8195488721804512E-2"/>
          <c:w val="0.96125186289120712"/>
          <c:h val="0.84360902255639103"/>
        </c:manualLayout>
      </c:layout>
      <c:barChart>
        <c:barDir val="bar"/>
        <c:grouping val="stacked"/>
        <c:varyColors val="0"/>
        <c:ser>
          <c:idx val="0"/>
          <c:order val="0"/>
          <c:spPr>
            <a:solidFill>
              <a:schemeClr val="tx1"/>
            </a:solidFill>
            <a:ln w="9525" algn="ctr">
              <a:solidFill>
                <a:schemeClr val="bg1"/>
              </a:solidFill>
              <a:prstDash val="solid"/>
            </a:ln>
          </c:spPr>
          <c:invertIfNegative val="0"/>
          <c:dLbls>
            <c:dLbl>
              <c:idx val="0"/>
              <c:layout>
                <c:manualLayout>
                  <c:x val="0"/>
                  <c:y val="4.5112781954887221E-3"/>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nl-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B2-4A30-B47F-6B69D712B1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6.132829583008345</c:v>
                </c:pt>
              </c:numCache>
            </c:numRef>
          </c:val>
          <c:extLst>
            <c:ext xmlns:c16="http://schemas.microsoft.com/office/drawing/2014/chart" uri="{C3380CC4-5D6E-409C-BE32-E72D297353CC}">
              <c16:uniqueId val="{00000001-CEB2-4A30-B47F-6B69D712B186}"/>
            </c:ext>
          </c:extLst>
        </c:ser>
        <c:ser>
          <c:idx val="1"/>
          <c:order val="1"/>
          <c:spPr>
            <a:solidFill>
              <a:schemeClr val="accent4"/>
            </a:solidFill>
            <a:ln w="9525" algn="ctr">
              <a:solidFill>
                <a:schemeClr val="bg1"/>
              </a:solidFill>
              <a:prstDash val="solid"/>
            </a:ln>
          </c:spPr>
          <c:invertIfNegative val="0"/>
          <c:dLbls>
            <c:dLbl>
              <c:idx val="0"/>
              <c:layout>
                <c:manualLayout>
                  <c:x val="0"/>
                  <c:y val="4.5112781954887221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B2-4A30-B47F-6B69D712B1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6.824930230880558</c:v>
                </c:pt>
              </c:numCache>
            </c:numRef>
          </c:val>
          <c:extLst>
            <c:ext xmlns:c16="http://schemas.microsoft.com/office/drawing/2014/chart" uri="{C3380CC4-5D6E-409C-BE32-E72D297353CC}">
              <c16:uniqueId val="{00000003-CEB2-4A30-B47F-6B69D712B186}"/>
            </c:ext>
          </c:extLst>
        </c:ser>
        <c:ser>
          <c:idx val="2"/>
          <c:order val="2"/>
          <c:spPr>
            <a:solidFill>
              <a:schemeClr val="accent2"/>
            </a:solidFill>
            <a:ln w="9525" algn="ctr">
              <a:solidFill>
                <a:schemeClr val="bg1"/>
              </a:solidFill>
              <a:prstDash val="solid"/>
            </a:ln>
          </c:spPr>
          <c:invertIfNegative val="0"/>
          <c:dLbls>
            <c:dLbl>
              <c:idx val="0"/>
              <c:layout>
                <c:manualLayout>
                  <c:x val="0"/>
                  <c:y val="4.5112781954887221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B2-4A30-B47F-6B69D712B1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7.83023674161306</c:v>
                </c:pt>
              </c:numCache>
            </c:numRef>
          </c:val>
          <c:extLst>
            <c:ext xmlns:c16="http://schemas.microsoft.com/office/drawing/2014/chart" uri="{C3380CC4-5D6E-409C-BE32-E72D297353CC}">
              <c16:uniqueId val="{00000005-CEB2-4A30-B47F-6B69D712B186}"/>
            </c:ext>
          </c:extLst>
        </c:ser>
        <c:ser>
          <c:idx val="3"/>
          <c:order val="3"/>
          <c:spPr>
            <a:solidFill>
              <a:schemeClr val="accent3"/>
            </a:solidFill>
            <a:ln w="9525" algn="ctr">
              <a:solidFill>
                <a:schemeClr val="bg1"/>
              </a:solidFill>
              <a:prstDash val="solid"/>
            </a:ln>
          </c:spPr>
          <c:invertIfNegative val="0"/>
          <c:dLbls>
            <c:dLbl>
              <c:idx val="0"/>
              <c:layout>
                <c:manualLayout>
                  <c:x val="0"/>
                  <c:y val="4.5112781954887221E-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nl-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EB2-4A30-B47F-6B69D712B1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5.5738650965045604</c:v>
                </c:pt>
              </c:numCache>
            </c:numRef>
          </c:val>
          <c:extLst>
            <c:ext xmlns:c16="http://schemas.microsoft.com/office/drawing/2014/chart" uri="{C3380CC4-5D6E-409C-BE32-E72D297353CC}">
              <c16:uniqueId val="{00000007-CEB2-4A30-B47F-6B69D712B186}"/>
            </c:ext>
          </c:extLst>
        </c:ser>
        <c:ser>
          <c:idx val="4"/>
          <c:order val="4"/>
          <c:spPr>
            <a:solidFill>
              <a:srgbClr val="6F8DB9"/>
            </a:solidFill>
            <a:ln w="9525" algn="ctr">
              <a:solidFill>
                <a:schemeClr val="bg1"/>
              </a:solidFill>
              <a:prstDash val="solid"/>
            </a:ln>
          </c:spPr>
          <c:invertIfNegative val="0"/>
          <c:val>
            <c:numRef>
              <c:f>Sheet1!$A$5</c:f>
              <c:numCache>
                <c:formatCode>General</c:formatCode>
                <c:ptCount val="1"/>
                <c:pt idx="0">
                  <c:v>3.6381383479934803</c:v>
                </c:pt>
              </c:numCache>
            </c:numRef>
          </c:val>
          <c:extLst>
            <c:ext xmlns:c16="http://schemas.microsoft.com/office/drawing/2014/chart" uri="{C3380CC4-5D6E-409C-BE32-E72D297353CC}">
              <c16:uniqueId val="{00000008-CEB2-4A30-B47F-6B69D712B186}"/>
            </c:ext>
          </c:extLst>
        </c:ser>
        <c:dLbls>
          <c:showLegendKey val="0"/>
          <c:showVal val="0"/>
          <c:showCatName val="0"/>
          <c:showSerName val="0"/>
          <c:showPercent val="0"/>
          <c:showBubbleSize val="0"/>
        </c:dLbls>
        <c:gapWidth val="70"/>
        <c:overlap val="100"/>
        <c:axId val="1159298864"/>
        <c:axId val="1"/>
      </c:barChart>
      <c:catAx>
        <c:axId val="1159298864"/>
        <c:scaling>
          <c:orientation val="maxMin"/>
        </c:scaling>
        <c:delete val="0"/>
        <c:axPos val="l"/>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15929886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89277899343545E-2"/>
          <c:y val="2.4447578749412318E-2"/>
          <c:w val="0.88621444201312916"/>
          <c:h val="0.95110484250117533"/>
        </c:manualLayout>
      </c:layout>
      <c:barChart>
        <c:barDir val="col"/>
        <c:grouping val="stacked"/>
        <c:varyColors val="0"/>
        <c:ser>
          <c:idx val="0"/>
          <c:order val="0"/>
          <c:spPr>
            <a:solidFill>
              <a:srgbClr val="FFC000"/>
            </a:solidFill>
            <a:ln>
              <a:noFill/>
            </a:ln>
          </c:spPr>
          <c:invertIfNegative val="0"/>
          <c:val>
            <c:numRef>
              <c:f>Sheet1!$A$1</c:f>
              <c:numCache>
                <c:formatCode>General</c:formatCode>
                <c:ptCount val="1"/>
                <c:pt idx="0">
                  <c:v>32.299999999999997</c:v>
                </c:pt>
              </c:numCache>
            </c:numRef>
          </c:val>
          <c:extLst>
            <c:ext xmlns:c16="http://schemas.microsoft.com/office/drawing/2014/chart" uri="{C3380CC4-5D6E-409C-BE32-E72D297353CC}">
              <c16:uniqueId val="{00000000-14FD-4B35-B667-E395D507DC43}"/>
            </c:ext>
          </c:extLst>
        </c:ser>
        <c:ser>
          <c:idx val="1"/>
          <c:order val="1"/>
          <c:spPr>
            <a:solidFill>
              <a:schemeClr val="accent4"/>
            </a:solidFill>
            <a:ln>
              <a:noFill/>
            </a:ln>
          </c:spPr>
          <c:invertIfNegative val="0"/>
          <c:val>
            <c:numRef>
              <c:f>Sheet1!$A$2</c:f>
              <c:numCache>
                <c:formatCode>General</c:formatCode>
                <c:ptCount val="1"/>
                <c:pt idx="0">
                  <c:v>27.200000000000003</c:v>
                </c:pt>
              </c:numCache>
            </c:numRef>
          </c:val>
          <c:extLst>
            <c:ext xmlns:c16="http://schemas.microsoft.com/office/drawing/2014/chart" uri="{C3380CC4-5D6E-409C-BE32-E72D297353CC}">
              <c16:uniqueId val="{00000001-14FD-4B35-B667-E395D507DC43}"/>
            </c:ext>
          </c:extLst>
        </c:ser>
        <c:ser>
          <c:idx val="2"/>
          <c:order val="2"/>
          <c:spPr>
            <a:solidFill>
              <a:srgbClr val="A6A6A6"/>
            </a:solidFill>
            <a:ln>
              <a:noFill/>
            </a:ln>
          </c:spPr>
          <c:invertIfNegative val="0"/>
          <c:val>
            <c:numRef>
              <c:f>Sheet1!$A$3</c:f>
              <c:numCache>
                <c:formatCode>General</c:formatCode>
                <c:ptCount val="1"/>
                <c:pt idx="0">
                  <c:v>5.9500000000000028</c:v>
                </c:pt>
              </c:numCache>
            </c:numRef>
          </c:val>
          <c:extLst>
            <c:ext xmlns:c16="http://schemas.microsoft.com/office/drawing/2014/chart" uri="{C3380CC4-5D6E-409C-BE32-E72D297353CC}">
              <c16:uniqueId val="{00000002-14FD-4B35-B667-E395D507DC43}"/>
            </c:ext>
          </c:extLst>
        </c:ser>
        <c:ser>
          <c:idx val="3"/>
          <c:order val="3"/>
          <c:spPr>
            <a:solidFill>
              <a:srgbClr val="B2CD6D"/>
            </a:solidFill>
            <a:ln>
              <a:noFill/>
            </a:ln>
          </c:spPr>
          <c:invertIfNegative val="0"/>
          <c:val>
            <c:numRef>
              <c:f>Sheet1!$A$4</c:f>
              <c:numCache>
                <c:formatCode>General</c:formatCode>
                <c:ptCount val="1"/>
                <c:pt idx="0">
                  <c:v>12.75</c:v>
                </c:pt>
              </c:numCache>
            </c:numRef>
          </c:val>
          <c:extLst>
            <c:ext xmlns:c16="http://schemas.microsoft.com/office/drawing/2014/chart" uri="{C3380CC4-5D6E-409C-BE32-E72D297353CC}">
              <c16:uniqueId val="{00000003-14FD-4B35-B667-E395D507DC43}"/>
            </c:ext>
          </c:extLst>
        </c:ser>
        <c:ser>
          <c:idx val="4"/>
          <c:order val="4"/>
          <c:spPr>
            <a:solidFill>
              <a:srgbClr val="CCDE9E"/>
            </a:solidFill>
            <a:ln>
              <a:noFill/>
            </a:ln>
          </c:spPr>
          <c:invertIfNegative val="0"/>
          <c:val>
            <c:numRef>
              <c:f>Sheet1!$A$5</c:f>
              <c:numCache>
                <c:formatCode>General</c:formatCode>
                <c:ptCount val="1"/>
                <c:pt idx="0">
                  <c:v>5.0999999999999943</c:v>
                </c:pt>
              </c:numCache>
            </c:numRef>
          </c:val>
          <c:extLst>
            <c:ext xmlns:c16="http://schemas.microsoft.com/office/drawing/2014/chart" uri="{C3380CC4-5D6E-409C-BE32-E72D297353CC}">
              <c16:uniqueId val="{00000004-14FD-4B35-B667-E395D507DC43}"/>
            </c:ext>
          </c:extLst>
        </c:ser>
        <c:ser>
          <c:idx val="5"/>
          <c:order val="5"/>
          <c:spPr>
            <a:solidFill>
              <a:srgbClr val="4C6C9C"/>
            </a:solidFill>
            <a:ln>
              <a:noFill/>
            </a:ln>
          </c:spPr>
          <c:invertIfNegative val="0"/>
          <c:val>
            <c:numRef>
              <c:f>Sheet1!$A$6</c:f>
              <c:numCache>
                <c:formatCode>General</c:formatCode>
                <c:ptCount val="1"/>
                <c:pt idx="0">
                  <c:v>1.7000000000000028</c:v>
                </c:pt>
              </c:numCache>
            </c:numRef>
          </c:val>
          <c:extLst>
            <c:ext xmlns:c16="http://schemas.microsoft.com/office/drawing/2014/chart" uri="{C3380CC4-5D6E-409C-BE32-E72D297353CC}">
              <c16:uniqueId val="{00000005-14FD-4B35-B667-E395D507DC43}"/>
            </c:ext>
          </c:extLst>
        </c:ser>
        <c:dLbls>
          <c:showLegendKey val="0"/>
          <c:showVal val="0"/>
          <c:showCatName val="0"/>
          <c:showSerName val="0"/>
          <c:showPercent val="0"/>
          <c:showBubbleSize val="0"/>
        </c:dLbls>
        <c:gapWidth val="80"/>
        <c:overlap val="100"/>
        <c:axId val="1198265264"/>
        <c:axId val="1"/>
      </c:barChart>
      <c:catAx>
        <c:axId val="11982652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5"/>
          <c:min val="0"/>
        </c:scaling>
        <c:delete val="1"/>
        <c:axPos val="l"/>
        <c:numFmt formatCode="General" sourceLinked="1"/>
        <c:majorTickMark val="out"/>
        <c:minorTickMark val="none"/>
        <c:tickLblPos val="nextTo"/>
        <c:crossAx val="119826526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234540631338217"/>
          <c:y val="3.7316490588929573E-2"/>
          <c:w val="0.48241321738913628"/>
          <c:h val="0.91126375031555396"/>
        </c:manualLayout>
      </c:layout>
      <c:barChart>
        <c:barDir val="col"/>
        <c:grouping val="stacked"/>
        <c:varyColors val="0"/>
        <c:ser>
          <c:idx val="0"/>
          <c:order val="0"/>
          <c:tx>
            <c:strRef>
              <c:f>Blad1!$B$1</c:f>
              <c:strCache>
                <c:ptCount val="1"/>
                <c:pt idx="0">
                  <c:v>Nucleair</c:v>
                </c:pt>
              </c:strCache>
            </c:strRef>
          </c:tx>
          <c:spPr>
            <a:solidFill>
              <a:srgbClr val="FFC000"/>
            </a:solidFill>
            <a:ln w="19050">
              <a:solidFill>
                <a:schemeClr val="lt1"/>
              </a:solidFill>
            </a:ln>
            <a:effectLst/>
          </c:spPr>
          <c:invertIfNegative val="0"/>
          <c:dLbls>
            <c:dLbl>
              <c:idx val="0"/>
              <c:layout>
                <c:manualLayout>
                  <c:x val="0"/>
                  <c:y val="-9.99716085443854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4F3-42FD-ACBB-481924E492D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B$2</c:f>
              <c:numCache>
                <c:formatCode>General</c:formatCode>
                <c:ptCount val="1"/>
                <c:pt idx="0">
                  <c:v>6</c:v>
                </c:pt>
              </c:numCache>
            </c:numRef>
          </c:val>
          <c:extLst>
            <c:ext xmlns:c16="http://schemas.microsoft.com/office/drawing/2014/chart" uri="{C3380CC4-5D6E-409C-BE32-E72D297353CC}">
              <c16:uniqueId val="{00000001-54F3-42FD-ACBB-481924E492DD}"/>
            </c:ext>
          </c:extLst>
        </c:ser>
        <c:ser>
          <c:idx val="1"/>
          <c:order val="1"/>
          <c:tx>
            <c:strRef>
              <c:f>Blad1!$C$1</c:f>
              <c:strCache>
                <c:ptCount val="1"/>
                <c:pt idx="0">
                  <c:v>Thermisch</c:v>
                </c:pt>
              </c:strCache>
            </c:strRef>
          </c:tx>
          <c:spPr>
            <a:solidFill>
              <a:srgbClr val="CACACA"/>
            </a:solidFill>
            <a:ln w="19050">
              <a:solidFill>
                <a:schemeClr val="lt1"/>
              </a:solidFill>
            </a:ln>
            <a:effectLst/>
          </c:spPr>
          <c:invertIfNegative val="0"/>
          <c:dLbls>
            <c:dLbl>
              <c:idx val="0"/>
              <c:layout>
                <c:manualLayout>
                  <c:x val="-5.4103252436190647E-3"/>
                  <c:y val="-3.848084859975586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4F3-42FD-ACBB-481924E492D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C$2</c:f>
              <c:numCache>
                <c:formatCode>General</c:formatCode>
                <c:ptCount val="1"/>
                <c:pt idx="0">
                  <c:v>7</c:v>
                </c:pt>
              </c:numCache>
            </c:numRef>
          </c:val>
          <c:extLst>
            <c:ext xmlns:c16="http://schemas.microsoft.com/office/drawing/2014/chart" uri="{C3380CC4-5D6E-409C-BE32-E72D297353CC}">
              <c16:uniqueId val="{00000003-54F3-42FD-ACBB-481924E492DD}"/>
            </c:ext>
          </c:extLst>
        </c:ser>
        <c:ser>
          <c:idx val="2"/>
          <c:order val="2"/>
          <c:tx>
            <c:strRef>
              <c:f>Blad1!$D$1</c:f>
              <c:strCache>
                <c:ptCount val="1"/>
                <c:pt idx="0">
                  <c:v>Bio Energie</c:v>
                </c:pt>
              </c:strCache>
            </c:strRef>
          </c:tx>
          <c:spPr>
            <a:solidFill>
              <a:srgbClr val="A6A6A6"/>
            </a:solidFill>
            <a:ln w="19050">
              <a:solidFill>
                <a:schemeClr val="lt1"/>
              </a:solidFill>
            </a:ln>
            <a:effectLst/>
          </c:spPr>
          <c:invertIfNegative val="0"/>
          <c:dLbls>
            <c:dLbl>
              <c:idx val="0"/>
              <c:layout>
                <c:manualLayout>
                  <c:x val="-0.11632199273780988"/>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106-4537-896E-2F536205CF0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D$2</c:f>
              <c:numCache>
                <c:formatCode>General</c:formatCode>
                <c:ptCount val="1"/>
                <c:pt idx="0">
                  <c:v>1</c:v>
                </c:pt>
              </c:numCache>
            </c:numRef>
          </c:val>
          <c:extLst>
            <c:ext xmlns:c16="http://schemas.microsoft.com/office/drawing/2014/chart" uri="{C3380CC4-5D6E-409C-BE32-E72D297353CC}">
              <c16:uniqueId val="{00000004-54F3-42FD-ACBB-481924E492DD}"/>
            </c:ext>
          </c:extLst>
        </c:ser>
        <c:ser>
          <c:idx val="3"/>
          <c:order val="3"/>
          <c:tx>
            <c:strRef>
              <c:f>Blad1!$E$1</c:f>
              <c:strCache>
                <c:ptCount val="1"/>
                <c:pt idx="0">
                  <c:v>Off Shore Wind</c:v>
                </c:pt>
              </c:strCache>
            </c:strRef>
          </c:tx>
          <c:spPr>
            <a:solidFill>
              <a:srgbClr val="9BBE42"/>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E$2</c:f>
              <c:numCache>
                <c:formatCode>General</c:formatCode>
                <c:ptCount val="1"/>
                <c:pt idx="0">
                  <c:v>2</c:v>
                </c:pt>
              </c:numCache>
            </c:numRef>
          </c:val>
          <c:extLst>
            <c:ext xmlns:c16="http://schemas.microsoft.com/office/drawing/2014/chart" uri="{C3380CC4-5D6E-409C-BE32-E72D297353CC}">
              <c16:uniqueId val="{00000005-54F3-42FD-ACBB-481924E492DD}"/>
            </c:ext>
          </c:extLst>
        </c:ser>
        <c:ser>
          <c:idx val="4"/>
          <c:order val="4"/>
          <c:tx>
            <c:strRef>
              <c:f>Blad1!$F$1</c:f>
              <c:strCache>
                <c:ptCount val="1"/>
                <c:pt idx="0">
                  <c:v>On Shore Wind</c:v>
                </c:pt>
              </c:strCache>
            </c:strRef>
          </c:tx>
          <c:spPr>
            <a:solidFill>
              <a:srgbClr val="B2CD6D"/>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F$2</c:f>
              <c:numCache>
                <c:formatCode>General</c:formatCode>
                <c:ptCount val="1"/>
                <c:pt idx="0">
                  <c:v>3</c:v>
                </c:pt>
              </c:numCache>
            </c:numRef>
          </c:val>
          <c:extLst>
            <c:ext xmlns:c16="http://schemas.microsoft.com/office/drawing/2014/chart" uri="{C3380CC4-5D6E-409C-BE32-E72D297353CC}">
              <c16:uniqueId val="{00000006-54F3-42FD-ACBB-481924E492DD}"/>
            </c:ext>
          </c:extLst>
        </c:ser>
        <c:ser>
          <c:idx val="5"/>
          <c:order val="5"/>
          <c:tx>
            <c:strRef>
              <c:f>Blad1!$G$1</c:f>
              <c:strCache>
                <c:ptCount val="1"/>
                <c:pt idx="0">
                  <c:v>PV</c:v>
                </c:pt>
              </c:strCache>
            </c:strRef>
          </c:tx>
          <c:spPr>
            <a:solidFill>
              <a:srgbClr val="CCDE9E"/>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G$2</c:f>
              <c:numCache>
                <c:formatCode>General</c:formatCode>
                <c:ptCount val="1"/>
                <c:pt idx="0">
                  <c:v>7</c:v>
                </c:pt>
              </c:numCache>
            </c:numRef>
          </c:val>
          <c:extLst>
            <c:ext xmlns:c16="http://schemas.microsoft.com/office/drawing/2014/chart" uri="{C3380CC4-5D6E-409C-BE32-E72D297353CC}">
              <c16:uniqueId val="{00000007-54F3-42FD-ACBB-481924E492DD}"/>
            </c:ext>
          </c:extLst>
        </c:ser>
        <c:ser>
          <c:idx val="6"/>
          <c:order val="6"/>
          <c:tx>
            <c:strRef>
              <c:f>Blad1!$H$1</c:f>
              <c:strCache>
                <c:ptCount val="1"/>
                <c:pt idx="0">
                  <c:v>Waterkracht</c:v>
                </c:pt>
              </c:strCache>
            </c:strRef>
          </c:tx>
          <c:spPr>
            <a:solidFill>
              <a:srgbClr val="FFC000"/>
            </a:solidFill>
            <a:ln w="19050">
              <a:solidFill>
                <a:schemeClr val="lt1"/>
              </a:solidFill>
            </a:ln>
            <a:effectLst/>
          </c:spPr>
          <c:invertIfNegative val="0"/>
          <c:dPt>
            <c:idx val="0"/>
            <c:invertIfNegative val="0"/>
            <c:bubble3D val="0"/>
            <c:spPr>
              <a:solidFill>
                <a:srgbClr val="48A9E7"/>
              </a:solidFill>
              <a:ln w="19050">
                <a:solidFill>
                  <a:schemeClr val="lt1"/>
                </a:solidFill>
              </a:ln>
              <a:effectLst/>
            </c:spPr>
            <c:extLst>
              <c:ext xmlns:c16="http://schemas.microsoft.com/office/drawing/2014/chart" uri="{C3380CC4-5D6E-409C-BE32-E72D297353CC}">
                <c16:uniqueId val="{00000001-7106-4537-896E-2F536205CF0C}"/>
              </c:ext>
            </c:extLst>
          </c:dPt>
          <c:dLbls>
            <c:dLbl>
              <c:idx val="0"/>
              <c:layout>
                <c:manualLayout>
                  <c:x val="-0.11091166749419082"/>
                  <c:y val="-1.018563520668820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106-4537-896E-2F536205CF0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l-B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lad1!$A$2</c:f>
              <c:numCache>
                <c:formatCode>General</c:formatCode>
                <c:ptCount val="1"/>
              </c:numCache>
            </c:numRef>
          </c:cat>
          <c:val>
            <c:numRef>
              <c:f>Blad1!$H$2</c:f>
              <c:numCache>
                <c:formatCode>General</c:formatCode>
                <c:ptCount val="1"/>
                <c:pt idx="0">
                  <c:v>1</c:v>
                </c:pt>
              </c:numCache>
            </c:numRef>
          </c:val>
          <c:extLst>
            <c:ext xmlns:c16="http://schemas.microsoft.com/office/drawing/2014/chart" uri="{C3380CC4-5D6E-409C-BE32-E72D297353CC}">
              <c16:uniqueId val="{00000008-54F3-42FD-ACBB-481924E492DD}"/>
            </c:ext>
          </c:extLst>
        </c:ser>
        <c:dLbls>
          <c:dLblPos val="ctr"/>
          <c:showLegendKey val="0"/>
          <c:showVal val="1"/>
          <c:showCatName val="0"/>
          <c:showSerName val="0"/>
          <c:showPercent val="0"/>
          <c:showBubbleSize val="0"/>
        </c:dLbls>
        <c:gapWidth val="150"/>
        <c:overlap val="100"/>
        <c:axId val="638753568"/>
        <c:axId val="638759808"/>
      </c:barChart>
      <c:catAx>
        <c:axId val="63875356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BE"/>
          </a:p>
        </c:txPr>
        <c:crossAx val="638759808"/>
        <c:crosses val="autoZero"/>
        <c:auto val="1"/>
        <c:lblAlgn val="ctr"/>
        <c:lblOffset val="100"/>
        <c:noMultiLvlLbl val="0"/>
      </c:catAx>
      <c:valAx>
        <c:axId val="638759808"/>
        <c:scaling>
          <c:orientation val="minMax"/>
        </c:scaling>
        <c:delete val="1"/>
        <c:axPos val="l"/>
        <c:majorGridlines>
          <c:spPr>
            <a:ln w="9525" cap="flat" cmpd="sng" algn="ctr">
              <a:noFill/>
              <a:round/>
            </a:ln>
            <a:effectLst/>
          </c:spPr>
        </c:majorGridlines>
        <c:numFmt formatCode="General" sourceLinked="1"/>
        <c:majorTickMark val="out"/>
        <c:minorTickMark val="none"/>
        <c:tickLblPos val="nextTo"/>
        <c:crossAx val="638753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600"/>
            </a:pPr>
            <a:r>
              <a:rPr lang="nl-BE" sz="1600" dirty="0" err="1"/>
              <a:t>Installed</a:t>
            </a:r>
            <a:r>
              <a:rPr lang="nl-BE" sz="1600" dirty="0"/>
              <a:t> </a:t>
            </a:r>
            <a:r>
              <a:rPr lang="nl-BE" sz="1600" dirty="0" err="1"/>
              <a:t>capacity</a:t>
            </a:r>
            <a:r>
              <a:rPr lang="nl-BE" sz="1600" dirty="0"/>
              <a:t> in Belgium </a:t>
            </a:r>
            <a:r>
              <a:rPr lang="nl-BE" sz="1600" dirty="0" err="1"/>
              <a:t>by</a:t>
            </a:r>
            <a:r>
              <a:rPr lang="nl-BE" sz="1600" dirty="0"/>
              <a:t> </a:t>
            </a:r>
            <a:r>
              <a:rPr lang="nl-BE" sz="1600" dirty="0" err="1"/>
              <a:t>production</a:t>
            </a:r>
            <a:r>
              <a:rPr lang="nl-BE" sz="1600" dirty="0"/>
              <a:t> </a:t>
            </a:r>
            <a:r>
              <a:rPr lang="nl-BE" sz="1600" dirty="0" err="1"/>
              <a:t>technology</a:t>
            </a:r>
            <a:r>
              <a:rPr lang="nl-BE" sz="1600" dirty="0"/>
              <a:t> (MW)</a:t>
            </a:r>
          </a:p>
          <a:p>
            <a:pPr>
              <a:defRPr sz="1600"/>
            </a:pPr>
            <a:endParaRPr lang="nl-BE" sz="1600" dirty="0"/>
          </a:p>
        </c:rich>
      </c:tx>
      <c:layout>
        <c:manualLayout>
          <c:xMode val="edge"/>
          <c:yMode val="edge"/>
          <c:x val="0.13749273553543184"/>
          <c:y val="5.3534310159327088E-2"/>
        </c:manualLayout>
      </c:layout>
      <c:overlay val="0"/>
    </c:title>
    <c:autoTitleDeleted val="0"/>
    <c:plotArea>
      <c:layout/>
      <c:barChart>
        <c:barDir val="col"/>
        <c:grouping val="stacked"/>
        <c:varyColors val="0"/>
        <c:ser>
          <c:idx val="0"/>
          <c:order val="0"/>
          <c:tx>
            <c:v>Conventional thermal</c:v>
          </c:tx>
          <c:spPr>
            <a:solidFill>
              <a:schemeClr val="accent1"/>
            </a:solidFill>
          </c:spPr>
          <c:invertIfNegative val="0"/>
          <c:cat>
            <c:strRef>
              <c:f>(Capacity!$B$16:$I$16,Capacity!$K$16:$L$16,Capacity!$N$16:$R$16)</c:f>
              <c:strCache>
                <c:ptCount val="15"/>
                <c:pt idx="0">
                  <c:v>2004</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extLst/>
            </c:strRef>
          </c:cat>
          <c:val>
            <c:numRef>
              <c:f>(Capacity!$B$18:$I$18,Capacity!$K$18:$L$18,Capacity!$N$18:$R$18)</c:f>
              <c:numCache>
                <c:formatCode>General</c:formatCode>
                <c:ptCount val="15"/>
                <c:pt idx="0" formatCode="_-* #,##0.00\ _z_ł_-;\-* #,##0.00\ _z_ł_-;_-* &quot;-&quot;??\ _z_ł_-;_-@_-">
                  <c:v>8035.6</c:v>
                </c:pt>
                <c:pt idx="2" formatCode="_-* #,##0.00\ _z_ł_-;\-* #,##0.00\ _z_ł_-;_-* &quot;-&quot;??\ _z_ł_-;_-@_-">
                  <c:v>8573</c:v>
                </c:pt>
                <c:pt idx="3" formatCode="_-* #,##0.00\ _z_ł_-;\-* #,##0.00\ _z_ł_-;_-* &quot;-&quot;??\ _z_ł_-;_-@_-">
                  <c:v>9483</c:v>
                </c:pt>
                <c:pt idx="4" formatCode="_-* #,##0.00\ _z_ł_-;\-* #,##0.00\ _z_ł_-;_-* &quot;-&quot;??\ _z_ł_-;_-@_-">
                  <c:v>8497</c:v>
                </c:pt>
                <c:pt idx="5" formatCode="_-* #,##0.00\ _z_ł_-;\-* #,##0.00\ _z_ł_-;_-* &quot;-&quot;??\ _z_ł_-;_-@_-">
                  <c:v>7569</c:v>
                </c:pt>
                <c:pt idx="6" formatCode="_-* #,##0.00\ _z_ł_-;\-* #,##0.00\ _z_ł_-;_-* &quot;-&quot;??\ _z_ł_-;_-@_-">
                  <c:v>7578</c:v>
                </c:pt>
                <c:pt idx="7" formatCode="_-* #,##0.00\ _z_ł_-;\-* #,##0.00\ _z_ł_-;_-* &quot;-&quot;??\ _z_ł_-;_-@_-">
                  <c:v>7596</c:v>
                </c:pt>
                <c:pt idx="8" formatCode="_-* #,##0.00\ _z_ł_-;\-* #,##0.00\ _z_ł_-;_-* &quot;-&quot;??\ _z_ł_-;_-@_-">
                  <c:v>6765.08</c:v>
                </c:pt>
                <c:pt idx="9" formatCode="_-* #,##0.00\ _z_ł_-;\-* #,##0.00\ _z_ł_-;_-* &quot;-&quot;??\ _z_ł_-;_-@_-">
                  <c:v>6922.3250000000007</c:v>
                </c:pt>
                <c:pt idx="10" formatCode="_-* #,##0.00\ _z_ł_-;\-* #,##0.00\ _z_ł_-;_-* &quot;-&quot;??\ _z_ł_-;_-@_-">
                  <c:v>7378.6950000000006</c:v>
                </c:pt>
                <c:pt idx="11" formatCode="_-* #,##0.00\ _z_ł_-;\-* #,##0.00\ _z_ł_-;_-* &quot;-&quot;??\ _z_ł_-;_-@_-">
                  <c:v>7198.66</c:v>
                </c:pt>
                <c:pt idx="12" formatCode="_-* #,##0.00\ _z_ł_-;\-* #,##0.00\ _z_ł_-;_-* &quot;-&quot;??\ _z_ł_-;_-@_-">
                  <c:v>7375.6269999999995</c:v>
                </c:pt>
                <c:pt idx="13" formatCode="_-* #,##0.00\ _z_ł_-;\-* #,##0.00\ _z_ł_-;_-* &quot;-&quot;??\ _z_ł_-;_-@_-">
                  <c:v>7424.2489999999998</c:v>
                </c:pt>
                <c:pt idx="14" formatCode="_-* #,##0.00\ _z_ł_-;\-* #,##0.00\ _z_ł_-;_-* &quot;-&quot;??\ _z_ł_-;_-@_-">
                  <c:v>7843.1480000000001</c:v>
                </c:pt>
              </c:numCache>
              <c:extLst/>
            </c:numRef>
          </c:val>
          <c:extLst>
            <c:ext xmlns:c16="http://schemas.microsoft.com/office/drawing/2014/chart" uri="{C3380CC4-5D6E-409C-BE32-E72D297353CC}">
              <c16:uniqueId val="{00000000-3F33-4E1C-AA44-C646A971B68C}"/>
            </c:ext>
          </c:extLst>
        </c:ser>
        <c:ser>
          <c:idx val="1"/>
          <c:order val="1"/>
          <c:tx>
            <c:v>Nuclear</c:v>
          </c:tx>
          <c:spPr>
            <a:solidFill>
              <a:schemeClr val="accent2"/>
            </a:solidFill>
          </c:spPr>
          <c:invertIfNegative val="0"/>
          <c:cat>
            <c:strRef>
              <c:f>(Capacity!$B$16:$I$16,Capacity!$K$16:$L$16,Capacity!$N$16:$R$16)</c:f>
              <c:strCache>
                <c:ptCount val="15"/>
                <c:pt idx="0">
                  <c:v>2004</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extLst/>
            </c:strRef>
          </c:cat>
          <c:val>
            <c:numRef>
              <c:f>(Capacity!$B$24:$I$24,Capacity!$K$24:$L$24,Capacity!$N$24:$R$24)</c:f>
              <c:numCache>
                <c:formatCode>General</c:formatCode>
                <c:ptCount val="15"/>
                <c:pt idx="0" formatCode="_-* #,##0.00\ _z_ł_-;\-* #,##0.00\ _z_ł_-;_-* &quot;-&quot;??\ _z_ł_-;_-@_-">
                  <c:v>5761</c:v>
                </c:pt>
                <c:pt idx="2" formatCode="_-* #,##0.00\ _z_ł_-;\-* #,##0.00\ _z_ł_-;_-* &quot;-&quot;??\ _z_ł_-;_-@_-">
                  <c:v>5927</c:v>
                </c:pt>
                <c:pt idx="3" formatCode="_-* #,##0.00\ _z_ł_-;\-* #,##0.00\ _z_ł_-;_-* &quot;-&quot;??\ _z_ł_-;_-@_-">
                  <c:v>5927</c:v>
                </c:pt>
                <c:pt idx="4" formatCode="_-* #,##0.00\ _z_ł_-;\-* #,##0.00\ _z_ł_-;_-* &quot;-&quot;??\ _z_ł_-;_-@_-">
                  <c:v>5926</c:v>
                </c:pt>
                <c:pt idx="5" formatCode="_-* #,##0.00\ _z_ł_-;\-* #,##0.00\ _z_ł_-;_-* &quot;-&quot;??\ _z_ł_-;_-@_-">
                  <c:v>5926</c:v>
                </c:pt>
                <c:pt idx="6" formatCode="_-* #,##0.00\ _z_ł_-;\-* #,##0.00\ _z_ł_-;_-* &quot;-&quot;??\ _z_ł_-;_-@_-">
                  <c:v>5926</c:v>
                </c:pt>
                <c:pt idx="7" formatCode="_-* #,##0.00\ _z_ł_-;\-* #,##0.00\ _z_ł_-;_-* &quot;-&quot;??\ _z_ł_-;_-@_-">
                  <c:v>5926</c:v>
                </c:pt>
                <c:pt idx="8" formatCode="_-* #,##0.00\ _z_ł_-;\-* #,##0.00\ _z_ł_-;_-* &quot;-&quot;??\ _z_ł_-;_-@_-">
                  <c:v>5919</c:v>
                </c:pt>
                <c:pt idx="9" formatCode="_-* #,##0.00\ _z_ł_-;\-* #,##0.00\ _z_ł_-;_-* &quot;-&quot;??\ _z_ł_-;_-@_-">
                  <c:v>5919</c:v>
                </c:pt>
                <c:pt idx="10" formatCode="_-* #,##0.00\ _z_ł_-;\-* #,##0.00\ _z_ł_-;_-* &quot;-&quot;??\ _z_ł_-;_-@_-">
                  <c:v>5919</c:v>
                </c:pt>
                <c:pt idx="11" formatCode="_-* #,##0.00\ _z_ł_-;\-* #,##0.00\ _z_ł_-;_-* &quot;-&quot;??\ _z_ł_-;_-@_-">
                  <c:v>5943</c:v>
                </c:pt>
                <c:pt idx="12" formatCode="_-* #,##0.00\ _z_ł_-;\-* #,##0.00\ _z_ł_-;_-* &quot;-&quot;??\ _z_ł_-;_-@_-">
                  <c:v>5943</c:v>
                </c:pt>
                <c:pt idx="13" formatCode="_-* #,##0.00\ _z_ł_-;\-* #,##0.00\ _z_ł_-;_-* &quot;-&quot;??\ _z_ł_-;_-@_-">
                  <c:v>5943</c:v>
                </c:pt>
                <c:pt idx="14" formatCode="_-* #,##0.00\ _z_ł_-;\-* #,##0.00\ _z_ł_-;_-* &quot;-&quot;??\ _z_ł_-;_-@_-">
                  <c:v>4937</c:v>
                </c:pt>
              </c:numCache>
              <c:extLst/>
            </c:numRef>
          </c:val>
          <c:extLst>
            <c:ext xmlns:c16="http://schemas.microsoft.com/office/drawing/2014/chart" uri="{C3380CC4-5D6E-409C-BE32-E72D297353CC}">
              <c16:uniqueId val="{00000001-3F33-4E1C-AA44-C646A971B68C}"/>
            </c:ext>
          </c:extLst>
        </c:ser>
        <c:ser>
          <c:idx val="6"/>
          <c:order val="2"/>
          <c:tx>
            <c:v>Pumped hydro</c:v>
          </c:tx>
          <c:spPr>
            <a:solidFill>
              <a:schemeClr val="accent2">
                <a:lumMod val="75000"/>
              </a:schemeClr>
            </a:solidFill>
            <a:ln>
              <a:noFill/>
            </a:ln>
          </c:spPr>
          <c:invertIfNegative val="0"/>
          <c:cat>
            <c:strRef>
              <c:f>(Capacity!$B$16:$I$16,Capacity!$K$16:$L$16,Capacity!$N$16:$R$16)</c:f>
              <c:strCache>
                <c:ptCount val="15"/>
                <c:pt idx="0">
                  <c:v>2004</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extLst/>
            </c:strRef>
          </c:cat>
          <c:val>
            <c:numRef>
              <c:f>(Capacity!$B$38:$I$38,Capacity!$K$38:$L$38,Capacity!$N$38:$R$38)</c:f>
              <c:numCache>
                <c:formatCode>General</c:formatCode>
                <c:ptCount val="15"/>
                <c:pt idx="0" formatCode="_-* #,##0.00\ _z_ł_-;\-* #,##0.00\ _z_ł_-;_-* &quot;-&quot;??\ _z_ł_-;_-@_-">
                  <c:v>1307</c:v>
                </c:pt>
                <c:pt idx="2" formatCode="_-* #,##0.00\ _z_ł_-;\-* #,##0.00\ _z_ł_-;_-* &quot;-&quot;??\ _z_ł_-;_-@_-">
                  <c:v>1307</c:v>
                </c:pt>
                <c:pt idx="3" formatCode="_-* #,##0.00\ _z_ł_-;\-* #,##0.00\ _z_ł_-;_-* &quot;-&quot;??\ _z_ł_-;_-@_-">
                  <c:v>1307</c:v>
                </c:pt>
                <c:pt idx="4" formatCode="_-* #,##0.00\ _z_ł_-;\-* #,##0.00\ _z_ł_-;_-* &quot;-&quot;??\ _z_ł_-;_-@_-">
                  <c:v>1307</c:v>
                </c:pt>
                <c:pt idx="5" formatCode="_-* #,##0.00\ _z_ł_-;\-* #,##0.00\ _z_ł_-;_-* &quot;-&quot;??\ _z_ł_-;_-@_-">
                  <c:v>1308</c:v>
                </c:pt>
                <c:pt idx="6" formatCode="_-* #,##0.00\ _z_ł_-;\-* #,##0.00\ _z_ł_-;_-* &quot;-&quot;??\ _z_ł_-;_-@_-">
                  <c:v>1308</c:v>
                </c:pt>
                <c:pt idx="7" formatCode="_-* #,##0.00\ _z_ł_-;\-* #,##0.00\ _z_ł_-;_-* &quot;-&quot;??\ _z_ł_-;_-@_-">
                  <c:v>1308</c:v>
                </c:pt>
                <c:pt idx="8" formatCode="_-* #,##0.00\ _z_ł_-;\-* #,##0.00\ _z_ł_-;_-* &quot;-&quot;??\ _z_ł_-;_-@_-">
                  <c:v>1308</c:v>
                </c:pt>
                <c:pt idx="9" formatCode="_-* #,##0.00\ _z_ł_-;\-* #,##0.00\ _z_ł_-;_-* &quot;-&quot;??\ _z_ł_-;_-@_-">
                  <c:v>1308</c:v>
                </c:pt>
                <c:pt idx="10" formatCode="_-* #,##0.00\ _z_ł_-;\-* #,##0.00\ _z_ł_-;_-* &quot;-&quot;??\ _z_ł_-;_-@_-">
                  <c:v>1308</c:v>
                </c:pt>
                <c:pt idx="11" formatCode="_-* #,##0.00\ _z_ł_-;\-* #,##0.00\ _z_ł_-;_-* &quot;-&quot;??\ _z_ł_-;_-@_-">
                  <c:v>1308</c:v>
                </c:pt>
                <c:pt idx="12" formatCode="_-* #,##0.00\ _z_ł_-;\-* #,##0.00\ _z_ł_-;_-* &quot;-&quot;??\ _z_ł_-;_-@_-">
                  <c:v>1244</c:v>
                </c:pt>
                <c:pt idx="13" formatCode="_-* #,##0.00\ _z_ł_-;\-* #,##0.00\ _z_ł_-;_-* &quot;-&quot;??\ _z_ł_-;_-@_-">
                  <c:v>1224</c:v>
                </c:pt>
                <c:pt idx="14" formatCode="_-* #,##0.00\ _z_ł_-;\-* #,##0.00\ _z_ł_-;_-* &quot;-&quot;??\ _z_ł_-;_-@_-">
                  <c:v>1308</c:v>
                </c:pt>
              </c:numCache>
              <c:extLst/>
            </c:numRef>
          </c:val>
          <c:extLst>
            <c:ext xmlns:c16="http://schemas.microsoft.com/office/drawing/2014/chart" uri="{C3380CC4-5D6E-409C-BE32-E72D297353CC}">
              <c16:uniqueId val="{00000002-3F33-4E1C-AA44-C646A971B68C}"/>
            </c:ext>
          </c:extLst>
        </c:ser>
        <c:ser>
          <c:idx val="2"/>
          <c:order val="3"/>
          <c:tx>
            <c:strRef>
              <c:f>Capacity!$A$26</c:f>
              <c:strCache>
                <c:ptCount val="1"/>
                <c:pt idx="0">
                  <c:v>Hydro</c:v>
                </c:pt>
              </c:strCache>
            </c:strRef>
          </c:tx>
          <c:spPr>
            <a:solidFill>
              <a:schemeClr val="accent2">
                <a:lumMod val="60000"/>
                <a:lumOff val="40000"/>
              </a:schemeClr>
            </a:solidFill>
            <a:ln>
              <a:noFill/>
            </a:ln>
          </c:spPr>
          <c:invertIfNegative val="0"/>
          <c:cat>
            <c:strRef>
              <c:f>(Capacity!$B$16:$I$16,Capacity!$K$16:$L$16,Capacity!$N$16:$R$16)</c:f>
              <c:strCache>
                <c:ptCount val="15"/>
                <c:pt idx="0">
                  <c:v>2004</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extLst/>
            </c:strRef>
          </c:cat>
          <c:val>
            <c:numRef>
              <c:f>(Capacity!$B$26:$I$26,Capacity!$K$26:$L$26,Capacity!$N$26:$R$26)</c:f>
              <c:numCache>
                <c:formatCode>General</c:formatCode>
                <c:ptCount val="15"/>
                <c:pt idx="0" formatCode="_-* #,##0.00\ _z_ł_-;\-* #,##0.00\ _z_ł_-;_-* &quot;-&quot;??\ _z_ł_-;_-@_-">
                  <c:v>118</c:v>
                </c:pt>
                <c:pt idx="2" formatCode="_-* #,##0.00\ _z_ł_-;\-* #,##0.00\ _z_ł_-;_-* &quot;-&quot;??\ _z_ł_-;_-@_-">
                  <c:v>118</c:v>
                </c:pt>
                <c:pt idx="3" formatCode="_-* #,##0.00\ _z_ł_-;\-* #,##0.00\ _z_ł_-;_-* &quot;-&quot;??\ _z_ł_-;_-@_-">
                  <c:v>119</c:v>
                </c:pt>
                <c:pt idx="4" formatCode="_-* #,##0.00\ _z_ł_-;\-* #,##0.00\ _z_ł_-;_-* &quot;-&quot;??\ _z_ł_-;_-@_-">
                  <c:v>119</c:v>
                </c:pt>
                <c:pt idx="5" formatCode="_-* #,##0.00\ _z_ł_-;\-* #,##0.00\ _z_ł_-;_-* &quot;-&quot;??\ _z_ł_-;_-@_-">
                  <c:v>114</c:v>
                </c:pt>
                <c:pt idx="6" formatCode="_-* #,##0.00\ _z_ł_-;\-* #,##0.00\ _z_ł_-;_-* &quot;-&quot;??\ _z_ł_-;_-@_-">
                  <c:v>117</c:v>
                </c:pt>
                <c:pt idx="7" formatCode="_-* #,##0.00\ _z_ł_-;\-* #,##0.00\ _z_ł_-;_-* &quot;-&quot;??\ _z_ł_-;_-@_-">
                  <c:v>116</c:v>
                </c:pt>
                <c:pt idx="8" formatCode="_-* #,##0.00\ _z_ł_-;\-* #,##0.00\ _z_ł_-;_-* &quot;-&quot;??\ _z_ł_-;_-@_-">
                  <c:v>122</c:v>
                </c:pt>
                <c:pt idx="9" formatCode="_-* #,##0.00\ _z_ł_-;\-* #,##0.00\ _z_ł_-;_-* &quot;-&quot;??\ _z_ł_-;_-@_-">
                  <c:v>122.291</c:v>
                </c:pt>
                <c:pt idx="10" formatCode="_-* #,##0.00\ _z_ł_-;\-* #,##0.00\ _z_ł_-;_-* &quot;-&quot;??\ _z_ł_-;_-@_-">
                  <c:v>124.71</c:v>
                </c:pt>
                <c:pt idx="11" formatCode="_-* #,##0.00\ _z_ł_-;\-* #,##0.00\ _z_ł_-;_-* &quot;-&quot;??\ _z_ł_-;_-@_-">
                  <c:v>124.71</c:v>
                </c:pt>
                <c:pt idx="12" formatCode="_-* #,##0.00\ _z_ł_-;\-* #,##0.00\ _z_ł_-;_-* &quot;-&quot;??\ _z_ł_-;_-@_-">
                  <c:v>117</c:v>
                </c:pt>
                <c:pt idx="13" formatCode="_-* #,##0.00\ _z_ł_-;\-* #,##0.00\ _z_ł_-;_-* &quot;-&quot;??\ _z_ł_-;_-@_-">
                  <c:v>121</c:v>
                </c:pt>
                <c:pt idx="14" formatCode="_-* #,##0.00\ _z_ł_-;\-* #,##0.00\ _z_ł_-;_-* &quot;-&quot;??\ _z_ł_-;_-@_-">
                  <c:v>125</c:v>
                </c:pt>
              </c:numCache>
              <c:extLst/>
            </c:numRef>
          </c:val>
          <c:extLst>
            <c:ext xmlns:c16="http://schemas.microsoft.com/office/drawing/2014/chart" uri="{C3380CC4-5D6E-409C-BE32-E72D297353CC}">
              <c16:uniqueId val="{00000003-3F33-4E1C-AA44-C646A971B68C}"/>
            </c:ext>
          </c:extLst>
        </c:ser>
        <c:ser>
          <c:idx val="3"/>
          <c:order val="4"/>
          <c:tx>
            <c:strRef>
              <c:f>Capacity!$A$27</c:f>
              <c:strCache>
                <c:ptCount val="1"/>
                <c:pt idx="0">
                  <c:v>Wind</c:v>
                </c:pt>
              </c:strCache>
            </c:strRef>
          </c:tx>
          <c:spPr>
            <a:solidFill>
              <a:schemeClr val="accent3"/>
            </a:solidFill>
          </c:spPr>
          <c:invertIfNegative val="0"/>
          <c:cat>
            <c:strRef>
              <c:f>(Capacity!$B$16:$I$16,Capacity!$K$16:$L$16,Capacity!$N$16:$R$16)</c:f>
              <c:strCache>
                <c:ptCount val="15"/>
                <c:pt idx="0">
                  <c:v>2004</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extLst/>
            </c:strRef>
          </c:cat>
          <c:val>
            <c:numRef>
              <c:f>(Capacity!$B$27:$I$27,Capacity!$K$27:$L$27,Capacity!$N$27:$R$27)</c:f>
              <c:numCache>
                <c:formatCode>General</c:formatCode>
                <c:ptCount val="15"/>
                <c:pt idx="0" formatCode="_-* #,##0.00\ _z_ł_-;\-* #,##0.00\ _z_ł_-;_-* &quot;-&quot;??\ _z_ł_-;_-@_-">
                  <c:v>96</c:v>
                </c:pt>
                <c:pt idx="2" formatCode="_-* #,##0.00\ _z_ł_-;\-* #,##0.00\ _z_ł_-;_-* &quot;-&quot;??\ _z_ł_-;_-@_-">
                  <c:v>736.27</c:v>
                </c:pt>
                <c:pt idx="3" formatCode="_-* #,##0.00\ _z_ł_-;\-* #,##0.00\ _z_ł_-;_-* &quot;-&quot;??\ _z_ł_-;_-@_-">
                  <c:v>1065</c:v>
                </c:pt>
                <c:pt idx="4" formatCode="_-* #,##0.00\ _z_ł_-;\-* #,##0.00\ _z_ł_-;_-* &quot;-&quot;??\ _z_ł_-;_-@_-">
                  <c:v>1365.1</c:v>
                </c:pt>
                <c:pt idx="5" formatCode="_-* #,##0.00\ _z_ł_-;\-* #,##0.00\ _z_ł_-;_-* &quot;-&quot;??\ _z_ł_-;_-@_-">
                  <c:v>1684.5</c:v>
                </c:pt>
                <c:pt idx="6" formatCode="_-* #,##0.00\ _z_ł_-;\-* #,##0.00\ _z_ł_-;_-* &quot;-&quot;??\ _z_ł_-;_-@_-">
                  <c:v>1934.9</c:v>
                </c:pt>
                <c:pt idx="7" formatCode="_-* #,##0.00\ _z_ł_-;\-* #,##0.00\ _z_ł_-;_-* &quot;-&quot;??\ _z_ł_-;_-@_-">
                  <c:v>2179.3000000000002</c:v>
                </c:pt>
                <c:pt idx="8" formatCode="_-* #,##0.00\ _z_ł_-;\-* #,##0.00\ _z_ł_-;_-* &quot;-&quot;??\ _z_ł_-;_-@_-">
                  <c:v>2360.9</c:v>
                </c:pt>
                <c:pt idx="9" formatCode="_-* #,##0.00\ _z_ł_-;\-* #,##0.00\ _z_ł_-;_-* &quot;-&quot;??\ _z_ł_-;_-@_-">
                  <c:v>2796.3</c:v>
                </c:pt>
                <c:pt idx="10" formatCode="_-* #,##0.00\ _z_ł_-;\-* #,##0.00\ _z_ł_-;_-* &quot;-&quot;??\ _z_ł_-;_-@_-">
                  <c:v>3315.8</c:v>
                </c:pt>
                <c:pt idx="11" formatCode="_-* #,##0.00\ _z_ł_-;\-* #,##0.00\ _z_ł_-;_-* &quot;-&quot;??\ _z_ł_-;_-@_-">
                  <c:v>3854</c:v>
                </c:pt>
                <c:pt idx="12" formatCode="_-* #,##0.00\ _z_ł_-;\-* #,##0.00\ _z_ł_-;_-* &quot;-&quot;??\ _z_ł_-;_-@_-">
                  <c:v>4713.7700000000004</c:v>
                </c:pt>
                <c:pt idx="13" formatCode="_-* #,##0.00\ _z_ł_-;\-* #,##0.00\ _z_ł_-;_-* &quot;-&quot;??\ _z_ł_-;_-@_-">
                  <c:v>5018.51</c:v>
                </c:pt>
                <c:pt idx="14" formatCode="_-* #,##0.00\ _z_ł_-;\-* #,##0.00\ _z_ł_-;_-* &quot;-&quot;??\ _z_ł_-;_-@_-">
                  <c:v>5306.4</c:v>
                </c:pt>
              </c:numCache>
              <c:extLst/>
            </c:numRef>
          </c:val>
          <c:extLst>
            <c:ext xmlns:c16="http://schemas.microsoft.com/office/drawing/2014/chart" uri="{C3380CC4-5D6E-409C-BE32-E72D297353CC}">
              <c16:uniqueId val="{00000004-3F33-4E1C-AA44-C646A971B68C}"/>
            </c:ext>
          </c:extLst>
        </c:ser>
        <c:ser>
          <c:idx val="4"/>
          <c:order val="5"/>
          <c:tx>
            <c:v>Solar</c:v>
          </c:tx>
          <c:spPr>
            <a:solidFill>
              <a:schemeClr val="accent1">
                <a:lumMod val="40000"/>
                <a:lumOff val="60000"/>
              </a:schemeClr>
            </a:solidFill>
          </c:spPr>
          <c:invertIfNegative val="0"/>
          <c:cat>
            <c:strRef>
              <c:f>(Capacity!$B$16:$I$16,Capacity!$K$16:$L$16,Capacity!$N$16:$R$16)</c:f>
              <c:strCache>
                <c:ptCount val="15"/>
                <c:pt idx="0">
                  <c:v>2004</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extLst/>
            </c:strRef>
          </c:cat>
          <c:val>
            <c:numRef>
              <c:f>(Capacity!$B$30:$I$30,Capacity!$K$30:$L$30,Capacity!$N$30:$R$30)</c:f>
              <c:numCache>
                <c:formatCode>General</c:formatCode>
                <c:ptCount val="15"/>
                <c:pt idx="0" formatCode="_-* #,##0.00\ _z_ł_-;\-* #,##0.00\ _z_ł_-;_-* &quot;-&quot;??\ _z_ł_-;_-@_-">
                  <c:v>1</c:v>
                </c:pt>
                <c:pt idx="2" formatCode="_-* #,##0.00\ _z_ł_-;\-* #,##0.00\ _z_ł_-;_-* &quot;-&quot;??\ _z_ł_-;_-@_-">
                  <c:v>904</c:v>
                </c:pt>
                <c:pt idx="3" formatCode="_-* #,##0.00\ _z_ł_-;\-* #,##0.00\ _z_ł_-;_-* &quot;-&quot;??\ _z_ł_-;_-@_-">
                  <c:v>2175.4899999999998</c:v>
                </c:pt>
                <c:pt idx="4" formatCode="_-* #,##0.00\ _z_ł_-;\-* #,##0.00\ _z_ł_-;_-* &quot;-&quot;??\ _z_ł_-;_-@_-">
                  <c:v>2869.62</c:v>
                </c:pt>
                <c:pt idx="5" formatCode="_-* #,##0.00\ _z_ł_-;\-* #,##0.00\ _z_ł_-;_-* &quot;-&quot;??\ _z_ł_-;_-@_-">
                  <c:v>3139</c:v>
                </c:pt>
                <c:pt idx="6" formatCode="_-* #,##0.00\ _z_ł_-;\-* #,##0.00\ _z_ł_-;_-* &quot;-&quot;??\ _z_ł_-;_-@_-">
                  <c:v>3244.61</c:v>
                </c:pt>
                <c:pt idx="7" formatCode="_-* #,##0.00\ _z_ł_-;\-* #,##0.00\ _z_ł_-;_-* &quot;-&quot;??\ _z_ł_-;_-@_-">
                  <c:v>3354.28</c:v>
                </c:pt>
                <c:pt idx="8" formatCode="_-* #,##0.00\ _z_ł_-;\-* #,##0.00\ _z_ł_-;_-* &quot;-&quot;??\ _z_ł_-;_-@_-">
                  <c:v>3534.68</c:v>
                </c:pt>
                <c:pt idx="9" formatCode="_-* #,##0.00\ _z_ł_-;\-* #,##0.00\ _z_ł_-;_-* &quot;-&quot;??\ _z_ł_-;_-@_-">
                  <c:v>3865.11</c:v>
                </c:pt>
                <c:pt idx="10" formatCode="_-* #,##0.00\ _z_ł_-;\-* #,##0.00\ _z_ł_-;_-* &quot;-&quot;??\ _z_ł_-;_-@_-">
                  <c:v>4309.95</c:v>
                </c:pt>
                <c:pt idx="11" formatCode="_-* #,##0.00\ _z_ł_-;\-* #,##0.00\ _z_ł_-;_-* &quot;-&quot;??\ _z_ł_-;_-@_-">
                  <c:v>5131</c:v>
                </c:pt>
                <c:pt idx="12" formatCode="_-* #,##0.00\ _z_ł_-;\-* #,##0.00\ _z_ł_-;_-* &quot;-&quot;??\ _z_ł_-;_-@_-">
                  <c:v>6297</c:v>
                </c:pt>
                <c:pt idx="13" formatCode="_-* #,##0.00\ _z_ł_-;\-* #,##0.00\ _z_ł_-;_-* &quot;-&quot;??\ _z_ł_-;_-@_-">
                  <c:v>6881</c:v>
                </c:pt>
                <c:pt idx="14" formatCode="_-* #,##0.00\ _z_ł_-;\-* #,##0.00\ _z_ł_-;_-* &quot;-&quot;??\ _z_ł_-;_-@_-">
                  <c:v>7767</c:v>
                </c:pt>
              </c:numCache>
              <c:extLst/>
            </c:numRef>
          </c:val>
          <c:extLst>
            <c:ext xmlns:c16="http://schemas.microsoft.com/office/drawing/2014/chart" uri="{C3380CC4-5D6E-409C-BE32-E72D297353CC}">
              <c16:uniqueId val="{00000005-3F33-4E1C-AA44-C646A971B68C}"/>
            </c:ext>
          </c:extLst>
        </c:ser>
        <c:ser>
          <c:idx val="5"/>
          <c:order val="6"/>
          <c:tx>
            <c:v>Biomass and biogas</c:v>
          </c:tx>
          <c:spPr>
            <a:solidFill>
              <a:schemeClr val="accent3">
                <a:lumMod val="25000"/>
              </a:schemeClr>
            </a:solidFill>
          </c:spPr>
          <c:invertIfNegative val="0"/>
          <c:cat>
            <c:strRef>
              <c:f>(Capacity!$B$16:$I$16,Capacity!$K$16:$L$16,Capacity!$N$16:$R$16)</c:f>
              <c:strCache>
                <c:ptCount val="15"/>
                <c:pt idx="0">
                  <c:v>2004</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extLst/>
            </c:strRef>
          </c:cat>
          <c:val>
            <c:numRef>
              <c:f>(Capacity!$B$33:$I$33,Capacity!$K$33:$L$33,Capacity!$N$33:$R$33)</c:f>
              <c:numCache>
                <c:formatCode>General</c:formatCode>
                <c:ptCount val="15"/>
                <c:pt idx="0" formatCode="_-* #,##0.00\ _z_ł_-;\-* #,##0.00\ _z_ł_-;_-* &quot;-&quot;??\ _z_ł_-;_-@_-">
                  <c:v>329.4</c:v>
                </c:pt>
                <c:pt idx="1">
                  <c:v>0</c:v>
                </c:pt>
                <c:pt idx="2" formatCode="_-* #,##0.00\ _z_ł_-;\-* #,##0.00\ _z_ł_-;_-* &quot;-&quot;??\ _z_ł_-;_-@_-">
                  <c:v>949</c:v>
                </c:pt>
                <c:pt idx="3" formatCode="_-* #,##0.00\ _z_ł_-;\-* #,##0.00\ _z_ł_-;_-* &quot;-&quot;??\ _z_ł_-;_-@_-">
                  <c:v>802</c:v>
                </c:pt>
                <c:pt idx="4" formatCode="_-* #,##0.00\ _z_ł_-;\-* #,##0.00\ _z_ł_-;_-* &quot;-&quot;??\ _z_ł_-;_-@_-">
                  <c:v>1278</c:v>
                </c:pt>
                <c:pt idx="5" formatCode="_-* #,##0.00\ _z_ł_-;\-* #,##0.00\ _z_ł_-;_-* &quot;-&quot;??\ _z_ł_-;_-@_-">
                  <c:v>971</c:v>
                </c:pt>
                <c:pt idx="6" formatCode="_-* #,##0.00\ _z_ł_-;\-* #,##0.00\ _z_ł_-;_-* &quot;-&quot;??\ _z_ł_-;_-@_-">
                  <c:v>817</c:v>
                </c:pt>
                <c:pt idx="7" formatCode="_-* #,##0.00\ _z_ł_-;\-* #,##0.00\ _z_ł_-;_-* &quot;-&quot;??\ _z_ł_-;_-@_-">
                  <c:v>897</c:v>
                </c:pt>
                <c:pt idx="8" formatCode="_-* #,##0.00\ _z_ł_-;\-* #,##0.00\ _z_ł_-;_-* &quot;-&quot;??\ _z_ł_-;_-@_-">
                  <c:v>823</c:v>
                </c:pt>
                <c:pt idx="9" formatCode="_-* #,##0.00\ _z_ł_-;\-* #,##0.00\ _z_ł_-;_-* &quot;-&quot;??\ _z_ł_-;_-@_-">
                  <c:v>806.16</c:v>
                </c:pt>
                <c:pt idx="10" formatCode="_-* #,##0.00\ _z_ł_-;\-* #,##0.00\ _z_ł_-;_-* &quot;-&quot;??\ _z_ł_-;_-@_-">
                  <c:v>811.16899999999987</c:v>
                </c:pt>
                <c:pt idx="11" formatCode="_-* #,##0.00\ _z_ł_-;\-* #,##0.00\ _z_ł_-;_-* &quot;-&quot;??\ _z_ł_-;_-@_-">
                  <c:v>811.17</c:v>
                </c:pt>
                <c:pt idx="12" formatCode="_-* #,##0.00\ _z_ł_-;\-* #,##0.00\ _z_ł_-;_-* &quot;-&quot;??\ _z_ł_-;_-@_-">
                  <c:v>778.89200000000005</c:v>
                </c:pt>
                <c:pt idx="13" formatCode="_-* #,##0.00\ _z_ł_-;\-* #,##0.00\ _z_ł_-;_-* &quot;-&quot;??\ _z_ł_-;_-@_-">
                  <c:v>803.9</c:v>
                </c:pt>
                <c:pt idx="14" formatCode="_-* #,##0.00\ _z_ł_-;\-* #,##0.00\ _z_ł_-;_-* &quot;-&quot;??\ _z_ł_-;_-@_-">
                  <c:v>845.226</c:v>
                </c:pt>
              </c:numCache>
              <c:extLst/>
            </c:numRef>
          </c:val>
          <c:extLst>
            <c:ext xmlns:c16="http://schemas.microsoft.com/office/drawing/2014/chart" uri="{C3380CC4-5D6E-409C-BE32-E72D297353CC}">
              <c16:uniqueId val="{00000006-3F33-4E1C-AA44-C646A971B68C}"/>
            </c:ext>
          </c:extLst>
        </c:ser>
        <c:ser>
          <c:idx val="7"/>
          <c:order val="7"/>
          <c:spPr>
            <a:noFill/>
            <a:ln>
              <a:noFill/>
            </a:ln>
          </c:spPr>
          <c:invertIfNegative val="0"/>
          <c:dLbls>
            <c:dLbl>
              <c:idx val="10"/>
              <c:numFmt formatCode="#,##0" sourceLinked="0"/>
              <c:spPr>
                <a:noFill/>
                <a:ln>
                  <a:noFill/>
                </a:ln>
                <a:effectLst/>
              </c:spPr>
              <c:txPr>
                <a:bodyPr/>
                <a:lstStyle/>
                <a:p>
                  <a:pPr>
                    <a:defRPr b="1">
                      <a:solidFill>
                        <a:schemeClr val="accent1"/>
                      </a:solidFill>
                    </a:defRPr>
                  </a:pPr>
                  <a:endParaRPr lang="nl-BE"/>
                </a:p>
              </c:txPr>
              <c:dLblPos val="inBase"/>
              <c:showLegendKey val="0"/>
              <c:showVal val="0"/>
              <c:showCatName val="0"/>
              <c:showSerName val="0"/>
              <c:showPercent val="0"/>
              <c:showBubbleSize val="0"/>
              <c:extLst>
                <c:ext xmlns:c16="http://schemas.microsoft.com/office/drawing/2014/chart" uri="{C3380CC4-5D6E-409C-BE32-E72D297353CC}">
                  <c16:uniqueId val="{00000007-3F33-4E1C-AA44-C646A971B68C}"/>
                </c:ext>
              </c:extLst>
            </c:dLbl>
            <c:dLbl>
              <c:idx val="11"/>
              <c:numFmt formatCode="#,##0" sourceLinked="0"/>
              <c:spPr>
                <a:noFill/>
                <a:ln>
                  <a:noFill/>
                </a:ln>
                <a:effectLst/>
              </c:spPr>
              <c:txPr>
                <a:bodyPr wrap="square" lIns="38100" tIns="19050" rIns="38100" bIns="19050" anchor="ctr" anchorCtr="0">
                  <a:spAutoFit/>
                </a:bodyPr>
                <a:lstStyle/>
                <a:p>
                  <a:pPr algn="ctr" rtl="0">
                    <a:defRPr lang="en-US" sz="1000" b="1" i="0" u="none" strike="noStrike" kern="1200" baseline="0">
                      <a:solidFill>
                        <a:srgbClr val="C62B37"/>
                      </a:solidFill>
                      <a:latin typeface="Lucida Sans" panose="020B0602030504020204" pitchFamily="34" charset="0"/>
                      <a:ea typeface="+mn-ea"/>
                      <a:cs typeface="+mn-cs"/>
                    </a:defRPr>
                  </a:pPr>
                  <a:endParaRPr lang="nl-BE"/>
                </a:p>
              </c:txPr>
              <c:dLblPos val="inBase"/>
              <c:showLegendKey val="0"/>
              <c:showVal val="0"/>
              <c:showCatName val="0"/>
              <c:showSerName val="0"/>
              <c:showPercent val="0"/>
              <c:showBubbleSize val="0"/>
              <c:extLst>
                <c:ext xmlns:c16="http://schemas.microsoft.com/office/drawing/2014/chart" uri="{C3380CC4-5D6E-409C-BE32-E72D297353CC}">
                  <c16:uniqueId val="{00000008-3F33-4E1C-AA44-C646A971B68C}"/>
                </c:ext>
              </c:extLst>
            </c:dLbl>
            <c:dLbl>
              <c:idx val="12"/>
              <c:numFmt formatCode="#,##0" sourceLinked="0"/>
              <c:spPr>
                <a:noFill/>
                <a:ln>
                  <a:noFill/>
                </a:ln>
                <a:effectLst/>
              </c:spPr>
              <c:txPr>
                <a:bodyPr wrap="square" lIns="38100" tIns="19050" rIns="38100" bIns="19050" anchor="ctr" anchorCtr="0">
                  <a:spAutoFit/>
                </a:bodyPr>
                <a:lstStyle/>
                <a:p>
                  <a:pPr algn="ctr" rtl="0">
                    <a:defRPr lang="en-US" sz="1000" b="1" i="0" u="none" strike="noStrike" kern="1200" baseline="0">
                      <a:solidFill>
                        <a:srgbClr val="C62B37"/>
                      </a:solidFill>
                      <a:latin typeface="Lucida Sans" panose="020B0602030504020204" pitchFamily="34" charset="0"/>
                      <a:ea typeface="+mn-ea"/>
                      <a:cs typeface="+mn-cs"/>
                    </a:defRPr>
                  </a:pPr>
                  <a:endParaRPr lang="nl-BE"/>
                </a:p>
              </c:txPr>
              <c:dLblPos val="inBase"/>
              <c:showLegendKey val="0"/>
              <c:showVal val="0"/>
              <c:showCatName val="0"/>
              <c:showSerName val="0"/>
              <c:showPercent val="0"/>
              <c:showBubbleSize val="0"/>
              <c:extLst>
                <c:ext xmlns:c16="http://schemas.microsoft.com/office/drawing/2014/chart" uri="{C3380CC4-5D6E-409C-BE32-E72D297353CC}">
                  <c16:uniqueId val="{00000009-3F33-4E1C-AA44-C646A971B68C}"/>
                </c:ext>
              </c:extLst>
            </c:dLbl>
            <c:dLbl>
              <c:idx val="14"/>
              <c:numFmt formatCode="#,##0" sourceLinked="0"/>
              <c:spPr>
                <a:noFill/>
                <a:ln>
                  <a:noFill/>
                </a:ln>
                <a:effectLst/>
              </c:spPr>
              <c:txPr>
                <a:bodyPr wrap="square" lIns="38100" tIns="19050" rIns="38100" bIns="19050" anchor="ctr" anchorCtr="0">
                  <a:spAutoFit/>
                </a:bodyPr>
                <a:lstStyle/>
                <a:p>
                  <a:pPr algn="ctr" rtl="0">
                    <a:defRPr lang="en-US" sz="1000" b="1" i="0" u="none" strike="noStrike" kern="1200" baseline="0">
                      <a:solidFill>
                        <a:srgbClr val="C62B37"/>
                      </a:solidFill>
                      <a:latin typeface="Lucida Sans" panose="020B0602030504020204" pitchFamily="34" charset="0"/>
                      <a:ea typeface="+mn-ea"/>
                      <a:cs typeface="+mn-cs"/>
                    </a:defRPr>
                  </a:pPr>
                  <a:endParaRPr lang="nl-BE"/>
                </a:p>
              </c:txPr>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F33-4E1C-AA44-C646A971B68C}"/>
                </c:ext>
              </c:extLst>
            </c:dLbl>
            <c:spPr>
              <a:noFill/>
              <a:ln>
                <a:noFill/>
              </a:ln>
              <a:effectLst/>
            </c:spPr>
            <c:txPr>
              <a:bodyPr wrap="square" lIns="38100" tIns="19050" rIns="38100" bIns="19050" anchor="ctr">
                <a:spAutoFit/>
              </a:bodyPr>
              <a:lstStyle/>
              <a:p>
                <a:pPr>
                  <a:defRPr b="1"/>
                </a:pPr>
                <a:endParaRPr lang="nl-BE"/>
              </a:p>
            </c:txPr>
            <c:dLblPos val="inBase"/>
            <c:showLegendKey val="0"/>
            <c:showVal val="0"/>
            <c:showCatName val="0"/>
            <c:showSerName val="0"/>
            <c:showPercent val="0"/>
            <c:showBubbleSize val="0"/>
            <c:extLst>
              <c:ext xmlns:c15="http://schemas.microsoft.com/office/drawing/2012/chart" uri="{CE6537A1-D6FC-4f65-9D91-7224C49458BB}">
                <c15:showLeaderLines val="1"/>
              </c:ext>
            </c:extLst>
          </c:dLbls>
          <c:cat>
            <c:strRef>
              <c:f>(Capacity!$B$16:$I$16,Capacity!$K$16:$L$16,Capacity!$N$16:$R$16)</c:f>
              <c:strCache>
                <c:ptCount val="15"/>
                <c:pt idx="0">
                  <c:v>2004</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strCache>
              <c:extLst/>
            </c:strRef>
          </c:cat>
          <c:val>
            <c:numRef>
              <c:f>(Capacity!$B$17:$I$17,Capacity!$K$17:$L$17,Capacity!$N$17:$R$17)</c:f>
              <c:numCache>
                <c:formatCode>General</c:formatCode>
                <c:ptCount val="15"/>
                <c:pt idx="0" formatCode="_-* #,##0.00\ _z_ł_-;\-* #,##0.00\ _z_ł_-;_-* &quot;-&quot;??\ _z_ł_-;_-@_-">
                  <c:v>15648</c:v>
                </c:pt>
                <c:pt idx="2" formatCode="_-* #,##0.00\ _z_ł_-;\-* #,##0.00\ _z_ł_-;_-* &quot;-&quot;??\ _z_ł_-;_-@_-">
                  <c:v>18514.27</c:v>
                </c:pt>
                <c:pt idx="3" formatCode="_-* #,##0.00\ _z_ł_-;\-* #,##0.00\ _z_ł_-;_-* &quot;-&quot;??\ _z_ł_-;_-@_-">
                  <c:v>20094</c:v>
                </c:pt>
                <c:pt idx="4" formatCode="_-* #,##0.00\ _z_ł_-;\-* #,##0.00\ _z_ł_-;_-* &quot;-&quot;??\ _z_ł_-;_-@_-">
                  <c:v>21073.100000000002</c:v>
                </c:pt>
                <c:pt idx="5" formatCode="_-* #,##0.00\ _z_ł_-;\-* #,##0.00\ _z_ł_-;_-* &quot;-&quot;??\ _z_ł_-;_-@_-">
                  <c:v>21024.5</c:v>
                </c:pt>
                <c:pt idx="6" formatCode="_-* #,##0.00\ _z_ł_-;\-* #,##0.00\ _z_ł_-;_-* &quot;-&quot;??\ _z_ł_-;_-@_-">
                  <c:v>21238.510000000002</c:v>
                </c:pt>
                <c:pt idx="7" formatCode="_-* #,##0.00\ _z_ł_-;\-* #,##0.00\ _z_ł_-;_-* &quot;-&quot;??\ _z_ł_-;_-@_-">
                  <c:v>21689.58</c:v>
                </c:pt>
                <c:pt idx="8" formatCode="_-* #,##0.00\ _z_ł_-;\-* #,##0.00\ _z_ł_-;_-* &quot;-&quot;??\ _z_ł_-;_-@_-">
                  <c:v>21145.903999999999</c:v>
                </c:pt>
                <c:pt idx="9" formatCode="_-* #,##0.00\ _z_ł_-;\-* #,##0.00\ _z_ł_-;_-* &quot;-&quot;??\ _z_ł_-;_-@_-">
                  <c:v>22053.030000000002</c:v>
                </c:pt>
                <c:pt idx="10" formatCode="_-* #,##0.00\ _z_ł_-;\-* #,##0.00\ _z_ł_-;_-* &quot;-&quot;??\ _z_ł_-;_-@_-">
                  <c:v>23469.368000000002</c:v>
                </c:pt>
                <c:pt idx="11" formatCode="_-* #,##0.00\ _z_ł_-;\-* #,##0.00\ _z_ł_-;_-* &quot;-&quot;??\ _z_ł_-;_-@_-">
                  <c:v>24672.58</c:v>
                </c:pt>
                <c:pt idx="12" formatCode="_-* #,##0.00\ _z_ł_-;\-* #,##0.00\ _z_ł_-;_-* &quot;-&quot;??\ _z_ł_-;_-@_-">
                  <c:v>26771.329000000002</c:v>
                </c:pt>
                <c:pt idx="13" formatCode="_-* #,##0.00\ _z_ł_-;\-* #,##0.00\ _z_ł_-;_-* &quot;-&quot;??\ _z_ł_-;_-@_-">
                  <c:v>27715.503000000001</c:v>
                </c:pt>
                <c:pt idx="14" formatCode="_-* #,##0.00\ _z_ł_-;\-* #,##0.00\ _z_ł_-;_-* &quot;-&quot;??\ _z_ł_-;_-@_-">
                  <c:v>28458.518</c:v>
                </c:pt>
              </c:numCache>
              <c:extLst/>
            </c:numRef>
          </c:val>
          <c:extLst>
            <c:ext xmlns:c16="http://schemas.microsoft.com/office/drawing/2014/chart" uri="{C3380CC4-5D6E-409C-BE32-E72D297353CC}">
              <c16:uniqueId val="{0000000B-3F33-4E1C-AA44-C646A971B68C}"/>
            </c:ext>
          </c:extLst>
        </c:ser>
        <c:dLbls>
          <c:showLegendKey val="0"/>
          <c:showVal val="0"/>
          <c:showCatName val="0"/>
          <c:showSerName val="0"/>
          <c:showPercent val="0"/>
          <c:showBubbleSize val="0"/>
        </c:dLbls>
        <c:gapWidth val="110"/>
        <c:overlap val="100"/>
        <c:axId val="446757328"/>
        <c:axId val="446759288"/>
      </c:barChart>
      <c:catAx>
        <c:axId val="446757328"/>
        <c:scaling>
          <c:orientation val="minMax"/>
        </c:scaling>
        <c:delete val="0"/>
        <c:axPos val="b"/>
        <c:numFmt formatCode="General" sourceLinked="1"/>
        <c:majorTickMark val="out"/>
        <c:minorTickMark val="none"/>
        <c:tickLblPos val="nextTo"/>
        <c:crossAx val="446759288"/>
        <c:crosses val="autoZero"/>
        <c:auto val="1"/>
        <c:lblAlgn val="ctr"/>
        <c:lblOffset val="100"/>
        <c:noMultiLvlLbl val="0"/>
      </c:catAx>
      <c:valAx>
        <c:axId val="446759288"/>
        <c:scaling>
          <c:orientation val="minMax"/>
          <c:max val="30000"/>
          <c:min val="0"/>
        </c:scaling>
        <c:delete val="0"/>
        <c:axPos val="l"/>
        <c:majorGridlines>
          <c:spPr>
            <a:ln>
              <a:solidFill>
                <a:schemeClr val="bg2"/>
              </a:solidFill>
            </a:ln>
          </c:spPr>
        </c:majorGridlines>
        <c:numFmt formatCode="#,##0.00" sourceLinked="0"/>
        <c:majorTickMark val="out"/>
        <c:minorTickMark val="none"/>
        <c:tickLblPos val="nextTo"/>
        <c:crossAx val="446757328"/>
        <c:crosses val="autoZero"/>
        <c:crossBetween val="between"/>
      </c:valAx>
    </c:plotArea>
    <c:legend>
      <c:legendPos val="r"/>
      <c:legendEntry>
        <c:idx val="0"/>
        <c:delete val="1"/>
      </c:legendEntry>
      <c:layout>
        <c:manualLayout>
          <c:xMode val="edge"/>
          <c:yMode val="edge"/>
          <c:x val="0.75571613903203039"/>
          <c:y val="0.30234640466720242"/>
          <c:w val="0.2349340105471712"/>
          <c:h val="0.51306143644845159"/>
        </c:manualLayout>
      </c:layout>
      <c:overlay val="0"/>
      <c:txPr>
        <a:bodyPr/>
        <a:lstStyle/>
        <a:p>
          <a:pPr>
            <a:defRPr b="1"/>
          </a:pPr>
          <a:endParaRPr lang="nl-BE"/>
        </a:p>
      </c:txPr>
    </c:legend>
    <c:plotVisOnly val="1"/>
    <c:dispBlanksAs val="gap"/>
    <c:showDLblsOverMax val="0"/>
  </c:chart>
  <c:spPr>
    <a:ln>
      <a:noFill/>
    </a:ln>
  </c:spPr>
  <c:txPr>
    <a:bodyPr/>
    <a:lstStyle/>
    <a:p>
      <a:pPr>
        <a:defRPr>
          <a:latin typeface="Lucida Sans" panose="020B0602030504020204" pitchFamily="34" charset="0"/>
        </a:defRPr>
      </a:pPr>
      <a:endParaRPr lang="nl-BE"/>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estimated evolution production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l-BE"/>
        </a:p>
      </c:txPr>
    </c:title>
    <c:autoTitleDeleted val="0"/>
    <c:plotArea>
      <c:layout/>
      <c:barChart>
        <c:barDir val="col"/>
        <c:grouping val="clustered"/>
        <c:varyColors val="0"/>
        <c:ser>
          <c:idx val="1"/>
          <c:order val="1"/>
          <c:tx>
            <c:strRef>
              <c:f>'1.1 Summary'!$E$35:$E$36</c:f>
              <c:strCache>
                <c:ptCount val="2"/>
                <c:pt idx="0">
                  <c:v>Generation type</c:v>
                </c:pt>
                <c:pt idx="1">
                  <c:v>2022</c:v>
                </c:pt>
              </c:strCache>
            </c:strRef>
          </c:tx>
          <c:spPr>
            <a:solidFill>
              <a:schemeClr val="accent2"/>
            </a:solidFill>
            <a:ln>
              <a:noFill/>
            </a:ln>
            <a:effectLst/>
          </c:spPr>
          <c:invertIfNegative val="0"/>
          <c:cat>
            <c:strRef>
              <c:f>'1.1 Summary'!$B$37:$C$42</c:f>
              <c:strCache>
                <c:ptCount val="6"/>
                <c:pt idx="0">
                  <c:v>Nuclear</c:v>
                </c:pt>
                <c:pt idx="1">
                  <c:v>conv. Th.</c:v>
                </c:pt>
                <c:pt idx="2">
                  <c:v>Wind</c:v>
                </c:pt>
                <c:pt idx="3">
                  <c:v>Photovoltaics</c:v>
                </c:pt>
                <c:pt idx="4">
                  <c:v>Biomass</c:v>
                </c:pt>
                <c:pt idx="5">
                  <c:v>Storage</c:v>
                </c:pt>
              </c:strCache>
            </c:strRef>
          </c:cat>
          <c:val>
            <c:numRef>
              <c:f>'1.1 Summary'!$E$37:$E$42</c:f>
              <c:numCache>
                <c:formatCode>General</c:formatCode>
                <c:ptCount val="6"/>
                <c:pt idx="0">
                  <c:v>4943</c:v>
                </c:pt>
                <c:pt idx="1">
                  <c:v>7843</c:v>
                </c:pt>
                <c:pt idx="2">
                  <c:v>5300</c:v>
                </c:pt>
                <c:pt idx="3">
                  <c:v>7767</c:v>
                </c:pt>
                <c:pt idx="4">
                  <c:v>846</c:v>
                </c:pt>
                <c:pt idx="5">
                  <c:v>1300</c:v>
                </c:pt>
              </c:numCache>
            </c:numRef>
          </c:val>
          <c:extLst>
            <c:ext xmlns:c16="http://schemas.microsoft.com/office/drawing/2014/chart" uri="{C3380CC4-5D6E-409C-BE32-E72D297353CC}">
              <c16:uniqueId val="{00000000-9594-418B-960F-4F5B300FFF5D}"/>
            </c:ext>
          </c:extLst>
        </c:ser>
        <c:ser>
          <c:idx val="2"/>
          <c:order val="2"/>
          <c:tx>
            <c:strRef>
              <c:f>'1.1 Summary'!$F$35:$F$36</c:f>
              <c:strCache>
                <c:ptCount val="2"/>
                <c:pt idx="0">
                  <c:v>Generation capacity [MW]</c:v>
                </c:pt>
                <c:pt idx="1">
                  <c:v>2025-2026</c:v>
                </c:pt>
              </c:strCache>
            </c:strRef>
          </c:tx>
          <c:spPr>
            <a:solidFill>
              <a:schemeClr val="accent3"/>
            </a:solidFill>
            <a:ln>
              <a:noFill/>
            </a:ln>
            <a:effectLst/>
          </c:spPr>
          <c:invertIfNegative val="0"/>
          <c:cat>
            <c:strRef>
              <c:f>'1.1 Summary'!$B$37:$C$42</c:f>
              <c:strCache>
                <c:ptCount val="6"/>
                <c:pt idx="0">
                  <c:v>Nuclear</c:v>
                </c:pt>
                <c:pt idx="1">
                  <c:v>conv. Th.</c:v>
                </c:pt>
                <c:pt idx="2">
                  <c:v>Wind</c:v>
                </c:pt>
                <c:pt idx="3">
                  <c:v>Photovoltaics</c:v>
                </c:pt>
                <c:pt idx="4">
                  <c:v>Biomass</c:v>
                </c:pt>
                <c:pt idx="5">
                  <c:v>Storage</c:v>
                </c:pt>
              </c:strCache>
            </c:strRef>
          </c:cat>
          <c:val>
            <c:numRef>
              <c:f>'1.1 Summary'!$F$37:$F$42</c:f>
              <c:numCache>
                <c:formatCode>0</c:formatCode>
                <c:ptCount val="6"/>
                <c:pt idx="0" formatCode="General">
                  <c:v>2077</c:v>
                </c:pt>
                <c:pt idx="1">
                  <c:v>9543</c:v>
                </c:pt>
                <c:pt idx="2" formatCode="_ * #,##0_ ;_ * \-#,##0_ ;_ * &quot;-&quot;??_ ;_ @_ ">
                  <c:v>6189</c:v>
                </c:pt>
                <c:pt idx="3" formatCode="_ * #,##0_ ;_ * \-#,##0_ ;_ * &quot;-&quot;??_ ;_ @_ ">
                  <c:v>10090</c:v>
                </c:pt>
                <c:pt idx="4" formatCode="_ * #,##0_ ;_ * \-#,##0_ ;_ * &quot;-&quot;??_ ;_ @_ ">
                  <c:v>949.4</c:v>
                </c:pt>
                <c:pt idx="5" formatCode="_ * #,##0_ ;_ * \-#,##0_ ;_ * &quot;-&quot;??_ ;_ @_ ">
                  <c:v>2016</c:v>
                </c:pt>
              </c:numCache>
            </c:numRef>
          </c:val>
          <c:extLst>
            <c:ext xmlns:c16="http://schemas.microsoft.com/office/drawing/2014/chart" uri="{C3380CC4-5D6E-409C-BE32-E72D297353CC}">
              <c16:uniqueId val="{00000001-9594-418B-960F-4F5B300FFF5D}"/>
            </c:ext>
          </c:extLst>
        </c:ser>
        <c:ser>
          <c:idx val="3"/>
          <c:order val="3"/>
          <c:tx>
            <c:strRef>
              <c:f>'1.1 Summary'!$G$35:$G$36</c:f>
              <c:strCache>
                <c:ptCount val="2"/>
                <c:pt idx="0">
                  <c:v>Generation capacity [MW]</c:v>
                </c:pt>
                <c:pt idx="1">
                  <c:v>2028-2029</c:v>
                </c:pt>
              </c:strCache>
            </c:strRef>
          </c:tx>
          <c:spPr>
            <a:solidFill>
              <a:schemeClr val="accent4"/>
            </a:solidFill>
            <a:ln>
              <a:noFill/>
            </a:ln>
            <a:effectLst/>
          </c:spPr>
          <c:invertIfNegative val="0"/>
          <c:cat>
            <c:strRef>
              <c:f>'1.1 Summary'!$B$37:$C$42</c:f>
              <c:strCache>
                <c:ptCount val="6"/>
                <c:pt idx="0">
                  <c:v>Nuclear</c:v>
                </c:pt>
                <c:pt idx="1">
                  <c:v>conv. Th.</c:v>
                </c:pt>
                <c:pt idx="2">
                  <c:v>Wind</c:v>
                </c:pt>
                <c:pt idx="3">
                  <c:v>Photovoltaics</c:v>
                </c:pt>
                <c:pt idx="4">
                  <c:v>Biomass</c:v>
                </c:pt>
                <c:pt idx="5">
                  <c:v>Storage</c:v>
                </c:pt>
              </c:strCache>
            </c:strRef>
          </c:cat>
          <c:val>
            <c:numRef>
              <c:f>'1.1 Summary'!$G$37:$G$42</c:f>
              <c:numCache>
                <c:formatCode>0</c:formatCode>
                <c:ptCount val="6"/>
                <c:pt idx="0" formatCode="_ * #,##0_ ;_ * \-#,##0_ ;_ * &quot;-&quot;??_ ;_ @_ ">
                  <c:v>2077</c:v>
                </c:pt>
                <c:pt idx="1">
                  <c:v>9543</c:v>
                </c:pt>
                <c:pt idx="2" formatCode="_ * #,##0_ ;_ * \-#,##0_ ;_ * &quot;-&quot;??_ ;_ @_ ">
                  <c:v>7179</c:v>
                </c:pt>
                <c:pt idx="3" formatCode="_ * #,##0_ ;_ * \-#,##0_ ;_ * &quot;-&quot;??_ ;_ @_ ">
                  <c:v>12730</c:v>
                </c:pt>
                <c:pt idx="4" formatCode="_ * #,##0_ ;_ * \-#,##0_ ;_ * &quot;-&quot;??_ ;_ @_ ">
                  <c:v>969.4</c:v>
                </c:pt>
                <c:pt idx="5" formatCode="_ * #,##0_ ;_ * \-#,##0_ ;_ * &quot;-&quot;??_ ;_ @_ ">
                  <c:v>2087</c:v>
                </c:pt>
              </c:numCache>
            </c:numRef>
          </c:val>
          <c:extLst>
            <c:ext xmlns:c16="http://schemas.microsoft.com/office/drawing/2014/chart" uri="{C3380CC4-5D6E-409C-BE32-E72D297353CC}">
              <c16:uniqueId val="{00000002-9594-418B-960F-4F5B300FFF5D}"/>
            </c:ext>
          </c:extLst>
        </c:ser>
        <c:ser>
          <c:idx val="4"/>
          <c:order val="4"/>
          <c:tx>
            <c:strRef>
              <c:f>'1.1 Summary'!$H$35:$H$36</c:f>
              <c:strCache>
                <c:ptCount val="2"/>
                <c:pt idx="0">
                  <c:v>Generation capacity [MW]</c:v>
                </c:pt>
                <c:pt idx="1">
                  <c:v>2028-29 E</c:v>
                </c:pt>
              </c:strCache>
            </c:strRef>
          </c:tx>
          <c:spPr>
            <a:solidFill>
              <a:schemeClr val="accent5"/>
            </a:solidFill>
            <a:ln>
              <a:noFill/>
            </a:ln>
            <a:effectLst/>
          </c:spPr>
          <c:invertIfNegative val="0"/>
          <c:cat>
            <c:strRef>
              <c:f>'1.1 Summary'!$B$37:$C$42</c:f>
              <c:strCache>
                <c:ptCount val="6"/>
                <c:pt idx="0">
                  <c:v>Nuclear</c:v>
                </c:pt>
                <c:pt idx="1">
                  <c:v>conv. Th.</c:v>
                </c:pt>
                <c:pt idx="2">
                  <c:v>Wind</c:v>
                </c:pt>
                <c:pt idx="3">
                  <c:v>Photovoltaics</c:v>
                </c:pt>
                <c:pt idx="4">
                  <c:v>Biomass</c:v>
                </c:pt>
                <c:pt idx="5">
                  <c:v>Storage</c:v>
                </c:pt>
              </c:strCache>
            </c:strRef>
          </c:cat>
          <c:val>
            <c:numRef>
              <c:f>'1.1 Summary'!$H$37:$H$42</c:f>
              <c:numCache>
                <c:formatCode>General</c:formatCode>
                <c:ptCount val="6"/>
                <c:pt idx="5" formatCode="_ * #,##0_ ;_ * \-#,##0_ ;_ * &quot;-&quot;??_ ;_ @_ ">
                  <c:v>3955</c:v>
                </c:pt>
              </c:numCache>
            </c:numRef>
          </c:val>
          <c:extLst>
            <c:ext xmlns:c16="http://schemas.microsoft.com/office/drawing/2014/chart" uri="{C3380CC4-5D6E-409C-BE32-E72D297353CC}">
              <c16:uniqueId val="{00000003-9594-418B-960F-4F5B300FFF5D}"/>
            </c:ext>
          </c:extLst>
        </c:ser>
        <c:dLbls>
          <c:showLegendKey val="0"/>
          <c:showVal val="0"/>
          <c:showCatName val="0"/>
          <c:showSerName val="0"/>
          <c:showPercent val="0"/>
          <c:showBubbleSize val="0"/>
        </c:dLbls>
        <c:gapWidth val="219"/>
        <c:overlap val="-27"/>
        <c:axId val="486661968"/>
        <c:axId val="486657648"/>
        <c:extLst>
          <c:ext xmlns:c15="http://schemas.microsoft.com/office/drawing/2012/chart" uri="{02D57815-91ED-43cb-92C2-25804820EDAC}">
            <c15:filteredBarSeries>
              <c15:ser>
                <c:idx val="0"/>
                <c:order val="0"/>
                <c:tx>
                  <c:strRef>
                    <c:extLst>
                      <c:ext uri="{02D57815-91ED-43cb-92C2-25804820EDAC}">
                        <c15:formulaRef>
                          <c15:sqref>'1.1 Summary'!$D$35:$D$36</c15:sqref>
                        </c15:formulaRef>
                      </c:ext>
                    </c:extLst>
                    <c:strCache>
                      <c:ptCount val="2"/>
                      <c:pt idx="0">
                        <c:v>Generation type</c:v>
                      </c:pt>
                    </c:strCache>
                  </c:strRef>
                </c:tx>
                <c:spPr>
                  <a:solidFill>
                    <a:schemeClr val="accent1"/>
                  </a:solidFill>
                  <a:ln>
                    <a:noFill/>
                  </a:ln>
                  <a:effectLst/>
                </c:spPr>
                <c:invertIfNegative val="0"/>
                <c:cat>
                  <c:strRef>
                    <c:extLst>
                      <c:ext uri="{02D57815-91ED-43cb-92C2-25804820EDAC}">
                        <c15:formulaRef>
                          <c15:sqref>'1.1 Summary'!$B$37:$C$42</c15:sqref>
                        </c15:formulaRef>
                      </c:ext>
                    </c:extLst>
                    <c:strCache>
                      <c:ptCount val="6"/>
                      <c:pt idx="0">
                        <c:v>Nuclear</c:v>
                      </c:pt>
                      <c:pt idx="1">
                        <c:v>conv. Th.</c:v>
                      </c:pt>
                      <c:pt idx="2">
                        <c:v>Wind</c:v>
                      </c:pt>
                      <c:pt idx="3">
                        <c:v>Photovoltaics</c:v>
                      </c:pt>
                      <c:pt idx="4">
                        <c:v>Biomass</c:v>
                      </c:pt>
                      <c:pt idx="5">
                        <c:v>Storage</c:v>
                      </c:pt>
                    </c:strCache>
                  </c:strRef>
                </c:cat>
                <c:val>
                  <c:numRef>
                    <c:extLst>
                      <c:ext uri="{02D57815-91ED-43cb-92C2-25804820EDAC}">
                        <c15:formulaRef>
                          <c15:sqref>'1.1 Summary'!$D$37:$D$42</c15:sqref>
                        </c15:formulaRef>
                      </c:ext>
                    </c:extLst>
                    <c:numCache>
                      <c:formatCode>General</c:formatCode>
                      <c:ptCount val="6"/>
                    </c:numCache>
                  </c:numRef>
                </c:val>
                <c:extLst>
                  <c:ext xmlns:c16="http://schemas.microsoft.com/office/drawing/2014/chart" uri="{C3380CC4-5D6E-409C-BE32-E72D297353CC}">
                    <c16:uniqueId val="{00000004-9594-418B-960F-4F5B300FFF5D}"/>
                  </c:ext>
                </c:extLst>
              </c15:ser>
            </c15:filteredBarSeries>
          </c:ext>
        </c:extLst>
      </c:barChart>
      <c:catAx>
        <c:axId val="48666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BE"/>
          </a:p>
        </c:txPr>
        <c:crossAx val="486657648"/>
        <c:crosses val="autoZero"/>
        <c:auto val="1"/>
        <c:lblAlgn val="ctr"/>
        <c:lblOffset val="100"/>
        <c:noMultiLvlLbl val="0"/>
      </c:catAx>
      <c:valAx>
        <c:axId val="486657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BE"/>
          </a:p>
        </c:txPr>
        <c:crossAx val="4866619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svg"/><Relationship Id="rId1" Type="http://schemas.openxmlformats.org/officeDocument/2006/relationships/image" Target="../media/image107.png"/><Relationship Id="rId6" Type="http://schemas.openxmlformats.org/officeDocument/2006/relationships/image" Target="../media/image112.svg"/><Relationship Id="rId5" Type="http://schemas.openxmlformats.org/officeDocument/2006/relationships/image" Target="../media/image111.png"/><Relationship Id="rId4" Type="http://schemas.openxmlformats.org/officeDocument/2006/relationships/image" Target="../media/image110.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svg"/><Relationship Id="rId1" Type="http://schemas.openxmlformats.org/officeDocument/2006/relationships/image" Target="../media/image107.png"/><Relationship Id="rId6" Type="http://schemas.openxmlformats.org/officeDocument/2006/relationships/image" Target="../media/image112.svg"/><Relationship Id="rId5" Type="http://schemas.openxmlformats.org/officeDocument/2006/relationships/image" Target="../media/image111.png"/><Relationship Id="rId4" Type="http://schemas.openxmlformats.org/officeDocument/2006/relationships/image" Target="../media/image110.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9FBDEF-CF3A-49C4-B415-B34D36B46F2C}"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D20ACC4D-8BA7-4DAA-A9B7-B8E9944B4D30}">
      <dgm:prSet/>
      <dgm:spPr/>
      <dgm:t>
        <a:bodyPr/>
        <a:lstStyle/>
        <a:p>
          <a:r>
            <a:rPr lang="en-GB"/>
            <a:t>Governmental efforts towards residential clients</a:t>
          </a:r>
          <a:endParaRPr lang="en-US"/>
        </a:p>
      </dgm:t>
    </dgm:pt>
    <dgm:pt modelId="{31DA66A0-5A96-494F-8A74-A556B3B174A7}" type="parTrans" cxnId="{89C1E124-CB91-406C-B6CA-E47A0424D965}">
      <dgm:prSet/>
      <dgm:spPr/>
      <dgm:t>
        <a:bodyPr/>
        <a:lstStyle/>
        <a:p>
          <a:endParaRPr lang="en-US"/>
        </a:p>
      </dgm:t>
    </dgm:pt>
    <dgm:pt modelId="{E4A6CBED-E801-4B29-B995-612856472F54}" type="sibTrans" cxnId="{89C1E124-CB91-406C-B6CA-E47A0424D965}">
      <dgm:prSet/>
      <dgm:spPr/>
      <dgm:t>
        <a:bodyPr/>
        <a:lstStyle/>
        <a:p>
          <a:endParaRPr lang="en-US"/>
        </a:p>
      </dgm:t>
    </dgm:pt>
    <dgm:pt modelId="{E4E51FA8-E35C-45A5-9919-3D24AB9C7421}">
      <dgm:prSet/>
      <dgm:spPr/>
      <dgm:t>
        <a:bodyPr/>
        <a:lstStyle/>
        <a:p>
          <a:r>
            <a:rPr lang="en-GB"/>
            <a:t>Estimate 3,7 billon Euro</a:t>
          </a:r>
          <a:endParaRPr lang="en-US"/>
        </a:p>
      </dgm:t>
    </dgm:pt>
    <dgm:pt modelId="{373340F3-CF69-43B1-BD8D-2BC0F7EDC9E1}" type="parTrans" cxnId="{F626F62C-1F53-4F74-B068-013C5D589F0D}">
      <dgm:prSet/>
      <dgm:spPr/>
      <dgm:t>
        <a:bodyPr/>
        <a:lstStyle/>
        <a:p>
          <a:endParaRPr lang="en-US"/>
        </a:p>
      </dgm:t>
    </dgm:pt>
    <dgm:pt modelId="{863605F3-3ACB-40DA-8B73-11D4A1A7E345}" type="sibTrans" cxnId="{F626F62C-1F53-4F74-B068-013C5D589F0D}">
      <dgm:prSet/>
      <dgm:spPr/>
      <dgm:t>
        <a:bodyPr/>
        <a:lstStyle/>
        <a:p>
          <a:endParaRPr lang="en-US"/>
        </a:p>
      </dgm:t>
    </dgm:pt>
    <dgm:pt modelId="{D32F2FE7-63A3-4D91-B746-2EB63BB2C48A}">
      <dgm:prSet/>
      <dgm:spPr/>
      <dgm:t>
        <a:bodyPr/>
        <a:lstStyle/>
        <a:p>
          <a:r>
            <a:rPr lang="en-GB"/>
            <a:t>Exclusive VAT reduction!!</a:t>
          </a:r>
          <a:endParaRPr lang="en-US"/>
        </a:p>
      </dgm:t>
    </dgm:pt>
    <dgm:pt modelId="{3FD7E3D6-AFB9-406C-8C66-1697063BFD0B}" type="parTrans" cxnId="{70FAFA81-8445-4CD5-B324-486AA032350A}">
      <dgm:prSet/>
      <dgm:spPr/>
      <dgm:t>
        <a:bodyPr/>
        <a:lstStyle/>
        <a:p>
          <a:endParaRPr lang="en-US"/>
        </a:p>
      </dgm:t>
    </dgm:pt>
    <dgm:pt modelId="{18EE93B9-1DA6-41A8-BD2F-2C29778E3AB4}" type="sibTrans" cxnId="{70FAFA81-8445-4CD5-B324-486AA032350A}">
      <dgm:prSet/>
      <dgm:spPr/>
      <dgm:t>
        <a:bodyPr/>
        <a:lstStyle/>
        <a:p>
          <a:endParaRPr lang="en-US"/>
        </a:p>
      </dgm:t>
    </dgm:pt>
    <dgm:pt modelId="{03AD7097-195C-423F-AE50-C961592BE7F8}">
      <dgm:prSet/>
      <dgm:spPr/>
      <dgm:t>
        <a:bodyPr/>
        <a:lstStyle/>
        <a:p>
          <a:r>
            <a:rPr lang="en-GB" dirty="0"/>
            <a:t>Contrasting to limited support for SME </a:t>
          </a:r>
          <a:r>
            <a:rPr lang="en-GB" dirty="0" err="1"/>
            <a:t>en</a:t>
          </a:r>
          <a:r>
            <a:rPr lang="en-GB" dirty="0"/>
            <a:t> business clients</a:t>
          </a:r>
          <a:endParaRPr lang="en-US" dirty="0"/>
        </a:p>
      </dgm:t>
    </dgm:pt>
    <dgm:pt modelId="{5256A93A-CE3D-40D5-91AE-9BFC772FC322}" type="parTrans" cxnId="{822B1355-8AA0-44B3-A08A-576586EC36DC}">
      <dgm:prSet/>
      <dgm:spPr/>
      <dgm:t>
        <a:bodyPr/>
        <a:lstStyle/>
        <a:p>
          <a:endParaRPr lang="en-US"/>
        </a:p>
      </dgm:t>
    </dgm:pt>
    <dgm:pt modelId="{23FA08DE-A884-4896-BE37-A5C41C877087}" type="sibTrans" cxnId="{822B1355-8AA0-44B3-A08A-576586EC36DC}">
      <dgm:prSet/>
      <dgm:spPr/>
      <dgm:t>
        <a:bodyPr/>
        <a:lstStyle/>
        <a:p>
          <a:endParaRPr lang="en-US"/>
        </a:p>
      </dgm:t>
    </dgm:pt>
    <dgm:pt modelId="{288AF297-7DF7-46FD-A7EA-5531F6EDCE62}">
      <dgm:prSet/>
      <dgm:spPr/>
      <dgm:t>
        <a:bodyPr/>
        <a:lstStyle/>
        <a:p>
          <a:r>
            <a:rPr lang="en-GB" dirty="0"/>
            <a:t>Fixed price contracts were useful for &gt; 50% of clients</a:t>
          </a:r>
        </a:p>
        <a:p>
          <a:r>
            <a:rPr lang="en-GB" dirty="0"/>
            <a:t>Payment plans allowed by supplier</a:t>
          </a:r>
          <a:endParaRPr lang="en-US" dirty="0"/>
        </a:p>
      </dgm:t>
    </dgm:pt>
    <dgm:pt modelId="{769BCD5C-697B-4063-B919-0272573A7D9D}" type="parTrans" cxnId="{58C3DCBF-44ED-445D-82E1-E956D958F104}">
      <dgm:prSet/>
      <dgm:spPr/>
      <dgm:t>
        <a:bodyPr/>
        <a:lstStyle/>
        <a:p>
          <a:endParaRPr lang="en-US"/>
        </a:p>
      </dgm:t>
    </dgm:pt>
    <dgm:pt modelId="{F86BBF4D-E1C8-483D-848E-4DE5C0BAECDD}" type="sibTrans" cxnId="{58C3DCBF-44ED-445D-82E1-E956D958F104}">
      <dgm:prSet/>
      <dgm:spPr/>
      <dgm:t>
        <a:bodyPr/>
        <a:lstStyle/>
        <a:p>
          <a:endParaRPr lang="en-US"/>
        </a:p>
      </dgm:t>
    </dgm:pt>
    <dgm:pt modelId="{9D9F89FC-9D86-4D74-8EE9-6AB3B981B671}">
      <dgm:prSet/>
      <dgm:spPr/>
      <dgm:t>
        <a:bodyPr/>
        <a:lstStyle/>
        <a:p>
          <a:r>
            <a:rPr lang="en-GB" dirty="0"/>
            <a:t>New rules for fixed price contracts needed!! </a:t>
          </a:r>
          <a:endParaRPr lang="en-US" dirty="0"/>
        </a:p>
      </dgm:t>
    </dgm:pt>
    <dgm:pt modelId="{33CDC235-1F80-4936-BC63-7C60790B6A1B}" type="parTrans" cxnId="{94A5A376-01B4-48AC-97D3-863A6F3648FB}">
      <dgm:prSet/>
      <dgm:spPr/>
      <dgm:t>
        <a:bodyPr/>
        <a:lstStyle/>
        <a:p>
          <a:endParaRPr lang="en-US"/>
        </a:p>
      </dgm:t>
    </dgm:pt>
    <dgm:pt modelId="{862528E0-F64B-4D38-A839-86DDFE2BD1EC}" type="sibTrans" cxnId="{94A5A376-01B4-48AC-97D3-863A6F3648FB}">
      <dgm:prSet/>
      <dgm:spPr/>
      <dgm:t>
        <a:bodyPr/>
        <a:lstStyle/>
        <a:p>
          <a:endParaRPr lang="en-US"/>
        </a:p>
      </dgm:t>
    </dgm:pt>
    <dgm:pt modelId="{4A7B642C-A8EA-453A-BDB6-97A1D8701C7A}" type="pres">
      <dgm:prSet presAssocID="{C19FBDEF-CF3A-49C4-B415-B34D36B46F2C}" presName="root" presStyleCnt="0">
        <dgm:presLayoutVars>
          <dgm:dir/>
          <dgm:resizeHandles val="exact"/>
        </dgm:presLayoutVars>
      </dgm:prSet>
      <dgm:spPr/>
    </dgm:pt>
    <dgm:pt modelId="{360F0D76-F0B7-45FE-BF5E-B2ADAC3352B4}" type="pres">
      <dgm:prSet presAssocID="{D20ACC4D-8BA7-4DAA-A9B7-B8E9944B4D30}" presName="compNode" presStyleCnt="0"/>
      <dgm:spPr/>
    </dgm:pt>
    <dgm:pt modelId="{DD7776A4-3068-40EC-990D-3EDAB1ED2123}" type="pres">
      <dgm:prSet presAssocID="{D20ACC4D-8BA7-4DAA-A9B7-B8E9944B4D30}" presName="bgRect" presStyleLbl="bgShp" presStyleIdx="0" presStyleCnt="3"/>
      <dgm:spPr/>
    </dgm:pt>
    <dgm:pt modelId="{238C7650-9619-4608-B710-0106263CAC5F}" type="pres">
      <dgm:prSet presAssocID="{D20ACC4D-8BA7-4DAA-A9B7-B8E9944B4D3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Ruble"/>
        </a:ext>
      </dgm:extLst>
    </dgm:pt>
    <dgm:pt modelId="{36D300A6-FA64-43BE-A103-80C2238AFF6A}" type="pres">
      <dgm:prSet presAssocID="{D20ACC4D-8BA7-4DAA-A9B7-B8E9944B4D30}" presName="spaceRect" presStyleCnt="0"/>
      <dgm:spPr/>
    </dgm:pt>
    <dgm:pt modelId="{7887E119-ED33-44BD-BF40-86F0C32BDB99}" type="pres">
      <dgm:prSet presAssocID="{D20ACC4D-8BA7-4DAA-A9B7-B8E9944B4D30}" presName="parTx" presStyleLbl="revTx" presStyleIdx="0" presStyleCnt="5">
        <dgm:presLayoutVars>
          <dgm:chMax val="0"/>
          <dgm:chPref val="0"/>
        </dgm:presLayoutVars>
      </dgm:prSet>
      <dgm:spPr/>
    </dgm:pt>
    <dgm:pt modelId="{BADBFAE0-91EC-469A-97C1-9C40D2986CF2}" type="pres">
      <dgm:prSet presAssocID="{D20ACC4D-8BA7-4DAA-A9B7-B8E9944B4D30}" presName="desTx" presStyleLbl="revTx" presStyleIdx="1" presStyleCnt="5">
        <dgm:presLayoutVars/>
      </dgm:prSet>
      <dgm:spPr/>
    </dgm:pt>
    <dgm:pt modelId="{420954DB-5EBD-4915-9FAE-D83019EC30EA}" type="pres">
      <dgm:prSet presAssocID="{E4A6CBED-E801-4B29-B995-612856472F54}" presName="sibTrans" presStyleCnt="0"/>
      <dgm:spPr/>
    </dgm:pt>
    <dgm:pt modelId="{351ED9B3-265C-411E-A628-A3273B687E64}" type="pres">
      <dgm:prSet presAssocID="{03AD7097-195C-423F-AE50-C961592BE7F8}" presName="compNode" presStyleCnt="0"/>
      <dgm:spPr/>
    </dgm:pt>
    <dgm:pt modelId="{6884C62D-086E-4F98-9E15-DD57F5CA91F7}" type="pres">
      <dgm:prSet presAssocID="{03AD7097-195C-423F-AE50-C961592BE7F8}" presName="bgRect" presStyleLbl="bgShp" presStyleIdx="1" presStyleCnt="3"/>
      <dgm:spPr/>
    </dgm:pt>
    <dgm:pt modelId="{41D5B803-EDD8-4A88-B927-9F166E448DC0}" type="pres">
      <dgm:prSet presAssocID="{03AD7097-195C-423F-AE50-C961592BE7F8}"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andshake"/>
        </a:ext>
      </dgm:extLst>
    </dgm:pt>
    <dgm:pt modelId="{E7DE9215-8F67-49DB-8C2C-D36056B0A402}" type="pres">
      <dgm:prSet presAssocID="{03AD7097-195C-423F-AE50-C961592BE7F8}" presName="spaceRect" presStyleCnt="0"/>
      <dgm:spPr/>
    </dgm:pt>
    <dgm:pt modelId="{1D2CE943-95F9-4F01-9D18-951FB0FC3A8B}" type="pres">
      <dgm:prSet presAssocID="{03AD7097-195C-423F-AE50-C961592BE7F8}" presName="parTx" presStyleLbl="revTx" presStyleIdx="2" presStyleCnt="5">
        <dgm:presLayoutVars>
          <dgm:chMax val="0"/>
          <dgm:chPref val="0"/>
        </dgm:presLayoutVars>
      </dgm:prSet>
      <dgm:spPr/>
    </dgm:pt>
    <dgm:pt modelId="{FE84B011-9C6C-4521-905B-86D798A5E967}" type="pres">
      <dgm:prSet presAssocID="{23FA08DE-A884-4896-BE37-A5C41C877087}" presName="sibTrans" presStyleCnt="0"/>
      <dgm:spPr/>
    </dgm:pt>
    <dgm:pt modelId="{78F868F0-0B7E-45A8-B077-1C4528174FD9}" type="pres">
      <dgm:prSet presAssocID="{288AF297-7DF7-46FD-A7EA-5531F6EDCE62}" presName="compNode" presStyleCnt="0"/>
      <dgm:spPr/>
    </dgm:pt>
    <dgm:pt modelId="{8072B041-6953-4635-8063-776BD997965B}" type="pres">
      <dgm:prSet presAssocID="{288AF297-7DF7-46FD-A7EA-5531F6EDCE62}" presName="bgRect" presStyleLbl="bgShp" presStyleIdx="2" presStyleCnt="3"/>
      <dgm:spPr/>
    </dgm:pt>
    <dgm:pt modelId="{145464F1-8621-4381-AAB7-6D57A128045C}" type="pres">
      <dgm:prSet presAssocID="{288AF297-7DF7-46FD-A7EA-5531F6EDCE62}"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ontract"/>
        </a:ext>
      </dgm:extLst>
    </dgm:pt>
    <dgm:pt modelId="{512C7DAE-1159-4C4F-91D8-F0A0D26D1C0E}" type="pres">
      <dgm:prSet presAssocID="{288AF297-7DF7-46FD-A7EA-5531F6EDCE62}" presName="spaceRect" presStyleCnt="0"/>
      <dgm:spPr/>
    </dgm:pt>
    <dgm:pt modelId="{AB71CC68-E492-4565-AE2A-CBCFE1943F4B}" type="pres">
      <dgm:prSet presAssocID="{288AF297-7DF7-46FD-A7EA-5531F6EDCE62}" presName="parTx" presStyleLbl="revTx" presStyleIdx="3" presStyleCnt="5">
        <dgm:presLayoutVars>
          <dgm:chMax val="0"/>
          <dgm:chPref val="0"/>
        </dgm:presLayoutVars>
      </dgm:prSet>
      <dgm:spPr/>
    </dgm:pt>
    <dgm:pt modelId="{EB21B190-A7DF-4F29-A270-50E30B9F707F}" type="pres">
      <dgm:prSet presAssocID="{288AF297-7DF7-46FD-A7EA-5531F6EDCE62}" presName="desTx" presStyleLbl="revTx" presStyleIdx="4" presStyleCnt="5">
        <dgm:presLayoutVars/>
      </dgm:prSet>
      <dgm:spPr/>
    </dgm:pt>
  </dgm:ptLst>
  <dgm:cxnLst>
    <dgm:cxn modelId="{89C1E124-CB91-406C-B6CA-E47A0424D965}" srcId="{C19FBDEF-CF3A-49C4-B415-B34D36B46F2C}" destId="{D20ACC4D-8BA7-4DAA-A9B7-B8E9944B4D30}" srcOrd="0" destOrd="0" parTransId="{31DA66A0-5A96-494F-8A74-A556B3B174A7}" sibTransId="{E4A6CBED-E801-4B29-B995-612856472F54}"/>
    <dgm:cxn modelId="{F626F62C-1F53-4F74-B068-013C5D589F0D}" srcId="{D20ACC4D-8BA7-4DAA-A9B7-B8E9944B4D30}" destId="{E4E51FA8-E35C-45A5-9919-3D24AB9C7421}" srcOrd="0" destOrd="0" parTransId="{373340F3-CF69-43B1-BD8D-2BC0F7EDC9E1}" sibTransId="{863605F3-3ACB-40DA-8B73-11D4A1A7E345}"/>
    <dgm:cxn modelId="{F627AE2E-2384-4979-8462-D323E33FDAE9}" type="presOf" srcId="{9D9F89FC-9D86-4D74-8EE9-6AB3B981B671}" destId="{EB21B190-A7DF-4F29-A270-50E30B9F707F}" srcOrd="0" destOrd="0" presId="urn:microsoft.com/office/officeart/2018/2/layout/IconVerticalSolidList"/>
    <dgm:cxn modelId="{7DE0A234-F462-49EB-A8B8-4C16A38B66FD}" type="presOf" srcId="{D32F2FE7-63A3-4D91-B746-2EB63BB2C48A}" destId="{BADBFAE0-91EC-469A-97C1-9C40D2986CF2}" srcOrd="0" destOrd="1" presId="urn:microsoft.com/office/officeart/2018/2/layout/IconVerticalSolidList"/>
    <dgm:cxn modelId="{822B1355-8AA0-44B3-A08A-576586EC36DC}" srcId="{C19FBDEF-CF3A-49C4-B415-B34D36B46F2C}" destId="{03AD7097-195C-423F-AE50-C961592BE7F8}" srcOrd="1" destOrd="0" parTransId="{5256A93A-CE3D-40D5-91AE-9BFC772FC322}" sibTransId="{23FA08DE-A884-4896-BE37-A5C41C877087}"/>
    <dgm:cxn modelId="{B123E255-60C0-4AF0-ADB5-A3E4EB7E602E}" type="presOf" srcId="{E4E51FA8-E35C-45A5-9919-3D24AB9C7421}" destId="{BADBFAE0-91EC-469A-97C1-9C40D2986CF2}" srcOrd="0" destOrd="0" presId="urn:microsoft.com/office/officeart/2018/2/layout/IconVerticalSolidList"/>
    <dgm:cxn modelId="{94A5A376-01B4-48AC-97D3-863A6F3648FB}" srcId="{288AF297-7DF7-46FD-A7EA-5531F6EDCE62}" destId="{9D9F89FC-9D86-4D74-8EE9-6AB3B981B671}" srcOrd="0" destOrd="0" parTransId="{33CDC235-1F80-4936-BC63-7C60790B6A1B}" sibTransId="{862528E0-F64B-4D38-A839-86DDFE2BD1EC}"/>
    <dgm:cxn modelId="{11379C59-DF1D-4693-B793-CF2D65203686}" type="presOf" srcId="{03AD7097-195C-423F-AE50-C961592BE7F8}" destId="{1D2CE943-95F9-4F01-9D18-951FB0FC3A8B}" srcOrd="0" destOrd="0" presId="urn:microsoft.com/office/officeart/2018/2/layout/IconVerticalSolidList"/>
    <dgm:cxn modelId="{70FAFA81-8445-4CD5-B324-486AA032350A}" srcId="{D20ACC4D-8BA7-4DAA-A9B7-B8E9944B4D30}" destId="{D32F2FE7-63A3-4D91-B746-2EB63BB2C48A}" srcOrd="1" destOrd="0" parTransId="{3FD7E3D6-AFB9-406C-8C66-1697063BFD0B}" sibTransId="{18EE93B9-1DA6-41A8-BD2F-2C29778E3AB4}"/>
    <dgm:cxn modelId="{2A22DAB8-078B-414C-8B44-D402B21F0617}" type="presOf" srcId="{C19FBDEF-CF3A-49C4-B415-B34D36B46F2C}" destId="{4A7B642C-A8EA-453A-BDB6-97A1D8701C7A}" srcOrd="0" destOrd="0" presId="urn:microsoft.com/office/officeart/2018/2/layout/IconVerticalSolidList"/>
    <dgm:cxn modelId="{58C3DCBF-44ED-445D-82E1-E956D958F104}" srcId="{C19FBDEF-CF3A-49C4-B415-B34D36B46F2C}" destId="{288AF297-7DF7-46FD-A7EA-5531F6EDCE62}" srcOrd="2" destOrd="0" parTransId="{769BCD5C-697B-4063-B919-0272573A7D9D}" sibTransId="{F86BBF4D-E1C8-483D-848E-4DE5C0BAECDD}"/>
    <dgm:cxn modelId="{4D2950C9-E3D7-4A99-BBA3-2B56EDED7CC6}" type="presOf" srcId="{D20ACC4D-8BA7-4DAA-A9B7-B8E9944B4D30}" destId="{7887E119-ED33-44BD-BF40-86F0C32BDB99}" srcOrd="0" destOrd="0" presId="urn:microsoft.com/office/officeart/2018/2/layout/IconVerticalSolidList"/>
    <dgm:cxn modelId="{9620B7EA-2145-4512-9A0F-C208310F84D1}" type="presOf" srcId="{288AF297-7DF7-46FD-A7EA-5531F6EDCE62}" destId="{AB71CC68-E492-4565-AE2A-CBCFE1943F4B}" srcOrd="0" destOrd="0" presId="urn:microsoft.com/office/officeart/2018/2/layout/IconVerticalSolidList"/>
    <dgm:cxn modelId="{5F15E2CD-8A5E-4EE8-AA15-CCEC764E8A42}" type="presParOf" srcId="{4A7B642C-A8EA-453A-BDB6-97A1D8701C7A}" destId="{360F0D76-F0B7-45FE-BF5E-B2ADAC3352B4}" srcOrd="0" destOrd="0" presId="urn:microsoft.com/office/officeart/2018/2/layout/IconVerticalSolidList"/>
    <dgm:cxn modelId="{FC4C2AF8-E53F-4CAA-BB6C-E669BE1ACA26}" type="presParOf" srcId="{360F0D76-F0B7-45FE-BF5E-B2ADAC3352B4}" destId="{DD7776A4-3068-40EC-990D-3EDAB1ED2123}" srcOrd="0" destOrd="0" presId="urn:microsoft.com/office/officeart/2018/2/layout/IconVerticalSolidList"/>
    <dgm:cxn modelId="{2FB4910C-3BE9-4039-BFCB-05CDDCC20680}" type="presParOf" srcId="{360F0D76-F0B7-45FE-BF5E-B2ADAC3352B4}" destId="{238C7650-9619-4608-B710-0106263CAC5F}" srcOrd="1" destOrd="0" presId="urn:microsoft.com/office/officeart/2018/2/layout/IconVerticalSolidList"/>
    <dgm:cxn modelId="{4F322FF5-C9DF-492B-9164-DB1A36C13BB7}" type="presParOf" srcId="{360F0D76-F0B7-45FE-BF5E-B2ADAC3352B4}" destId="{36D300A6-FA64-43BE-A103-80C2238AFF6A}" srcOrd="2" destOrd="0" presId="urn:microsoft.com/office/officeart/2018/2/layout/IconVerticalSolidList"/>
    <dgm:cxn modelId="{DA00CF6E-47A5-4275-A483-9649BFFB5C4F}" type="presParOf" srcId="{360F0D76-F0B7-45FE-BF5E-B2ADAC3352B4}" destId="{7887E119-ED33-44BD-BF40-86F0C32BDB99}" srcOrd="3" destOrd="0" presId="urn:microsoft.com/office/officeart/2018/2/layout/IconVerticalSolidList"/>
    <dgm:cxn modelId="{96FD97A7-F93A-4925-BC2C-245C35BE8FE5}" type="presParOf" srcId="{360F0D76-F0B7-45FE-BF5E-B2ADAC3352B4}" destId="{BADBFAE0-91EC-469A-97C1-9C40D2986CF2}" srcOrd="4" destOrd="0" presId="urn:microsoft.com/office/officeart/2018/2/layout/IconVerticalSolidList"/>
    <dgm:cxn modelId="{FFC2BB44-5BA4-4CF3-9E83-891CF4B2830E}" type="presParOf" srcId="{4A7B642C-A8EA-453A-BDB6-97A1D8701C7A}" destId="{420954DB-5EBD-4915-9FAE-D83019EC30EA}" srcOrd="1" destOrd="0" presId="urn:microsoft.com/office/officeart/2018/2/layout/IconVerticalSolidList"/>
    <dgm:cxn modelId="{9248A744-D6A8-498A-B309-1F10D4C554C7}" type="presParOf" srcId="{4A7B642C-A8EA-453A-BDB6-97A1D8701C7A}" destId="{351ED9B3-265C-411E-A628-A3273B687E64}" srcOrd="2" destOrd="0" presId="urn:microsoft.com/office/officeart/2018/2/layout/IconVerticalSolidList"/>
    <dgm:cxn modelId="{577FEF34-A3CA-4F0A-AF47-75DAE467CB4F}" type="presParOf" srcId="{351ED9B3-265C-411E-A628-A3273B687E64}" destId="{6884C62D-086E-4F98-9E15-DD57F5CA91F7}" srcOrd="0" destOrd="0" presId="urn:microsoft.com/office/officeart/2018/2/layout/IconVerticalSolidList"/>
    <dgm:cxn modelId="{B1255E9C-7340-4CE0-A347-C047ECB41601}" type="presParOf" srcId="{351ED9B3-265C-411E-A628-A3273B687E64}" destId="{41D5B803-EDD8-4A88-B927-9F166E448DC0}" srcOrd="1" destOrd="0" presId="urn:microsoft.com/office/officeart/2018/2/layout/IconVerticalSolidList"/>
    <dgm:cxn modelId="{0FE60A53-A0AB-40D1-8F55-99E24593F0D7}" type="presParOf" srcId="{351ED9B3-265C-411E-A628-A3273B687E64}" destId="{E7DE9215-8F67-49DB-8C2C-D36056B0A402}" srcOrd="2" destOrd="0" presId="urn:microsoft.com/office/officeart/2018/2/layout/IconVerticalSolidList"/>
    <dgm:cxn modelId="{F27316FA-24EC-439C-93B6-2D0A63CD19D8}" type="presParOf" srcId="{351ED9B3-265C-411E-A628-A3273B687E64}" destId="{1D2CE943-95F9-4F01-9D18-951FB0FC3A8B}" srcOrd="3" destOrd="0" presId="urn:microsoft.com/office/officeart/2018/2/layout/IconVerticalSolidList"/>
    <dgm:cxn modelId="{6E4A718D-2953-43CA-A5C0-24232577FA78}" type="presParOf" srcId="{4A7B642C-A8EA-453A-BDB6-97A1D8701C7A}" destId="{FE84B011-9C6C-4521-905B-86D798A5E967}" srcOrd="3" destOrd="0" presId="urn:microsoft.com/office/officeart/2018/2/layout/IconVerticalSolidList"/>
    <dgm:cxn modelId="{442A99AD-4357-49ED-9766-70FE749FEB03}" type="presParOf" srcId="{4A7B642C-A8EA-453A-BDB6-97A1D8701C7A}" destId="{78F868F0-0B7E-45A8-B077-1C4528174FD9}" srcOrd="4" destOrd="0" presId="urn:microsoft.com/office/officeart/2018/2/layout/IconVerticalSolidList"/>
    <dgm:cxn modelId="{4266A4E3-0C6D-4296-B3E4-4275512FBA3F}" type="presParOf" srcId="{78F868F0-0B7E-45A8-B077-1C4528174FD9}" destId="{8072B041-6953-4635-8063-776BD997965B}" srcOrd="0" destOrd="0" presId="urn:microsoft.com/office/officeart/2018/2/layout/IconVerticalSolidList"/>
    <dgm:cxn modelId="{80F6CADF-BBBF-4959-B630-BC7921AFE28D}" type="presParOf" srcId="{78F868F0-0B7E-45A8-B077-1C4528174FD9}" destId="{145464F1-8621-4381-AAB7-6D57A128045C}" srcOrd="1" destOrd="0" presId="urn:microsoft.com/office/officeart/2018/2/layout/IconVerticalSolidList"/>
    <dgm:cxn modelId="{30CD19B4-F0CE-4574-A90B-446316FD2EAB}" type="presParOf" srcId="{78F868F0-0B7E-45A8-B077-1C4528174FD9}" destId="{512C7DAE-1159-4C4F-91D8-F0A0D26D1C0E}" srcOrd="2" destOrd="0" presId="urn:microsoft.com/office/officeart/2018/2/layout/IconVerticalSolidList"/>
    <dgm:cxn modelId="{69A91C39-0E78-4DFE-B5AA-913095957710}" type="presParOf" srcId="{78F868F0-0B7E-45A8-B077-1C4528174FD9}" destId="{AB71CC68-E492-4565-AE2A-CBCFE1943F4B}" srcOrd="3" destOrd="0" presId="urn:microsoft.com/office/officeart/2018/2/layout/IconVerticalSolidList"/>
    <dgm:cxn modelId="{A878CA13-8945-43D0-8893-638BD8538DFD}" type="presParOf" srcId="{78F868F0-0B7E-45A8-B077-1C4528174FD9}" destId="{EB21B190-A7DF-4F29-A270-50E30B9F707F}"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9A0459-E05A-4EFB-920E-C71C6CD4CD92}" type="doc">
      <dgm:prSet loTypeId="urn:microsoft.com/office/officeart/2005/8/layout/chevron1" loCatId="process" qsTypeId="urn:microsoft.com/office/officeart/2005/8/quickstyle/simple1" qsCatId="simple" csTypeId="urn:microsoft.com/office/officeart/2005/8/colors/accent1_2" csCatId="accent1" phldr="1"/>
      <dgm:spPr/>
    </dgm:pt>
    <dgm:pt modelId="{2E1AFE31-A6E9-4FF9-927D-F72A17FA7172}">
      <dgm:prSet phldrT="[Text]" custT="1"/>
      <dgm:spPr>
        <a:solidFill>
          <a:schemeClr val="accent2"/>
        </a:solidFill>
      </dgm:spPr>
      <dgm:t>
        <a:bodyPr/>
        <a:lstStyle/>
        <a:p>
          <a:r>
            <a:rPr lang="fr-BE" sz="1800" dirty="0"/>
            <a:t>Short </a:t>
          </a:r>
          <a:r>
            <a:rPr lang="fr-BE" sz="1800" dirty="0" err="1"/>
            <a:t>term</a:t>
          </a:r>
          <a:endParaRPr lang="en-GB" sz="1800" dirty="0"/>
        </a:p>
      </dgm:t>
    </dgm:pt>
    <dgm:pt modelId="{11BA5D0F-E2DA-4F04-9DBD-1FB5984081FE}" type="parTrans" cxnId="{066C4672-B6C0-4208-84DA-B4A198EC2C24}">
      <dgm:prSet/>
      <dgm:spPr/>
      <dgm:t>
        <a:bodyPr/>
        <a:lstStyle/>
        <a:p>
          <a:endParaRPr lang="en-GB" sz="1200"/>
        </a:p>
      </dgm:t>
    </dgm:pt>
    <dgm:pt modelId="{86301191-389B-45AF-86CD-8DA5750A1876}" type="sibTrans" cxnId="{066C4672-B6C0-4208-84DA-B4A198EC2C24}">
      <dgm:prSet/>
      <dgm:spPr/>
      <dgm:t>
        <a:bodyPr/>
        <a:lstStyle/>
        <a:p>
          <a:endParaRPr lang="en-GB" sz="1200"/>
        </a:p>
      </dgm:t>
    </dgm:pt>
    <dgm:pt modelId="{8D992382-9862-420E-B2E5-F1AF7B10F3DD}">
      <dgm:prSet phldrT="[Text]" custT="1"/>
      <dgm:spPr>
        <a:solidFill>
          <a:schemeClr val="accent2"/>
        </a:solidFill>
      </dgm:spPr>
      <dgm:t>
        <a:bodyPr/>
        <a:lstStyle/>
        <a:p>
          <a:r>
            <a:rPr lang="fr-BE" sz="1800" dirty="0"/>
            <a:t>Medium </a:t>
          </a:r>
          <a:r>
            <a:rPr lang="fr-BE" sz="1800" dirty="0" err="1"/>
            <a:t>term</a:t>
          </a:r>
          <a:endParaRPr lang="en-GB" sz="1800" dirty="0"/>
        </a:p>
      </dgm:t>
    </dgm:pt>
    <dgm:pt modelId="{90011ACB-AB6E-40CA-A063-A08F513AFA26}" type="parTrans" cxnId="{0ED756E9-3F39-4DD4-A28B-8AFCDA2356E7}">
      <dgm:prSet/>
      <dgm:spPr/>
      <dgm:t>
        <a:bodyPr/>
        <a:lstStyle/>
        <a:p>
          <a:endParaRPr lang="en-GB" sz="1200"/>
        </a:p>
      </dgm:t>
    </dgm:pt>
    <dgm:pt modelId="{BB7CDE15-B77D-4075-AF81-AE44CA136737}" type="sibTrans" cxnId="{0ED756E9-3F39-4DD4-A28B-8AFCDA2356E7}">
      <dgm:prSet/>
      <dgm:spPr/>
      <dgm:t>
        <a:bodyPr/>
        <a:lstStyle/>
        <a:p>
          <a:endParaRPr lang="en-GB" sz="1200"/>
        </a:p>
      </dgm:t>
    </dgm:pt>
    <dgm:pt modelId="{7D4F2C0B-D9A8-4359-9BA9-45F9FA674C30}">
      <dgm:prSet phldrT="[Text]" custT="1"/>
      <dgm:spPr>
        <a:solidFill>
          <a:schemeClr val="accent2"/>
        </a:solidFill>
      </dgm:spPr>
      <dgm:t>
        <a:bodyPr/>
        <a:lstStyle/>
        <a:p>
          <a:r>
            <a:rPr lang="fr-BE" sz="1800" dirty="0"/>
            <a:t>Long </a:t>
          </a:r>
          <a:r>
            <a:rPr lang="fr-BE" sz="1800" dirty="0" err="1"/>
            <a:t>term</a:t>
          </a:r>
          <a:endParaRPr lang="en-GB" sz="1800" dirty="0"/>
        </a:p>
      </dgm:t>
    </dgm:pt>
    <dgm:pt modelId="{2A00B2F7-2964-485A-87DD-A238CF1484EC}" type="parTrans" cxnId="{86E3746E-5697-4F64-BD21-91BF1EB1A655}">
      <dgm:prSet/>
      <dgm:spPr/>
      <dgm:t>
        <a:bodyPr/>
        <a:lstStyle/>
        <a:p>
          <a:endParaRPr lang="en-GB" sz="1200"/>
        </a:p>
      </dgm:t>
    </dgm:pt>
    <dgm:pt modelId="{C442FA46-13CA-4814-ADDC-1A27E70607BF}" type="sibTrans" cxnId="{86E3746E-5697-4F64-BD21-91BF1EB1A655}">
      <dgm:prSet/>
      <dgm:spPr/>
      <dgm:t>
        <a:bodyPr/>
        <a:lstStyle/>
        <a:p>
          <a:endParaRPr lang="en-GB" sz="1200"/>
        </a:p>
      </dgm:t>
    </dgm:pt>
    <dgm:pt modelId="{F3EE4D75-F905-4181-93B5-8887CB95A9FF}" type="pres">
      <dgm:prSet presAssocID="{669A0459-E05A-4EFB-920E-C71C6CD4CD92}" presName="Name0" presStyleCnt="0">
        <dgm:presLayoutVars>
          <dgm:dir/>
          <dgm:animLvl val="lvl"/>
          <dgm:resizeHandles val="exact"/>
        </dgm:presLayoutVars>
      </dgm:prSet>
      <dgm:spPr/>
    </dgm:pt>
    <dgm:pt modelId="{8ED6FD23-2C9E-4122-86EC-AA5DA85ECACD}" type="pres">
      <dgm:prSet presAssocID="{2E1AFE31-A6E9-4FF9-927D-F72A17FA7172}" presName="parTxOnly" presStyleLbl="node1" presStyleIdx="0" presStyleCnt="3">
        <dgm:presLayoutVars>
          <dgm:chMax val="0"/>
          <dgm:chPref val="0"/>
          <dgm:bulletEnabled val="1"/>
        </dgm:presLayoutVars>
      </dgm:prSet>
      <dgm:spPr/>
    </dgm:pt>
    <dgm:pt modelId="{C317DE11-C18F-4B5C-8EE6-1C3A633B8DC4}" type="pres">
      <dgm:prSet presAssocID="{86301191-389B-45AF-86CD-8DA5750A1876}" presName="parTxOnlySpace" presStyleCnt="0"/>
      <dgm:spPr/>
    </dgm:pt>
    <dgm:pt modelId="{DEC05F6B-4AFA-4AC1-9F7B-4853159F4F5A}" type="pres">
      <dgm:prSet presAssocID="{8D992382-9862-420E-B2E5-F1AF7B10F3DD}" presName="parTxOnly" presStyleLbl="node1" presStyleIdx="1" presStyleCnt="3">
        <dgm:presLayoutVars>
          <dgm:chMax val="0"/>
          <dgm:chPref val="0"/>
          <dgm:bulletEnabled val="1"/>
        </dgm:presLayoutVars>
      </dgm:prSet>
      <dgm:spPr/>
    </dgm:pt>
    <dgm:pt modelId="{3B9DFBA2-9666-482F-93C1-6DC7D62C0FD2}" type="pres">
      <dgm:prSet presAssocID="{BB7CDE15-B77D-4075-AF81-AE44CA136737}" presName="parTxOnlySpace" presStyleCnt="0"/>
      <dgm:spPr/>
    </dgm:pt>
    <dgm:pt modelId="{BD2A85B0-2605-4A45-85AA-053B5C85BD1A}" type="pres">
      <dgm:prSet presAssocID="{7D4F2C0B-D9A8-4359-9BA9-45F9FA674C30}" presName="parTxOnly" presStyleLbl="node1" presStyleIdx="2" presStyleCnt="3">
        <dgm:presLayoutVars>
          <dgm:chMax val="0"/>
          <dgm:chPref val="0"/>
          <dgm:bulletEnabled val="1"/>
        </dgm:presLayoutVars>
      </dgm:prSet>
      <dgm:spPr/>
    </dgm:pt>
  </dgm:ptLst>
  <dgm:cxnLst>
    <dgm:cxn modelId="{06F6370A-B94D-4900-8C77-465307B58C9B}" type="presOf" srcId="{669A0459-E05A-4EFB-920E-C71C6CD4CD92}" destId="{F3EE4D75-F905-4181-93B5-8887CB95A9FF}" srcOrd="0" destOrd="0" presId="urn:microsoft.com/office/officeart/2005/8/layout/chevron1"/>
    <dgm:cxn modelId="{464A2611-E352-4707-A24F-D7F6C87AD404}" type="presOf" srcId="{8D992382-9862-420E-B2E5-F1AF7B10F3DD}" destId="{DEC05F6B-4AFA-4AC1-9F7B-4853159F4F5A}" srcOrd="0" destOrd="0" presId="urn:microsoft.com/office/officeart/2005/8/layout/chevron1"/>
    <dgm:cxn modelId="{6927D33A-0031-4166-9515-39F60DB4958C}" type="presOf" srcId="{7D4F2C0B-D9A8-4359-9BA9-45F9FA674C30}" destId="{BD2A85B0-2605-4A45-85AA-053B5C85BD1A}" srcOrd="0" destOrd="0" presId="urn:microsoft.com/office/officeart/2005/8/layout/chevron1"/>
    <dgm:cxn modelId="{84AA116C-208C-4582-BC30-B8D33FB955DC}" type="presOf" srcId="{2E1AFE31-A6E9-4FF9-927D-F72A17FA7172}" destId="{8ED6FD23-2C9E-4122-86EC-AA5DA85ECACD}" srcOrd="0" destOrd="0" presId="urn:microsoft.com/office/officeart/2005/8/layout/chevron1"/>
    <dgm:cxn modelId="{86E3746E-5697-4F64-BD21-91BF1EB1A655}" srcId="{669A0459-E05A-4EFB-920E-C71C6CD4CD92}" destId="{7D4F2C0B-D9A8-4359-9BA9-45F9FA674C30}" srcOrd="2" destOrd="0" parTransId="{2A00B2F7-2964-485A-87DD-A238CF1484EC}" sibTransId="{C442FA46-13CA-4814-ADDC-1A27E70607BF}"/>
    <dgm:cxn modelId="{066C4672-B6C0-4208-84DA-B4A198EC2C24}" srcId="{669A0459-E05A-4EFB-920E-C71C6CD4CD92}" destId="{2E1AFE31-A6E9-4FF9-927D-F72A17FA7172}" srcOrd="0" destOrd="0" parTransId="{11BA5D0F-E2DA-4F04-9DBD-1FB5984081FE}" sibTransId="{86301191-389B-45AF-86CD-8DA5750A1876}"/>
    <dgm:cxn modelId="{0ED756E9-3F39-4DD4-A28B-8AFCDA2356E7}" srcId="{669A0459-E05A-4EFB-920E-C71C6CD4CD92}" destId="{8D992382-9862-420E-B2E5-F1AF7B10F3DD}" srcOrd="1" destOrd="0" parTransId="{90011ACB-AB6E-40CA-A063-A08F513AFA26}" sibTransId="{BB7CDE15-B77D-4075-AF81-AE44CA136737}"/>
    <dgm:cxn modelId="{ECCCAFFD-C3D3-4E7D-BF78-8040B1F9ACD3}" type="presParOf" srcId="{F3EE4D75-F905-4181-93B5-8887CB95A9FF}" destId="{8ED6FD23-2C9E-4122-86EC-AA5DA85ECACD}" srcOrd="0" destOrd="0" presId="urn:microsoft.com/office/officeart/2005/8/layout/chevron1"/>
    <dgm:cxn modelId="{02872398-0322-4E18-B019-153ADA42FEE0}" type="presParOf" srcId="{F3EE4D75-F905-4181-93B5-8887CB95A9FF}" destId="{C317DE11-C18F-4B5C-8EE6-1C3A633B8DC4}" srcOrd="1" destOrd="0" presId="urn:microsoft.com/office/officeart/2005/8/layout/chevron1"/>
    <dgm:cxn modelId="{BCD77309-21CA-4BFF-BA2B-48EFD0F4F238}" type="presParOf" srcId="{F3EE4D75-F905-4181-93B5-8887CB95A9FF}" destId="{DEC05F6B-4AFA-4AC1-9F7B-4853159F4F5A}" srcOrd="2" destOrd="0" presId="urn:microsoft.com/office/officeart/2005/8/layout/chevron1"/>
    <dgm:cxn modelId="{C5A85E7C-2C4E-4464-980A-9B685880868A}" type="presParOf" srcId="{F3EE4D75-F905-4181-93B5-8887CB95A9FF}" destId="{3B9DFBA2-9666-482F-93C1-6DC7D62C0FD2}" srcOrd="3" destOrd="0" presId="urn:microsoft.com/office/officeart/2005/8/layout/chevron1"/>
    <dgm:cxn modelId="{9653D49A-EAE9-4BCE-A257-7BE81DA3BCF1}" type="presParOf" srcId="{F3EE4D75-F905-4181-93B5-8887CB95A9FF}" destId="{BD2A85B0-2605-4A45-85AA-053B5C85BD1A}"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2CCE30-5B93-4461-A18E-93773A6D1409}"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en-GB"/>
        </a:p>
      </dgm:t>
    </dgm:pt>
    <dgm:pt modelId="{FD15BB1E-46B3-4B9B-874A-70C880E9CFB5}">
      <dgm:prSet phldrT="[Text]" custT="1"/>
      <dgm:spPr>
        <a:solidFill>
          <a:srgbClr val="C62B37"/>
        </a:solidFill>
      </dgm:spPr>
      <dgm:t>
        <a:bodyPr/>
        <a:lstStyle/>
        <a:p>
          <a:endParaRPr lang="en-GB" sz="1200" dirty="0"/>
        </a:p>
      </dgm:t>
    </dgm:pt>
    <dgm:pt modelId="{B153890A-DBFA-45D4-93B2-F7B2CF401D72}" type="parTrans" cxnId="{07BF0A93-8B5B-4E7E-96AC-83006CD00B80}">
      <dgm:prSet/>
      <dgm:spPr/>
      <dgm:t>
        <a:bodyPr/>
        <a:lstStyle/>
        <a:p>
          <a:endParaRPr lang="en-GB" sz="2000"/>
        </a:p>
      </dgm:t>
    </dgm:pt>
    <dgm:pt modelId="{B2997FC7-EA33-48D9-824F-A04FCF30BCD3}" type="sibTrans" cxnId="{07BF0A93-8B5B-4E7E-96AC-83006CD00B80}">
      <dgm:prSet/>
      <dgm:spPr/>
      <dgm:t>
        <a:bodyPr/>
        <a:lstStyle/>
        <a:p>
          <a:endParaRPr lang="en-GB" sz="2000"/>
        </a:p>
      </dgm:t>
    </dgm:pt>
    <dgm:pt modelId="{54B5121D-CE8E-4E74-B559-2C7DAA0F789C}">
      <dgm:prSet phldrT="[Text]" custT="1"/>
      <dgm:spPr>
        <a:solidFill>
          <a:srgbClr val="A2D3F3"/>
        </a:solidFill>
      </dgm:spPr>
      <dgm:t>
        <a:bodyPr/>
        <a:lstStyle/>
        <a:p>
          <a:endParaRPr lang="en-GB" sz="1200" dirty="0"/>
        </a:p>
      </dgm:t>
    </dgm:pt>
    <dgm:pt modelId="{8B76DA0D-8503-41D2-8D7E-F011C4AFC6EC}" type="parTrans" cxnId="{29DBA75D-ECCD-4150-B0E9-6D1D20EE8081}">
      <dgm:prSet/>
      <dgm:spPr/>
      <dgm:t>
        <a:bodyPr/>
        <a:lstStyle/>
        <a:p>
          <a:endParaRPr lang="en-GB" sz="2000"/>
        </a:p>
      </dgm:t>
    </dgm:pt>
    <dgm:pt modelId="{583C5E25-D828-431B-B80B-83ABC6F9A040}" type="sibTrans" cxnId="{29DBA75D-ECCD-4150-B0E9-6D1D20EE8081}">
      <dgm:prSet/>
      <dgm:spPr/>
      <dgm:t>
        <a:bodyPr/>
        <a:lstStyle/>
        <a:p>
          <a:endParaRPr lang="en-GB" sz="2000"/>
        </a:p>
      </dgm:t>
    </dgm:pt>
    <dgm:pt modelId="{2CB5420B-5D5A-44BC-9742-4DE247ABF992}">
      <dgm:prSet phldrT="[Text]" custT="1"/>
      <dgm:spPr>
        <a:solidFill>
          <a:srgbClr val="E3EDCA"/>
        </a:solidFill>
      </dgm:spPr>
      <dgm:t>
        <a:bodyPr/>
        <a:lstStyle/>
        <a:p>
          <a:endParaRPr lang="en-GB" sz="1200" dirty="0"/>
        </a:p>
      </dgm:t>
    </dgm:pt>
    <dgm:pt modelId="{9102A666-2721-47AD-A6FC-FB6AC1D6E668}" type="parTrans" cxnId="{9A42DDAF-D929-448D-AC27-440A9D749DEA}">
      <dgm:prSet/>
      <dgm:spPr/>
      <dgm:t>
        <a:bodyPr/>
        <a:lstStyle/>
        <a:p>
          <a:endParaRPr lang="en-GB" sz="2000"/>
        </a:p>
      </dgm:t>
    </dgm:pt>
    <dgm:pt modelId="{297FAA08-2A39-44D0-B0B0-ECC632D19E17}" type="sibTrans" cxnId="{9A42DDAF-D929-448D-AC27-440A9D749DEA}">
      <dgm:prSet/>
      <dgm:spPr/>
      <dgm:t>
        <a:bodyPr/>
        <a:lstStyle/>
        <a:p>
          <a:endParaRPr lang="en-GB" sz="2000"/>
        </a:p>
      </dgm:t>
    </dgm:pt>
    <dgm:pt modelId="{8FFEE550-9E75-44E8-B75A-F976F4EF0BB3}">
      <dgm:prSet phldrT="[Text]" custT="1"/>
      <dgm:spPr>
        <a:solidFill>
          <a:schemeClr val="accent4">
            <a:lumMod val="60000"/>
            <a:lumOff val="40000"/>
          </a:schemeClr>
        </a:solidFill>
      </dgm:spPr>
      <dgm:t>
        <a:bodyPr/>
        <a:lstStyle/>
        <a:p>
          <a:pPr algn="r"/>
          <a:endParaRPr lang="en-GB" sz="1200" dirty="0"/>
        </a:p>
      </dgm:t>
    </dgm:pt>
    <dgm:pt modelId="{A03F73DC-C2E3-41C0-8EBD-60D637F2214C}" type="parTrans" cxnId="{DD6DF7B5-D1C3-4FDA-AEA7-BC94720FEC84}">
      <dgm:prSet/>
      <dgm:spPr/>
      <dgm:t>
        <a:bodyPr/>
        <a:lstStyle/>
        <a:p>
          <a:endParaRPr lang="en-GB" sz="2000"/>
        </a:p>
      </dgm:t>
    </dgm:pt>
    <dgm:pt modelId="{4CAD58A0-16B5-4184-90EA-0DCEA2CDEA37}" type="sibTrans" cxnId="{DD6DF7B5-D1C3-4FDA-AEA7-BC94720FEC84}">
      <dgm:prSet/>
      <dgm:spPr/>
      <dgm:t>
        <a:bodyPr/>
        <a:lstStyle/>
        <a:p>
          <a:endParaRPr lang="en-GB" sz="2000"/>
        </a:p>
      </dgm:t>
    </dgm:pt>
    <dgm:pt modelId="{5CA98427-EBDA-4A64-8F62-BB218BF7D392}" type="pres">
      <dgm:prSet presAssocID="{6D2CCE30-5B93-4461-A18E-93773A6D1409}" presName="cycleMatrixDiagram" presStyleCnt="0">
        <dgm:presLayoutVars>
          <dgm:chMax val="1"/>
          <dgm:dir/>
          <dgm:animLvl val="lvl"/>
          <dgm:resizeHandles val="exact"/>
        </dgm:presLayoutVars>
      </dgm:prSet>
      <dgm:spPr/>
    </dgm:pt>
    <dgm:pt modelId="{D20C63DC-2CFA-4226-904C-CF700BD9F1D0}" type="pres">
      <dgm:prSet presAssocID="{6D2CCE30-5B93-4461-A18E-93773A6D1409}" presName="children" presStyleCnt="0"/>
      <dgm:spPr/>
    </dgm:pt>
    <dgm:pt modelId="{3B61CCA3-BC3B-4DA7-9A21-E767D188084B}" type="pres">
      <dgm:prSet presAssocID="{6D2CCE30-5B93-4461-A18E-93773A6D1409}" presName="childPlaceholder" presStyleCnt="0"/>
      <dgm:spPr/>
    </dgm:pt>
    <dgm:pt modelId="{EE268DDB-14BD-45A1-B820-03BB5FFFFA7D}" type="pres">
      <dgm:prSet presAssocID="{6D2CCE30-5B93-4461-A18E-93773A6D1409}" presName="circle" presStyleCnt="0"/>
      <dgm:spPr/>
    </dgm:pt>
    <dgm:pt modelId="{BC930A42-A85D-46F4-862B-398CB3CA3112}" type="pres">
      <dgm:prSet presAssocID="{6D2CCE30-5B93-4461-A18E-93773A6D1409}" presName="quadrant1" presStyleLbl="node1" presStyleIdx="0" presStyleCnt="4">
        <dgm:presLayoutVars>
          <dgm:chMax val="1"/>
          <dgm:bulletEnabled val="1"/>
        </dgm:presLayoutVars>
      </dgm:prSet>
      <dgm:spPr/>
    </dgm:pt>
    <dgm:pt modelId="{15AE7F63-E70E-42A6-B56D-06C414DEC8A3}" type="pres">
      <dgm:prSet presAssocID="{6D2CCE30-5B93-4461-A18E-93773A6D1409}" presName="quadrant2" presStyleLbl="node1" presStyleIdx="1" presStyleCnt="4">
        <dgm:presLayoutVars>
          <dgm:chMax val="1"/>
          <dgm:bulletEnabled val="1"/>
        </dgm:presLayoutVars>
      </dgm:prSet>
      <dgm:spPr/>
    </dgm:pt>
    <dgm:pt modelId="{C0EFE986-D5C7-4721-9B13-C6E5E1929A85}" type="pres">
      <dgm:prSet presAssocID="{6D2CCE30-5B93-4461-A18E-93773A6D1409}" presName="quadrant3" presStyleLbl="node1" presStyleIdx="2" presStyleCnt="4">
        <dgm:presLayoutVars>
          <dgm:chMax val="1"/>
          <dgm:bulletEnabled val="1"/>
        </dgm:presLayoutVars>
      </dgm:prSet>
      <dgm:spPr/>
    </dgm:pt>
    <dgm:pt modelId="{E7CC8D35-0DA1-47F2-8E6C-7543C0A4F021}" type="pres">
      <dgm:prSet presAssocID="{6D2CCE30-5B93-4461-A18E-93773A6D1409}" presName="quadrant4" presStyleLbl="node1" presStyleIdx="3" presStyleCnt="4">
        <dgm:presLayoutVars>
          <dgm:chMax val="1"/>
          <dgm:bulletEnabled val="1"/>
        </dgm:presLayoutVars>
      </dgm:prSet>
      <dgm:spPr/>
    </dgm:pt>
    <dgm:pt modelId="{B6694B0E-7D8D-459F-850F-F1CAAB4D54C8}" type="pres">
      <dgm:prSet presAssocID="{6D2CCE30-5B93-4461-A18E-93773A6D1409}" presName="quadrantPlaceholder" presStyleCnt="0"/>
      <dgm:spPr/>
    </dgm:pt>
    <dgm:pt modelId="{273D3EB9-CDD3-40FC-9989-150C9167A88A}" type="pres">
      <dgm:prSet presAssocID="{6D2CCE30-5B93-4461-A18E-93773A6D1409}" presName="center1" presStyleLbl="fgShp" presStyleIdx="0" presStyleCnt="2"/>
      <dgm:spPr>
        <a:solidFill>
          <a:srgbClr val="C62B37"/>
        </a:solidFill>
      </dgm:spPr>
    </dgm:pt>
    <dgm:pt modelId="{BECBA7C0-AF88-406B-853C-ECFC4C66AE53}" type="pres">
      <dgm:prSet presAssocID="{6D2CCE30-5B93-4461-A18E-93773A6D1409}" presName="center2" presStyleLbl="fgShp" presStyleIdx="1" presStyleCnt="2"/>
      <dgm:spPr>
        <a:solidFill>
          <a:srgbClr val="C62B37"/>
        </a:solidFill>
      </dgm:spPr>
    </dgm:pt>
  </dgm:ptLst>
  <dgm:cxnLst>
    <dgm:cxn modelId="{9B7BA106-AD9D-4746-92F8-0F59B3DDB836}" type="presOf" srcId="{54B5121D-CE8E-4E74-B559-2C7DAA0F789C}" destId="{15AE7F63-E70E-42A6-B56D-06C414DEC8A3}" srcOrd="0" destOrd="0" presId="urn:microsoft.com/office/officeart/2005/8/layout/cycle4"/>
    <dgm:cxn modelId="{08F79F18-21E2-488C-B16A-21839401ECD2}" type="presOf" srcId="{8FFEE550-9E75-44E8-B75A-F976F4EF0BB3}" destId="{E7CC8D35-0DA1-47F2-8E6C-7543C0A4F021}" srcOrd="0" destOrd="0" presId="urn:microsoft.com/office/officeart/2005/8/layout/cycle4"/>
    <dgm:cxn modelId="{B4D03D25-3A6C-4ED5-9057-BA23AE1EE8BA}" type="presOf" srcId="{2CB5420B-5D5A-44BC-9742-4DE247ABF992}" destId="{C0EFE986-D5C7-4721-9B13-C6E5E1929A85}" srcOrd="0" destOrd="0" presId="urn:microsoft.com/office/officeart/2005/8/layout/cycle4"/>
    <dgm:cxn modelId="{0646C940-ED42-4A87-A982-3E5D1747AA3A}" type="presOf" srcId="{6D2CCE30-5B93-4461-A18E-93773A6D1409}" destId="{5CA98427-EBDA-4A64-8F62-BB218BF7D392}" srcOrd="0" destOrd="0" presId="urn:microsoft.com/office/officeart/2005/8/layout/cycle4"/>
    <dgm:cxn modelId="{29DBA75D-ECCD-4150-B0E9-6D1D20EE8081}" srcId="{6D2CCE30-5B93-4461-A18E-93773A6D1409}" destId="{54B5121D-CE8E-4E74-B559-2C7DAA0F789C}" srcOrd="1" destOrd="0" parTransId="{8B76DA0D-8503-41D2-8D7E-F011C4AFC6EC}" sibTransId="{583C5E25-D828-431B-B80B-83ABC6F9A040}"/>
    <dgm:cxn modelId="{D0B27F52-F141-4BEA-AF77-6840A7E4C9ED}" type="presOf" srcId="{FD15BB1E-46B3-4B9B-874A-70C880E9CFB5}" destId="{BC930A42-A85D-46F4-862B-398CB3CA3112}" srcOrd="0" destOrd="0" presId="urn:microsoft.com/office/officeart/2005/8/layout/cycle4"/>
    <dgm:cxn modelId="{07BF0A93-8B5B-4E7E-96AC-83006CD00B80}" srcId="{6D2CCE30-5B93-4461-A18E-93773A6D1409}" destId="{FD15BB1E-46B3-4B9B-874A-70C880E9CFB5}" srcOrd="0" destOrd="0" parTransId="{B153890A-DBFA-45D4-93B2-F7B2CF401D72}" sibTransId="{B2997FC7-EA33-48D9-824F-A04FCF30BCD3}"/>
    <dgm:cxn modelId="{9A42DDAF-D929-448D-AC27-440A9D749DEA}" srcId="{6D2CCE30-5B93-4461-A18E-93773A6D1409}" destId="{2CB5420B-5D5A-44BC-9742-4DE247ABF992}" srcOrd="2" destOrd="0" parTransId="{9102A666-2721-47AD-A6FC-FB6AC1D6E668}" sibTransId="{297FAA08-2A39-44D0-B0B0-ECC632D19E17}"/>
    <dgm:cxn modelId="{DD6DF7B5-D1C3-4FDA-AEA7-BC94720FEC84}" srcId="{6D2CCE30-5B93-4461-A18E-93773A6D1409}" destId="{8FFEE550-9E75-44E8-B75A-F976F4EF0BB3}" srcOrd="3" destOrd="0" parTransId="{A03F73DC-C2E3-41C0-8EBD-60D637F2214C}" sibTransId="{4CAD58A0-16B5-4184-90EA-0DCEA2CDEA37}"/>
    <dgm:cxn modelId="{42202C9E-1D41-4610-919F-468A85CE1815}" type="presParOf" srcId="{5CA98427-EBDA-4A64-8F62-BB218BF7D392}" destId="{D20C63DC-2CFA-4226-904C-CF700BD9F1D0}" srcOrd="0" destOrd="0" presId="urn:microsoft.com/office/officeart/2005/8/layout/cycle4"/>
    <dgm:cxn modelId="{260EA7ED-6DFF-4C44-A0F1-C2F86A6DE40C}" type="presParOf" srcId="{D20C63DC-2CFA-4226-904C-CF700BD9F1D0}" destId="{3B61CCA3-BC3B-4DA7-9A21-E767D188084B}" srcOrd="0" destOrd="0" presId="urn:microsoft.com/office/officeart/2005/8/layout/cycle4"/>
    <dgm:cxn modelId="{0801EBD6-FF20-440E-AF4A-B3A2BF958E06}" type="presParOf" srcId="{5CA98427-EBDA-4A64-8F62-BB218BF7D392}" destId="{EE268DDB-14BD-45A1-B820-03BB5FFFFA7D}" srcOrd="1" destOrd="0" presId="urn:microsoft.com/office/officeart/2005/8/layout/cycle4"/>
    <dgm:cxn modelId="{3DE86401-ADD1-4317-B7CD-9B2F04FEECA5}" type="presParOf" srcId="{EE268DDB-14BD-45A1-B820-03BB5FFFFA7D}" destId="{BC930A42-A85D-46F4-862B-398CB3CA3112}" srcOrd="0" destOrd="0" presId="urn:microsoft.com/office/officeart/2005/8/layout/cycle4"/>
    <dgm:cxn modelId="{24010D72-4CFE-4BF7-9A9F-4E6DFC76EF0A}" type="presParOf" srcId="{EE268DDB-14BD-45A1-B820-03BB5FFFFA7D}" destId="{15AE7F63-E70E-42A6-B56D-06C414DEC8A3}" srcOrd="1" destOrd="0" presId="urn:microsoft.com/office/officeart/2005/8/layout/cycle4"/>
    <dgm:cxn modelId="{ADDA1BB1-2A8F-486A-94EA-28A9C6DF023A}" type="presParOf" srcId="{EE268DDB-14BD-45A1-B820-03BB5FFFFA7D}" destId="{C0EFE986-D5C7-4721-9B13-C6E5E1929A85}" srcOrd="2" destOrd="0" presId="urn:microsoft.com/office/officeart/2005/8/layout/cycle4"/>
    <dgm:cxn modelId="{DA83BB5D-733F-4D5F-94B3-EA3C15D49825}" type="presParOf" srcId="{EE268DDB-14BD-45A1-B820-03BB5FFFFA7D}" destId="{E7CC8D35-0DA1-47F2-8E6C-7543C0A4F021}" srcOrd="3" destOrd="0" presId="urn:microsoft.com/office/officeart/2005/8/layout/cycle4"/>
    <dgm:cxn modelId="{7411A3A6-5103-4740-B59C-CF9BC47846ED}" type="presParOf" srcId="{EE268DDB-14BD-45A1-B820-03BB5FFFFA7D}" destId="{B6694B0E-7D8D-459F-850F-F1CAAB4D54C8}" srcOrd="4" destOrd="0" presId="urn:microsoft.com/office/officeart/2005/8/layout/cycle4"/>
    <dgm:cxn modelId="{D731FB71-AB36-431F-A5CB-860E6D306982}" type="presParOf" srcId="{5CA98427-EBDA-4A64-8F62-BB218BF7D392}" destId="{273D3EB9-CDD3-40FC-9989-150C9167A88A}" srcOrd="2" destOrd="0" presId="urn:microsoft.com/office/officeart/2005/8/layout/cycle4"/>
    <dgm:cxn modelId="{46EC9F3E-4C3D-488B-8A52-179222FF3FB1}" type="presParOf" srcId="{5CA98427-EBDA-4A64-8F62-BB218BF7D392}" destId="{BECBA7C0-AF88-406B-853C-ECFC4C66AE53}"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7776A4-3068-40EC-990D-3EDAB1ED2123}">
      <dsp:nvSpPr>
        <dsp:cNvPr id="0" name=""/>
        <dsp:cNvSpPr/>
      </dsp:nvSpPr>
      <dsp:spPr>
        <a:xfrm>
          <a:off x="0" y="4107"/>
          <a:ext cx="6134471" cy="129513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38C7650-9619-4608-B710-0106263CAC5F}">
      <dsp:nvSpPr>
        <dsp:cNvPr id="0" name=""/>
        <dsp:cNvSpPr/>
      </dsp:nvSpPr>
      <dsp:spPr>
        <a:xfrm>
          <a:off x="391777" y="295511"/>
          <a:ext cx="713018" cy="71232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887E119-ED33-44BD-BF40-86F0C32BDB99}">
      <dsp:nvSpPr>
        <dsp:cNvPr id="0" name=""/>
        <dsp:cNvSpPr/>
      </dsp:nvSpPr>
      <dsp:spPr>
        <a:xfrm>
          <a:off x="1496573" y="4107"/>
          <a:ext cx="2760512" cy="1296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202" tIns="137202" rIns="137202" bIns="137202" numCol="1" spcCol="1270" anchor="ctr" anchorCtr="0">
          <a:noAutofit/>
        </a:bodyPr>
        <a:lstStyle/>
        <a:p>
          <a:pPr marL="0" lvl="0" indent="0" algn="l" defTabSz="622300">
            <a:lnSpc>
              <a:spcPct val="90000"/>
            </a:lnSpc>
            <a:spcBef>
              <a:spcPct val="0"/>
            </a:spcBef>
            <a:spcAft>
              <a:spcPct val="35000"/>
            </a:spcAft>
            <a:buNone/>
          </a:pPr>
          <a:r>
            <a:rPr lang="en-GB" sz="1400" kern="1200"/>
            <a:t>Governmental efforts towards residential clients</a:t>
          </a:r>
          <a:endParaRPr lang="en-US" sz="1400" kern="1200"/>
        </a:p>
      </dsp:txBody>
      <dsp:txXfrm>
        <a:off x="1496573" y="4107"/>
        <a:ext cx="2760512" cy="1296397"/>
      </dsp:txXfrm>
    </dsp:sp>
    <dsp:sp modelId="{BADBFAE0-91EC-469A-97C1-9C40D2986CF2}">
      <dsp:nvSpPr>
        <dsp:cNvPr id="0" name=""/>
        <dsp:cNvSpPr/>
      </dsp:nvSpPr>
      <dsp:spPr>
        <a:xfrm>
          <a:off x="4257085" y="4107"/>
          <a:ext cx="1818751" cy="1295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068" tIns="137068" rIns="137068" bIns="137068" numCol="1" spcCol="1270" anchor="ctr" anchorCtr="0">
          <a:noAutofit/>
        </a:bodyPr>
        <a:lstStyle/>
        <a:p>
          <a:pPr marL="0" lvl="0" indent="0" algn="l" defTabSz="488950">
            <a:lnSpc>
              <a:spcPct val="90000"/>
            </a:lnSpc>
            <a:spcBef>
              <a:spcPct val="0"/>
            </a:spcBef>
            <a:spcAft>
              <a:spcPct val="35000"/>
            </a:spcAft>
            <a:buNone/>
          </a:pPr>
          <a:r>
            <a:rPr lang="en-GB" sz="1100" kern="1200"/>
            <a:t>Estimate 3,7 billon Euro</a:t>
          </a:r>
          <a:endParaRPr lang="en-US" sz="1100" kern="1200"/>
        </a:p>
        <a:p>
          <a:pPr marL="0" lvl="0" indent="0" algn="l" defTabSz="488950">
            <a:lnSpc>
              <a:spcPct val="90000"/>
            </a:lnSpc>
            <a:spcBef>
              <a:spcPct val="0"/>
            </a:spcBef>
            <a:spcAft>
              <a:spcPct val="35000"/>
            </a:spcAft>
            <a:buNone/>
          </a:pPr>
          <a:r>
            <a:rPr lang="en-GB" sz="1100" kern="1200"/>
            <a:t>Exclusive VAT reduction!!</a:t>
          </a:r>
          <a:endParaRPr lang="en-US" sz="1100" kern="1200"/>
        </a:p>
      </dsp:txBody>
      <dsp:txXfrm>
        <a:off x="4257085" y="4107"/>
        <a:ext cx="1818751" cy="1295131"/>
      </dsp:txXfrm>
    </dsp:sp>
    <dsp:sp modelId="{6884C62D-086E-4F98-9E15-DD57F5CA91F7}">
      <dsp:nvSpPr>
        <dsp:cNvPr id="0" name=""/>
        <dsp:cNvSpPr/>
      </dsp:nvSpPr>
      <dsp:spPr>
        <a:xfrm>
          <a:off x="0" y="1614782"/>
          <a:ext cx="6134471" cy="129513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1D5B803-EDD8-4A88-B927-9F166E448DC0}">
      <dsp:nvSpPr>
        <dsp:cNvPr id="0" name=""/>
        <dsp:cNvSpPr/>
      </dsp:nvSpPr>
      <dsp:spPr>
        <a:xfrm>
          <a:off x="391777" y="1906187"/>
          <a:ext cx="713018" cy="71232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D2CE943-95F9-4F01-9D18-951FB0FC3A8B}">
      <dsp:nvSpPr>
        <dsp:cNvPr id="0" name=""/>
        <dsp:cNvSpPr/>
      </dsp:nvSpPr>
      <dsp:spPr>
        <a:xfrm>
          <a:off x="1496573" y="1614782"/>
          <a:ext cx="4579264" cy="1296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202" tIns="137202" rIns="137202" bIns="137202" numCol="1" spcCol="1270" anchor="ctr" anchorCtr="0">
          <a:noAutofit/>
        </a:bodyPr>
        <a:lstStyle/>
        <a:p>
          <a:pPr marL="0" lvl="0" indent="0" algn="l" defTabSz="622300">
            <a:lnSpc>
              <a:spcPct val="90000"/>
            </a:lnSpc>
            <a:spcBef>
              <a:spcPct val="0"/>
            </a:spcBef>
            <a:spcAft>
              <a:spcPct val="35000"/>
            </a:spcAft>
            <a:buNone/>
          </a:pPr>
          <a:r>
            <a:rPr lang="en-GB" sz="1400" kern="1200" dirty="0"/>
            <a:t>Contrasting to limited support for SME </a:t>
          </a:r>
          <a:r>
            <a:rPr lang="en-GB" sz="1400" kern="1200" dirty="0" err="1"/>
            <a:t>en</a:t>
          </a:r>
          <a:r>
            <a:rPr lang="en-GB" sz="1400" kern="1200" dirty="0"/>
            <a:t> business clients</a:t>
          </a:r>
          <a:endParaRPr lang="en-US" sz="1400" kern="1200" dirty="0"/>
        </a:p>
      </dsp:txBody>
      <dsp:txXfrm>
        <a:off x="1496573" y="1614782"/>
        <a:ext cx="4579264" cy="1296397"/>
      </dsp:txXfrm>
    </dsp:sp>
    <dsp:sp modelId="{8072B041-6953-4635-8063-776BD997965B}">
      <dsp:nvSpPr>
        <dsp:cNvPr id="0" name=""/>
        <dsp:cNvSpPr/>
      </dsp:nvSpPr>
      <dsp:spPr>
        <a:xfrm>
          <a:off x="0" y="3225458"/>
          <a:ext cx="6134471" cy="129513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45464F1-8621-4381-AAB7-6D57A128045C}">
      <dsp:nvSpPr>
        <dsp:cNvPr id="0" name=""/>
        <dsp:cNvSpPr/>
      </dsp:nvSpPr>
      <dsp:spPr>
        <a:xfrm>
          <a:off x="392160" y="3516862"/>
          <a:ext cx="713018" cy="71232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B71CC68-E492-4565-AE2A-CBCFE1943F4B}">
      <dsp:nvSpPr>
        <dsp:cNvPr id="0" name=""/>
        <dsp:cNvSpPr/>
      </dsp:nvSpPr>
      <dsp:spPr>
        <a:xfrm>
          <a:off x="1497338" y="3225458"/>
          <a:ext cx="2760512" cy="12963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202" tIns="137202" rIns="137202" bIns="137202" numCol="1" spcCol="1270" anchor="ctr" anchorCtr="0">
          <a:noAutofit/>
        </a:bodyPr>
        <a:lstStyle/>
        <a:p>
          <a:pPr marL="0" lvl="0" indent="0" algn="l" defTabSz="622300">
            <a:lnSpc>
              <a:spcPct val="90000"/>
            </a:lnSpc>
            <a:spcBef>
              <a:spcPct val="0"/>
            </a:spcBef>
            <a:spcAft>
              <a:spcPct val="35000"/>
            </a:spcAft>
            <a:buNone/>
          </a:pPr>
          <a:r>
            <a:rPr lang="en-GB" sz="1400" kern="1200" dirty="0"/>
            <a:t>Fixed price contracts were useful for &gt; 50% of clients</a:t>
          </a:r>
        </a:p>
        <a:p>
          <a:pPr marL="0" lvl="0" indent="0" algn="l" defTabSz="622300">
            <a:lnSpc>
              <a:spcPct val="90000"/>
            </a:lnSpc>
            <a:spcBef>
              <a:spcPct val="0"/>
            </a:spcBef>
            <a:spcAft>
              <a:spcPct val="35000"/>
            </a:spcAft>
            <a:buNone/>
          </a:pPr>
          <a:r>
            <a:rPr lang="en-GB" sz="1400" kern="1200" dirty="0"/>
            <a:t>Payment plans allowed by supplier</a:t>
          </a:r>
          <a:endParaRPr lang="en-US" sz="1400" kern="1200" dirty="0"/>
        </a:p>
      </dsp:txBody>
      <dsp:txXfrm>
        <a:off x="1497338" y="3225458"/>
        <a:ext cx="2760512" cy="1296397"/>
      </dsp:txXfrm>
    </dsp:sp>
    <dsp:sp modelId="{EB21B190-A7DF-4F29-A270-50E30B9F707F}">
      <dsp:nvSpPr>
        <dsp:cNvPr id="0" name=""/>
        <dsp:cNvSpPr/>
      </dsp:nvSpPr>
      <dsp:spPr>
        <a:xfrm>
          <a:off x="4257851" y="3225458"/>
          <a:ext cx="1818751" cy="1295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068" tIns="137068" rIns="137068" bIns="137068" numCol="1" spcCol="1270" anchor="ctr" anchorCtr="0">
          <a:noAutofit/>
        </a:bodyPr>
        <a:lstStyle/>
        <a:p>
          <a:pPr marL="0" lvl="0" indent="0" algn="l" defTabSz="488950">
            <a:lnSpc>
              <a:spcPct val="90000"/>
            </a:lnSpc>
            <a:spcBef>
              <a:spcPct val="0"/>
            </a:spcBef>
            <a:spcAft>
              <a:spcPct val="35000"/>
            </a:spcAft>
            <a:buNone/>
          </a:pPr>
          <a:r>
            <a:rPr lang="en-GB" sz="1100" kern="1200" dirty="0"/>
            <a:t>New rules for fixed price contracts needed!! </a:t>
          </a:r>
          <a:endParaRPr lang="en-US" sz="1100" kern="1200" dirty="0"/>
        </a:p>
      </dsp:txBody>
      <dsp:txXfrm>
        <a:off x="4257851" y="3225458"/>
        <a:ext cx="1818751" cy="129513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D6FD23-2C9E-4122-86EC-AA5DA85ECACD}">
      <dsp:nvSpPr>
        <dsp:cNvPr id="0" name=""/>
        <dsp:cNvSpPr/>
      </dsp:nvSpPr>
      <dsp:spPr>
        <a:xfrm>
          <a:off x="3080" y="0"/>
          <a:ext cx="3753370" cy="303592"/>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fr-BE" sz="1800" kern="1200" dirty="0"/>
            <a:t>Short </a:t>
          </a:r>
          <a:r>
            <a:rPr lang="fr-BE" sz="1800" kern="1200" dirty="0" err="1"/>
            <a:t>term</a:t>
          </a:r>
          <a:endParaRPr lang="en-GB" sz="1800" kern="1200" dirty="0"/>
        </a:p>
      </dsp:txBody>
      <dsp:txXfrm>
        <a:off x="154876" y="0"/>
        <a:ext cx="3449778" cy="303592"/>
      </dsp:txXfrm>
    </dsp:sp>
    <dsp:sp modelId="{DEC05F6B-4AFA-4AC1-9F7B-4853159F4F5A}">
      <dsp:nvSpPr>
        <dsp:cNvPr id="0" name=""/>
        <dsp:cNvSpPr/>
      </dsp:nvSpPr>
      <dsp:spPr>
        <a:xfrm>
          <a:off x="3381114" y="0"/>
          <a:ext cx="3753370" cy="303592"/>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fr-BE" sz="1800" kern="1200" dirty="0"/>
            <a:t>Medium </a:t>
          </a:r>
          <a:r>
            <a:rPr lang="fr-BE" sz="1800" kern="1200" dirty="0" err="1"/>
            <a:t>term</a:t>
          </a:r>
          <a:endParaRPr lang="en-GB" sz="1800" kern="1200" dirty="0"/>
        </a:p>
      </dsp:txBody>
      <dsp:txXfrm>
        <a:off x="3532910" y="0"/>
        <a:ext cx="3449778" cy="303592"/>
      </dsp:txXfrm>
    </dsp:sp>
    <dsp:sp modelId="{BD2A85B0-2605-4A45-85AA-053B5C85BD1A}">
      <dsp:nvSpPr>
        <dsp:cNvPr id="0" name=""/>
        <dsp:cNvSpPr/>
      </dsp:nvSpPr>
      <dsp:spPr>
        <a:xfrm>
          <a:off x="6759147" y="0"/>
          <a:ext cx="3753370" cy="303592"/>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a:lnSpc>
              <a:spcPct val="90000"/>
            </a:lnSpc>
            <a:spcBef>
              <a:spcPct val="0"/>
            </a:spcBef>
            <a:spcAft>
              <a:spcPct val="35000"/>
            </a:spcAft>
            <a:buNone/>
          </a:pPr>
          <a:r>
            <a:rPr lang="fr-BE" sz="1800" kern="1200" dirty="0"/>
            <a:t>Long </a:t>
          </a:r>
          <a:r>
            <a:rPr lang="fr-BE" sz="1800" kern="1200" dirty="0" err="1"/>
            <a:t>term</a:t>
          </a:r>
          <a:endParaRPr lang="en-GB" sz="1800" kern="1200" dirty="0"/>
        </a:p>
      </dsp:txBody>
      <dsp:txXfrm>
        <a:off x="6910943" y="0"/>
        <a:ext cx="3449778" cy="30359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930A42-A85D-46F4-862B-398CB3CA3112}">
      <dsp:nvSpPr>
        <dsp:cNvPr id="0" name=""/>
        <dsp:cNvSpPr/>
      </dsp:nvSpPr>
      <dsp:spPr>
        <a:xfrm>
          <a:off x="701898" y="300350"/>
          <a:ext cx="1468223" cy="1468223"/>
        </a:xfrm>
        <a:prstGeom prst="pieWedge">
          <a:avLst/>
        </a:prstGeom>
        <a:solidFill>
          <a:srgbClr val="C62B3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GB" sz="1200" kern="1200" dirty="0"/>
        </a:p>
      </dsp:txBody>
      <dsp:txXfrm>
        <a:off x="1131931" y="730383"/>
        <a:ext cx="1038190" cy="1038190"/>
      </dsp:txXfrm>
    </dsp:sp>
    <dsp:sp modelId="{15AE7F63-E70E-42A6-B56D-06C414DEC8A3}">
      <dsp:nvSpPr>
        <dsp:cNvPr id="0" name=""/>
        <dsp:cNvSpPr/>
      </dsp:nvSpPr>
      <dsp:spPr>
        <a:xfrm rot="5400000">
          <a:off x="2237938" y="300350"/>
          <a:ext cx="1468223" cy="1468223"/>
        </a:xfrm>
        <a:prstGeom prst="pieWedge">
          <a:avLst/>
        </a:prstGeom>
        <a:solidFill>
          <a:srgbClr val="A2D3F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GB" sz="1200" kern="1200" dirty="0"/>
        </a:p>
      </dsp:txBody>
      <dsp:txXfrm rot="-5400000">
        <a:off x="2237938" y="730383"/>
        <a:ext cx="1038190" cy="1038190"/>
      </dsp:txXfrm>
    </dsp:sp>
    <dsp:sp modelId="{C0EFE986-D5C7-4721-9B13-C6E5E1929A85}">
      <dsp:nvSpPr>
        <dsp:cNvPr id="0" name=""/>
        <dsp:cNvSpPr/>
      </dsp:nvSpPr>
      <dsp:spPr>
        <a:xfrm rot="10800000">
          <a:off x="2237938" y="1836390"/>
          <a:ext cx="1468223" cy="1468223"/>
        </a:xfrm>
        <a:prstGeom prst="pieWedge">
          <a:avLst/>
        </a:prstGeom>
        <a:solidFill>
          <a:srgbClr val="E3EDC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endParaRPr lang="en-GB" sz="1200" kern="1200" dirty="0"/>
        </a:p>
      </dsp:txBody>
      <dsp:txXfrm rot="10800000">
        <a:off x="2237938" y="1836390"/>
        <a:ext cx="1038190" cy="1038190"/>
      </dsp:txXfrm>
    </dsp:sp>
    <dsp:sp modelId="{E7CC8D35-0DA1-47F2-8E6C-7543C0A4F021}">
      <dsp:nvSpPr>
        <dsp:cNvPr id="0" name=""/>
        <dsp:cNvSpPr/>
      </dsp:nvSpPr>
      <dsp:spPr>
        <a:xfrm rot="16200000">
          <a:off x="701898" y="1836390"/>
          <a:ext cx="1468223" cy="1468223"/>
        </a:xfrm>
        <a:prstGeom prst="pieWedge">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r" defTabSz="533400">
            <a:lnSpc>
              <a:spcPct val="90000"/>
            </a:lnSpc>
            <a:spcBef>
              <a:spcPct val="0"/>
            </a:spcBef>
            <a:spcAft>
              <a:spcPct val="35000"/>
            </a:spcAft>
            <a:buNone/>
          </a:pPr>
          <a:endParaRPr lang="en-GB" sz="1200" kern="1200" dirty="0"/>
        </a:p>
      </dsp:txBody>
      <dsp:txXfrm rot="5400000">
        <a:off x="1131931" y="1836390"/>
        <a:ext cx="1038190" cy="1038190"/>
      </dsp:txXfrm>
    </dsp:sp>
    <dsp:sp modelId="{273D3EB9-CDD3-40FC-9989-150C9167A88A}">
      <dsp:nvSpPr>
        <dsp:cNvPr id="0" name=""/>
        <dsp:cNvSpPr/>
      </dsp:nvSpPr>
      <dsp:spPr>
        <a:xfrm>
          <a:off x="1950566" y="1497308"/>
          <a:ext cx="506926" cy="440806"/>
        </a:xfrm>
        <a:prstGeom prst="circularArrow">
          <a:avLst/>
        </a:prstGeom>
        <a:solidFill>
          <a:srgbClr val="C62B3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ECBA7C0-AF88-406B-853C-ECFC4C66AE53}">
      <dsp:nvSpPr>
        <dsp:cNvPr id="0" name=""/>
        <dsp:cNvSpPr/>
      </dsp:nvSpPr>
      <dsp:spPr>
        <a:xfrm rot="10800000">
          <a:off x="1950566" y="1666849"/>
          <a:ext cx="506926" cy="440806"/>
        </a:xfrm>
        <a:prstGeom prst="circularArrow">
          <a:avLst/>
        </a:prstGeom>
        <a:solidFill>
          <a:srgbClr val="C62B3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nl-BE"/>
          </a:p>
        </p:txBody>
      </p:sp>
      <p:sp>
        <p:nvSpPr>
          <p:cNvPr id="3" name="Tijdelijke aanduiding voor datum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13090D84-FF70-48F6-987A-439967A75C2D}" type="datetimeFigureOut">
              <a:rPr lang="nl-BE" smtClean="0"/>
              <a:t>30/05/2023</a:t>
            </a:fld>
            <a:endParaRPr lang="nl-BE"/>
          </a:p>
        </p:txBody>
      </p:sp>
      <p:sp>
        <p:nvSpPr>
          <p:cNvPr id="4" name="Tijdelijke aanduiding voor dia-afbeelding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nl-BE"/>
          </a:p>
        </p:txBody>
      </p:sp>
      <p:sp>
        <p:nvSpPr>
          <p:cNvPr id="5" name="Tijdelijke aanduiding voor notities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6" name="Tijdelijke aanduiding voor voettekst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nl-BE"/>
          </a:p>
        </p:txBody>
      </p:sp>
      <p:sp>
        <p:nvSpPr>
          <p:cNvPr id="7" name="Tijdelijke aanduiding voor dianumm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B33D2FD6-10FC-41C8-82C9-A24BD001B765}" type="slidenum">
              <a:rPr lang="nl-BE" smtClean="0"/>
              <a:t>‹nr.›</a:t>
            </a:fld>
            <a:endParaRPr lang="nl-BE"/>
          </a:p>
        </p:txBody>
      </p:sp>
    </p:spTree>
    <p:extLst>
      <p:ext uri="{BB962C8B-B14F-4D97-AF65-F5344CB8AC3E}">
        <p14:creationId xmlns:p14="http://schemas.microsoft.com/office/powerpoint/2010/main" val="14329318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3D2FD6-10FC-41C8-82C9-A24BD001B765}" type="slidenum">
              <a:rPr kumimoji="0" lang="nl-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222956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solidFill>
                <a:schemeClr val="accent6"/>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E82B2B9E-3D49-4731-9D4A-383969E01ACB}" type="slidenum">
              <a:rPr kumimoji="0" lang="en-BE" sz="1200" b="0" i="0" u="none" strike="noStrike" kern="0" cap="none" spc="0" normalizeH="0" baseline="0" noProof="0" smtClean="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lang="en-BE" sz="12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949102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err="1"/>
              <a:t>Volop</a:t>
            </a:r>
            <a:r>
              <a:rPr lang="en-US" dirty="0"/>
              <a:t> in </a:t>
            </a:r>
            <a:r>
              <a:rPr lang="en-US" dirty="0" err="1"/>
              <a:t>energietransitie</a:t>
            </a:r>
            <a:endParaRPr lang="en-US" dirty="0"/>
          </a:p>
          <a:p>
            <a:r>
              <a:rPr lang="en-US" dirty="0" err="1"/>
              <a:t>Verankering</a:t>
            </a:r>
            <a:r>
              <a:rPr lang="en-US" dirty="0"/>
              <a:t> </a:t>
            </a:r>
            <a:r>
              <a:rPr lang="en-US" dirty="0" err="1"/>
              <a:t>principe</a:t>
            </a:r>
            <a:r>
              <a:rPr lang="en-US" dirty="0"/>
              <a:t> </a:t>
            </a:r>
            <a:r>
              <a:rPr lang="en-US" dirty="0" err="1"/>
              <a:t>terugdraaiende</a:t>
            </a:r>
            <a:r>
              <a:rPr lang="en-US" dirty="0"/>
              <a:t> teller tot </a:t>
            </a:r>
            <a:r>
              <a:rPr lang="en-US" dirty="0" err="1"/>
              <a:t>eind</a:t>
            </a:r>
            <a:r>
              <a:rPr lang="en-US" dirty="0"/>
              <a:t> 2035 is </a:t>
            </a:r>
            <a:r>
              <a:rPr lang="en-US" dirty="0" err="1"/>
              <a:t>Marktverstorend</a:t>
            </a:r>
            <a:r>
              <a:rPr lang="en-US" dirty="0"/>
              <a:t> </a:t>
            </a:r>
            <a:r>
              <a:rPr lang="en-US" dirty="0" err="1"/>
              <a:t>en</a:t>
            </a:r>
            <a:r>
              <a:rPr lang="en-US" dirty="0"/>
              <a:t> </a:t>
            </a:r>
            <a:r>
              <a:rPr lang="en-US" dirty="0" err="1"/>
              <a:t>belemmert</a:t>
            </a:r>
            <a:r>
              <a:rPr lang="en-US" dirty="0"/>
              <a:t> </a:t>
            </a:r>
            <a:r>
              <a:rPr lang="en-US" dirty="0" err="1"/>
              <a:t>energietranisitie</a:t>
            </a:r>
            <a:endParaRPr lang="en-US" dirty="0"/>
          </a:p>
          <a:p>
            <a:pPr lvl="1"/>
            <a:r>
              <a:rPr lang="en-US" sz="1400" dirty="0" err="1"/>
              <a:t>gemiste</a:t>
            </a:r>
            <a:r>
              <a:rPr lang="en-US" sz="1400" dirty="0"/>
              <a:t> </a:t>
            </a:r>
            <a:r>
              <a:rPr lang="en-US" sz="1400" dirty="0" err="1"/>
              <a:t>kans</a:t>
            </a:r>
            <a:r>
              <a:rPr lang="en-US" sz="1400" dirty="0"/>
              <a:t> </a:t>
            </a:r>
            <a:r>
              <a:rPr lang="en-US" sz="1400" dirty="0" err="1"/>
              <a:t>voor</a:t>
            </a:r>
            <a:r>
              <a:rPr lang="en-US" sz="1400" dirty="0"/>
              <a:t> </a:t>
            </a:r>
            <a:r>
              <a:rPr lang="en-US" sz="1400" dirty="0" err="1"/>
              <a:t>technologische</a:t>
            </a:r>
            <a:r>
              <a:rPr lang="en-US" sz="1400" dirty="0"/>
              <a:t>, </a:t>
            </a:r>
            <a:r>
              <a:rPr lang="en-US" sz="1400" dirty="0" err="1"/>
              <a:t>commerciële</a:t>
            </a:r>
            <a:r>
              <a:rPr lang="en-US" sz="1400" dirty="0"/>
              <a:t> </a:t>
            </a:r>
            <a:r>
              <a:rPr lang="en-US" sz="1400" dirty="0" err="1"/>
              <a:t>en</a:t>
            </a:r>
            <a:r>
              <a:rPr lang="en-US" sz="1400" dirty="0"/>
              <a:t> </a:t>
            </a:r>
            <a:r>
              <a:rPr lang="en-US" sz="1400" dirty="0" err="1"/>
              <a:t>innovatieve</a:t>
            </a:r>
            <a:r>
              <a:rPr lang="en-US" sz="1400" dirty="0"/>
              <a:t> </a:t>
            </a:r>
            <a:r>
              <a:rPr lang="en-US" sz="1400" dirty="0" err="1"/>
              <a:t>ontwikkelingen</a:t>
            </a:r>
            <a:endParaRPr lang="en-US" sz="1400" dirty="0"/>
          </a:p>
          <a:p>
            <a:r>
              <a:rPr lang="nl-BE" dirty="0"/>
              <a:t>Overgangsmaatregel voor PV </a:t>
            </a:r>
            <a:r>
              <a:rPr lang="en-US" dirty="0" err="1"/>
              <a:t>installaties</a:t>
            </a:r>
            <a:r>
              <a:rPr lang="en-US" dirty="0"/>
              <a:t> </a:t>
            </a:r>
            <a:r>
              <a:rPr lang="nl-BE" dirty="0"/>
              <a:t>geïnstalleerd tot en met eind 2020 </a:t>
            </a:r>
            <a:r>
              <a:rPr lang="nl-BE" b="1" dirty="0"/>
              <a:t>niet uitvoerbaar in de markt</a:t>
            </a:r>
          </a:p>
          <a:p>
            <a:pPr lvl="1"/>
            <a:r>
              <a:rPr lang="en-US" sz="1400" dirty="0" err="1"/>
              <a:t>Samenlezing</a:t>
            </a:r>
            <a:r>
              <a:rPr lang="en-US" sz="1400" dirty="0"/>
              <a:t> van de </a:t>
            </a:r>
            <a:r>
              <a:rPr lang="en-US" sz="1400" dirty="0" err="1"/>
              <a:t>modaliteiten</a:t>
            </a:r>
            <a:r>
              <a:rPr lang="en-US" sz="1400" dirty="0"/>
              <a:t> </a:t>
            </a:r>
            <a:r>
              <a:rPr lang="en-US" sz="1400" dirty="0" err="1"/>
              <a:t>mbt</a:t>
            </a:r>
            <a:r>
              <a:rPr lang="en-US" sz="1400" dirty="0"/>
              <a:t> de </a:t>
            </a:r>
            <a:r>
              <a:rPr lang="en-US" sz="1400" dirty="0" err="1"/>
              <a:t>overgangsmaatregel</a:t>
            </a:r>
            <a:r>
              <a:rPr lang="en-US" sz="1400" dirty="0"/>
              <a:t> in het </a:t>
            </a:r>
            <a:r>
              <a:rPr lang="en-US" sz="1400" dirty="0" err="1"/>
              <a:t>energiedecreet</a:t>
            </a:r>
            <a:r>
              <a:rPr lang="en-US" sz="1400" dirty="0"/>
              <a:t> </a:t>
            </a:r>
            <a:r>
              <a:rPr lang="en-US" sz="1400" dirty="0" err="1"/>
              <a:t>en</a:t>
            </a:r>
            <a:r>
              <a:rPr lang="en-US" sz="1400" dirty="0"/>
              <a:t> de </a:t>
            </a:r>
            <a:r>
              <a:rPr lang="en-US" sz="1400" dirty="0" err="1"/>
              <a:t>tariefmethodologie</a:t>
            </a:r>
            <a:r>
              <a:rPr lang="en-US" sz="1400" dirty="0"/>
              <a:t> is </a:t>
            </a:r>
            <a:r>
              <a:rPr lang="en-US" sz="1400" dirty="0" err="1"/>
              <a:t>onwerkbaar</a:t>
            </a:r>
            <a:r>
              <a:rPr lang="en-US" sz="1400" dirty="0"/>
              <a:t> in de </a:t>
            </a:r>
            <a:r>
              <a:rPr lang="en-US" sz="1400" dirty="0" err="1"/>
              <a:t>markt</a:t>
            </a:r>
            <a:r>
              <a:rPr lang="en-US" sz="1400" dirty="0"/>
              <a:t> =&gt; </a:t>
            </a:r>
            <a:r>
              <a:rPr lang="en-US" sz="1400" dirty="0" err="1"/>
              <a:t>Enkel</a:t>
            </a:r>
            <a:r>
              <a:rPr lang="en-US" sz="1400" dirty="0"/>
              <a:t> </a:t>
            </a:r>
            <a:r>
              <a:rPr lang="en-US" sz="1400" dirty="0" err="1"/>
              <a:t>mogelijk</a:t>
            </a:r>
            <a:r>
              <a:rPr lang="en-US" sz="1400" dirty="0"/>
              <a:t> via </a:t>
            </a:r>
            <a:r>
              <a:rPr lang="en-US" sz="1400" dirty="0" err="1"/>
              <a:t>manuele</a:t>
            </a:r>
            <a:r>
              <a:rPr lang="en-US" sz="1400" dirty="0"/>
              <a:t> </a:t>
            </a:r>
            <a:r>
              <a:rPr lang="en-US" sz="1400" dirty="0" err="1"/>
              <a:t>verwerking</a:t>
            </a:r>
            <a:endParaRPr lang="en-US" sz="1400" dirty="0"/>
          </a:p>
          <a:p>
            <a:r>
              <a:rPr lang="en-US" dirty="0" err="1"/>
              <a:t>Nieuwe</a:t>
            </a:r>
            <a:r>
              <a:rPr lang="en-US" dirty="0"/>
              <a:t> </a:t>
            </a:r>
            <a:r>
              <a:rPr lang="en-US" dirty="0" err="1"/>
              <a:t>installaties</a:t>
            </a:r>
            <a:r>
              <a:rPr lang="en-US" dirty="0"/>
              <a:t>: </a:t>
            </a:r>
            <a:r>
              <a:rPr lang="en-US" dirty="0" err="1"/>
              <a:t>terugkoopverplichting</a:t>
            </a:r>
            <a:r>
              <a:rPr lang="en-US" dirty="0"/>
              <a:t> </a:t>
            </a:r>
            <a:r>
              <a:rPr lang="en-US" dirty="0" err="1"/>
              <a:t>voor</a:t>
            </a:r>
            <a:r>
              <a:rPr lang="en-US" dirty="0"/>
              <a:t> </a:t>
            </a:r>
            <a:r>
              <a:rPr lang="en-US" dirty="0" err="1"/>
              <a:t>injectie</a:t>
            </a:r>
            <a:r>
              <a:rPr lang="en-US" dirty="0"/>
              <a:t> van PV </a:t>
            </a:r>
            <a:r>
              <a:rPr lang="en-US" dirty="0" err="1"/>
              <a:t>installaties</a:t>
            </a:r>
            <a:r>
              <a:rPr lang="en-US" dirty="0"/>
              <a:t> </a:t>
            </a:r>
            <a:r>
              <a:rPr lang="en-US" dirty="0" err="1"/>
              <a:t>na</a:t>
            </a:r>
            <a:r>
              <a:rPr lang="en-US" dirty="0"/>
              <a:t> 2020: =&gt;waken over </a:t>
            </a:r>
            <a:r>
              <a:rPr lang="en-US" dirty="0" err="1"/>
              <a:t>prije</a:t>
            </a:r>
            <a:r>
              <a:rPr lang="en-US" dirty="0"/>
              <a:t> </a:t>
            </a:r>
            <a:r>
              <a:rPr lang="en-US" dirty="0" err="1"/>
              <a:t>prijsvorming</a:t>
            </a:r>
            <a:endParaRPr lang="en-US" dirty="0"/>
          </a:p>
          <a:p>
            <a:r>
              <a:rPr lang="en-US" dirty="0" err="1"/>
              <a:t>Overweeg</a:t>
            </a:r>
            <a:r>
              <a:rPr lang="en-US" dirty="0"/>
              <a:t> </a:t>
            </a:r>
            <a:r>
              <a:rPr lang="en-US" dirty="0" err="1"/>
              <a:t>degelijke</a:t>
            </a:r>
            <a:r>
              <a:rPr lang="en-US" dirty="0"/>
              <a:t> </a:t>
            </a:r>
            <a:r>
              <a:rPr lang="en-US" dirty="0" err="1"/>
              <a:t>marktoplossingen</a:t>
            </a:r>
            <a:r>
              <a:rPr lang="en-US" dirty="0"/>
              <a:t> die de </a:t>
            </a:r>
            <a:r>
              <a:rPr lang="en-US" dirty="0" err="1"/>
              <a:t>energietransitie</a:t>
            </a:r>
            <a:r>
              <a:rPr lang="en-US" dirty="0"/>
              <a:t> </a:t>
            </a:r>
            <a:r>
              <a:rPr lang="en-US" dirty="0" err="1"/>
              <a:t>stimuleren</a:t>
            </a:r>
            <a:r>
              <a:rPr lang="en-US" dirty="0"/>
              <a:t> </a:t>
            </a:r>
          </a:p>
          <a:p>
            <a:pPr lvl="1"/>
            <a:r>
              <a:rPr lang="en-US" sz="1400" dirty="0" err="1"/>
              <a:t>Zoeken</a:t>
            </a:r>
            <a:r>
              <a:rPr lang="en-US" sz="1400" dirty="0"/>
              <a:t> </a:t>
            </a:r>
            <a:r>
              <a:rPr lang="en-US" sz="1400" dirty="0" err="1"/>
              <a:t>naar</a:t>
            </a:r>
            <a:r>
              <a:rPr lang="en-US" sz="1400" dirty="0"/>
              <a:t> </a:t>
            </a:r>
            <a:r>
              <a:rPr lang="en-US" sz="1400" dirty="0" err="1"/>
              <a:t>alternatieve</a:t>
            </a:r>
            <a:r>
              <a:rPr lang="en-US" sz="1400" dirty="0"/>
              <a:t> </a:t>
            </a:r>
            <a:r>
              <a:rPr lang="en-US" sz="1400" dirty="0" err="1"/>
              <a:t>mechanismen</a:t>
            </a:r>
            <a:r>
              <a:rPr lang="en-US" sz="1400" dirty="0"/>
              <a:t> met </a:t>
            </a:r>
            <a:r>
              <a:rPr lang="en-US" sz="1400" dirty="0" err="1"/>
              <a:t>garantie</a:t>
            </a:r>
            <a:r>
              <a:rPr lang="en-US" sz="1400" dirty="0"/>
              <a:t> tot </a:t>
            </a:r>
            <a:r>
              <a:rPr lang="en-US" sz="1400" dirty="0" err="1"/>
              <a:t>terugverdientijd</a:t>
            </a:r>
            <a:r>
              <a:rPr lang="en-US" sz="1400" dirty="0"/>
              <a:t> van de PV</a:t>
            </a:r>
          </a:p>
          <a:p>
            <a:r>
              <a:rPr lang="en-US" sz="1400" dirty="0"/>
              <a:t>Wat </a:t>
            </a:r>
            <a:r>
              <a:rPr lang="en-US" sz="1400" dirty="0" err="1"/>
              <a:t>zijn</a:t>
            </a:r>
            <a:r>
              <a:rPr lang="en-US" sz="1400" dirty="0"/>
              <a:t> nu de </a:t>
            </a:r>
            <a:r>
              <a:rPr lang="en-US" sz="1400" dirty="0" err="1"/>
              <a:t>opties</a:t>
            </a:r>
            <a:r>
              <a:rPr lang="en-US" dirty="0"/>
              <a:t>?</a:t>
            </a:r>
            <a:endParaRPr lang="nl-BE" dirty="0"/>
          </a:p>
        </p:txBody>
      </p:sp>
      <p:sp>
        <p:nvSpPr>
          <p:cNvPr id="4" name="Slide Number Placeholder 3"/>
          <p:cNvSpPr>
            <a:spLocks noGrp="1"/>
          </p:cNvSpPr>
          <p:nvPr>
            <p:ph type="sldNum" sz="quarter" idx="10"/>
          </p:nvPr>
        </p:nvSpPr>
        <p:spPr/>
        <p:txBody>
          <a:bodyPr/>
          <a:lstStyle/>
          <a:p>
            <a:fld id="{B33D2FD6-10FC-41C8-82C9-A24BD001B765}" type="slidenum">
              <a:rPr lang="nl-BE" smtClean="0"/>
              <a:t>23</a:t>
            </a:fld>
            <a:endParaRPr lang="nl-BE"/>
          </a:p>
        </p:txBody>
      </p:sp>
    </p:spTree>
    <p:extLst>
      <p:ext uri="{BB962C8B-B14F-4D97-AF65-F5344CB8AC3E}">
        <p14:creationId xmlns:p14="http://schemas.microsoft.com/office/powerpoint/2010/main" val="29486297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fr-BE"/>
              <a:t>The </a:t>
            </a:r>
            <a:r>
              <a:rPr lang="fr-BE" err="1"/>
              <a:t>electricity</a:t>
            </a:r>
            <a:r>
              <a:rPr lang="fr-BE"/>
              <a:t> production </a:t>
            </a:r>
            <a:r>
              <a:rPr lang="fr-BE" err="1"/>
              <a:t>is</a:t>
            </a:r>
            <a:r>
              <a:rPr lang="fr-BE"/>
              <a:t> </a:t>
            </a:r>
            <a:r>
              <a:rPr lang="fr-BE" err="1"/>
              <a:t>linked</a:t>
            </a:r>
            <a:r>
              <a:rPr lang="fr-BE"/>
              <a:t> to the final </a:t>
            </a:r>
            <a:r>
              <a:rPr lang="fr-BE" err="1"/>
              <a:t>demand</a:t>
            </a:r>
            <a:r>
              <a:rPr lang="fr-BE"/>
              <a:t> and not to the final production (network </a:t>
            </a:r>
            <a:r>
              <a:rPr lang="fr-BE" err="1"/>
              <a:t>loss</a:t>
            </a:r>
            <a:r>
              <a:rPr lang="fr-BE"/>
              <a:t>, </a:t>
            </a:r>
            <a:r>
              <a:rPr lang="fr-BE" err="1"/>
              <a:t>sold</a:t>
            </a:r>
            <a:r>
              <a:rPr lang="fr-BE"/>
              <a:t> </a:t>
            </a:r>
            <a:r>
              <a:rPr lang="fr-BE" err="1"/>
              <a:t>pumping</a:t>
            </a:r>
            <a:r>
              <a:rPr lang="fr-BE"/>
              <a:t> and </a:t>
            </a:r>
            <a:r>
              <a:rPr lang="fr-BE" err="1"/>
              <a:t>turbining</a:t>
            </a:r>
            <a:r>
              <a:rPr lang="fr-BE"/>
              <a:t>). </a:t>
            </a:r>
          </a:p>
          <a:p>
            <a:pPr marL="171450" indent="-171450">
              <a:buFont typeface="Arial" panose="020B0604020202020204" pitchFamily="34" charset="0"/>
              <a:buChar char="•"/>
            </a:pPr>
            <a:r>
              <a:rPr lang="en-US"/>
              <a:t>Oil use by type of vehicle in the transport sector is based on last year's proportions. The total of oil used in the transport sector is updated. </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1EE4437-11E2-4F94-AA2C-87443BD23A6B}" type="slidenum">
              <a:rPr kumimoji="0" lang="en-US" sz="1200" b="1" i="0" u="none" strike="noStrike" kern="1200" cap="none" spc="0" normalizeH="0" baseline="0" noProof="0" smtClean="0">
                <a:ln>
                  <a:noFill/>
                </a:ln>
                <a:solidFill>
                  <a:prstClr val="black"/>
                </a:solidFill>
                <a:effectLst/>
                <a:uLnTx/>
                <a:uFillTx/>
                <a:latin typeface="Arial Narrow" charset="0"/>
                <a:ea typeface="+mn-ea"/>
                <a:cs typeface="Arial"/>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1" i="0" u="none" strike="noStrike" kern="1200" cap="none" spc="0" normalizeH="0" baseline="0" noProof="0">
              <a:ln>
                <a:noFill/>
              </a:ln>
              <a:solidFill>
                <a:prstClr val="black"/>
              </a:solidFill>
              <a:effectLst/>
              <a:uLnTx/>
              <a:uFillTx/>
              <a:latin typeface="Arial Narrow" charset="0"/>
              <a:ea typeface="+mn-ea"/>
              <a:cs typeface="Arial"/>
            </a:endParaRPr>
          </a:p>
        </p:txBody>
      </p:sp>
    </p:spTree>
    <p:extLst>
      <p:ext uri="{BB962C8B-B14F-4D97-AF65-F5344CB8AC3E}">
        <p14:creationId xmlns:p14="http://schemas.microsoft.com/office/powerpoint/2010/main" val="2138404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84 TWh </a:t>
            </a:r>
            <a:r>
              <a:rPr lang="it-IT" dirty="0">
                <a:sym typeface="Wingdings" panose="05000000000000000000" pitchFamily="2" charset="2"/>
              </a:rPr>
              <a:t> https://www.creg.be/nl/opvallende-feiten-uit-het-jaarverslag-2021-van-de-creg#:~:text=De%20totale%20elektriciteitsproductie%20in%20Belgi%C3%AB,jaarbasis%20tot%2093%2C3%20TWh.</a:t>
            </a:r>
            <a:endParaRPr lang="it-IT"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0BEC11-AD77-45C5-A3CF-5302E1FB43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21878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image" Target="../media/image19.pn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9.jpeg"/><Relationship Id="rId21" Type="http://schemas.openxmlformats.org/officeDocument/2006/relationships/image" Target="../media/image27.jpeg"/><Relationship Id="rId34" Type="http://schemas.openxmlformats.org/officeDocument/2006/relationships/image" Target="../media/image40.PNG"/><Relationship Id="rId7" Type="http://schemas.openxmlformats.org/officeDocument/2006/relationships/image" Target="../media/image13.jpeg"/><Relationship Id="rId12" Type="http://schemas.openxmlformats.org/officeDocument/2006/relationships/image" Target="../media/image18.jpeg"/><Relationship Id="rId17" Type="http://schemas.openxmlformats.org/officeDocument/2006/relationships/image" Target="../media/image23.jpeg"/><Relationship Id="rId25" Type="http://schemas.openxmlformats.org/officeDocument/2006/relationships/image" Target="../media/image31.png"/><Relationship Id="rId33" Type="http://schemas.openxmlformats.org/officeDocument/2006/relationships/image" Target="../media/image39.jpeg"/><Relationship Id="rId38" Type="http://schemas.openxmlformats.org/officeDocument/2006/relationships/image" Target="../media/image55.jpeg"/><Relationship Id="rId2" Type="http://schemas.openxmlformats.org/officeDocument/2006/relationships/hyperlink" Target="http://www.eneco.be/" TargetMode="External"/><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35.jpeg"/><Relationship Id="rId1" Type="http://schemas.openxmlformats.org/officeDocument/2006/relationships/slideMaster" Target="../slideMasters/slideMaster4.xml"/><Relationship Id="rId6" Type="http://schemas.openxmlformats.org/officeDocument/2006/relationships/image" Target="../media/image12.jpeg"/><Relationship Id="rId11" Type="http://schemas.openxmlformats.org/officeDocument/2006/relationships/image" Target="../media/image17.jpeg"/><Relationship Id="rId24" Type="http://schemas.openxmlformats.org/officeDocument/2006/relationships/image" Target="../media/image30.png"/><Relationship Id="rId32" Type="http://schemas.openxmlformats.org/officeDocument/2006/relationships/image" Target="../media/image38.jpeg"/><Relationship Id="rId37" Type="http://schemas.openxmlformats.org/officeDocument/2006/relationships/image" Target="../media/image53.jpe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34.png"/><Relationship Id="rId36" Type="http://schemas.openxmlformats.org/officeDocument/2006/relationships/image" Target="../media/image52.png"/><Relationship Id="rId10" Type="http://schemas.openxmlformats.org/officeDocument/2006/relationships/image" Target="../media/image16.jpeg"/><Relationship Id="rId19" Type="http://schemas.openxmlformats.org/officeDocument/2006/relationships/image" Target="../media/image25.png"/><Relationship Id="rId31" Type="http://schemas.openxmlformats.org/officeDocument/2006/relationships/image" Target="../media/image37.JPG"/><Relationship Id="rId4" Type="http://schemas.openxmlformats.org/officeDocument/2006/relationships/image" Target="../media/image10.jpeg"/><Relationship Id="rId9" Type="http://schemas.openxmlformats.org/officeDocument/2006/relationships/image" Target="../media/image15.jpe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png"/><Relationship Id="rId30" Type="http://schemas.openxmlformats.org/officeDocument/2006/relationships/image" Target="../media/image36.png"/><Relationship Id="rId35" Type="http://schemas.openxmlformats.org/officeDocument/2006/relationships/image" Target="../media/image51.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jpeg"/><Relationship Id="rId18" Type="http://schemas.openxmlformats.org/officeDocument/2006/relationships/image" Target="../media/image22.png"/><Relationship Id="rId26" Type="http://schemas.openxmlformats.org/officeDocument/2006/relationships/image" Target="../media/image29.png"/><Relationship Id="rId3" Type="http://schemas.openxmlformats.org/officeDocument/2006/relationships/image" Target="../media/image9.jpeg"/><Relationship Id="rId21" Type="http://schemas.openxmlformats.org/officeDocument/2006/relationships/image" Target="../media/image24.png"/><Relationship Id="rId34" Type="http://schemas.openxmlformats.org/officeDocument/2006/relationships/image" Target="../media/image37.JPG"/><Relationship Id="rId7" Type="http://schemas.openxmlformats.org/officeDocument/2006/relationships/image" Target="../media/image56.jpeg"/><Relationship Id="rId12" Type="http://schemas.openxmlformats.org/officeDocument/2006/relationships/image" Target="../media/image17.jpeg"/><Relationship Id="rId17" Type="http://schemas.openxmlformats.org/officeDocument/2006/relationships/image" Target="../media/image21.png"/><Relationship Id="rId25" Type="http://schemas.openxmlformats.org/officeDocument/2006/relationships/image" Target="../media/image28.png"/><Relationship Id="rId33" Type="http://schemas.openxmlformats.org/officeDocument/2006/relationships/image" Target="../media/image36.png"/><Relationship Id="rId2" Type="http://schemas.openxmlformats.org/officeDocument/2006/relationships/hyperlink" Target="http://www.eneco.be/" TargetMode="External"/><Relationship Id="rId16" Type="http://schemas.openxmlformats.org/officeDocument/2006/relationships/image" Target="../media/image20.png"/><Relationship Id="rId20" Type="http://schemas.openxmlformats.org/officeDocument/2006/relationships/image" Target="../media/image23.jpeg"/><Relationship Id="rId29" Type="http://schemas.openxmlformats.org/officeDocument/2006/relationships/image" Target="../media/image32.png"/><Relationship Id="rId1" Type="http://schemas.openxmlformats.org/officeDocument/2006/relationships/slideMaster" Target="../slideMasters/slideMaster5.xml"/><Relationship Id="rId6" Type="http://schemas.openxmlformats.org/officeDocument/2006/relationships/image" Target="../media/image12.jpeg"/><Relationship Id="rId11" Type="http://schemas.openxmlformats.org/officeDocument/2006/relationships/image" Target="../media/image16.jpeg"/><Relationship Id="rId24" Type="http://schemas.openxmlformats.org/officeDocument/2006/relationships/image" Target="../media/image27.jpeg"/><Relationship Id="rId32" Type="http://schemas.openxmlformats.org/officeDocument/2006/relationships/image" Target="../media/image60.jpeg"/><Relationship Id="rId5" Type="http://schemas.openxmlformats.org/officeDocument/2006/relationships/image" Target="../media/image11.png"/><Relationship Id="rId15" Type="http://schemas.openxmlformats.org/officeDocument/2006/relationships/image" Target="../media/image19.png"/><Relationship Id="rId23" Type="http://schemas.openxmlformats.org/officeDocument/2006/relationships/image" Target="../media/image26.png"/><Relationship Id="rId28" Type="http://schemas.openxmlformats.org/officeDocument/2006/relationships/image" Target="../media/image31.png"/><Relationship Id="rId10" Type="http://schemas.openxmlformats.org/officeDocument/2006/relationships/image" Target="../media/image15.jpeg"/><Relationship Id="rId19" Type="http://schemas.openxmlformats.org/officeDocument/2006/relationships/image" Target="../media/image59.png"/><Relationship Id="rId31" Type="http://schemas.openxmlformats.org/officeDocument/2006/relationships/image" Target="../media/image34.png"/><Relationship Id="rId4" Type="http://schemas.openxmlformats.org/officeDocument/2006/relationships/image" Target="../media/image10.jpeg"/><Relationship Id="rId9" Type="http://schemas.openxmlformats.org/officeDocument/2006/relationships/image" Target="../media/image57.jpeg"/><Relationship Id="rId14" Type="http://schemas.openxmlformats.org/officeDocument/2006/relationships/image" Target="../media/image58.jpeg"/><Relationship Id="rId22" Type="http://schemas.openxmlformats.org/officeDocument/2006/relationships/image" Target="../media/image25.png"/><Relationship Id="rId27" Type="http://schemas.openxmlformats.org/officeDocument/2006/relationships/image" Target="../media/image30.png"/><Relationship Id="rId30" Type="http://schemas.openxmlformats.org/officeDocument/2006/relationships/image" Target="../media/image33.png"/><Relationship Id="rId35" Type="http://schemas.openxmlformats.org/officeDocument/2006/relationships/image" Target="../media/image38.jpe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6.xml"/><Relationship Id="rId4" Type="http://schemas.openxmlformats.org/officeDocument/2006/relationships/image" Target="../media/image63.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8.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6.xml"/><Relationship Id="rId4" Type="http://schemas.openxmlformats.org/officeDocument/2006/relationships/image" Target="../media/image66.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8.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0.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Master" Target="../slideMasters/slideMaster6.xml"/><Relationship Id="rId4" Type="http://schemas.openxmlformats.org/officeDocument/2006/relationships/image" Target="../media/image66.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3.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4.jpeg"/><Relationship Id="rId1" Type="http://schemas.openxmlformats.org/officeDocument/2006/relationships/slideMaster" Target="../slideMasters/slideMaster6.xml"/><Relationship Id="rId4" Type="http://schemas.openxmlformats.org/officeDocument/2006/relationships/image" Target="../media/image66.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4.jpeg"/><Relationship Id="rId1" Type="http://schemas.openxmlformats.org/officeDocument/2006/relationships/slideMaster" Target="../slideMasters/slideMaster6.xml"/><Relationship Id="rId4" Type="http://schemas.openxmlformats.org/officeDocument/2006/relationships/image" Target="../media/image69.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5.jpeg"/><Relationship Id="rId1" Type="http://schemas.openxmlformats.org/officeDocument/2006/relationships/slideMaster" Target="../slideMasters/slideMaster6.xml"/><Relationship Id="rId4" Type="http://schemas.openxmlformats.org/officeDocument/2006/relationships/image" Target="../media/image66.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5.jpeg"/><Relationship Id="rId1" Type="http://schemas.openxmlformats.org/officeDocument/2006/relationships/slideMaster" Target="../slideMasters/slideMaster6.xml"/><Relationship Id="rId4" Type="http://schemas.openxmlformats.org/officeDocument/2006/relationships/image" Target="../media/image69.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6.jpeg"/><Relationship Id="rId1" Type="http://schemas.openxmlformats.org/officeDocument/2006/relationships/slideMaster" Target="../slideMasters/slideMaster6.xml"/><Relationship Id="rId4" Type="http://schemas.openxmlformats.org/officeDocument/2006/relationships/image" Target="../media/image66.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7.jpeg"/><Relationship Id="rId1" Type="http://schemas.openxmlformats.org/officeDocument/2006/relationships/slideMaster" Target="../slideMasters/slideMaster6.xml"/><Relationship Id="rId4" Type="http://schemas.openxmlformats.org/officeDocument/2006/relationships/image" Target="../media/image66.png"/></Relationships>
</file>

<file path=ppt/slideLayouts/_rels/slideLayout168.xml.rels><?xml version="1.0" encoding="UTF-8" standalone="yes"?>
<Relationships xmlns="http://schemas.openxmlformats.org/package/2006/relationships"><Relationship Id="rId3" Type="http://schemas.openxmlformats.org/officeDocument/2006/relationships/hyperlink" Target="https://www.sia-partners.com/en" TargetMode="External"/><Relationship Id="rId2" Type="http://schemas.openxmlformats.org/officeDocument/2006/relationships/image" Target="../media/image78.jpeg"/><Relationship Id="rId1" Type="http://schemas.openxmlformats.org/officeDocument/2006/relationships/slideMaster" Target="../slideMasters/slideMaster6.xml"/><Relationship Id="rId6" Type="http://schemas.openxmlformats.org/officeDocument/2006/relationships/image" Target="../media/image66.png"/><Relationship Id="rId5" Type="http://schemas.openxmlformats.org/officeDocument/2006/relationships/image" Target="../media/image68.png"/><Relationship Id="rId4" Type="http://schemas.openxmlformats.org/officeDocument/2006/relationships/hyperlink" Target="http://www.sia-partners.com/" TargetMode="External"/></Relationships>
</file>

<file path=ppt/slideLayouts/_rels/slideLayout169.xml.rels><?xml version="1.0" encoding="UTF-8" standalone="yes"?>
<Relationships xmlns="http://schemas.openxmlformats.org/package/2006/relationships"><Relationship Id="rId3" Type="http://schemas.openxmlformats.org/officeDocument/2006/relationships/hyperlink" Target="https://www.sia-partners.com/en" TargetMode="External"/><Relationship Id="rId2" Type="http://schemas.openxmlformats.org/officeDocument/2006/relationships/image" Target="../media/image78.jpeg"/><Relationship Id="rId1" Type="http://schemas.openxmlformats.org/officeDocument/2006/relationships/slideMaster" Target="../slideMasters/slideMaster6.xml"/><Relationship Id="rId6" Type="http://schemas.openxmlformats.org/officeDocument/2006/relationships/image" Target="../media/image66.png"/><Relationship Id="rId5" Type="http://schemas.openxmlformats.org/officeDocument/2006/relationships/image" Target="../media/image68.png"/><Relationship Id="rId4" Type="http://schemas.openxmlformats.org/officeDocument/2006/relationships/hyperlink" Target="http://www.sia-partners.com/" TargetMode="Externa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9.jpeg"/><Relationship Id="rId1" Type="http://schemas.openxmlformats.org/officeDocument/2006/relationships/slideMaster" Target="../slideMasters/slideMaster6.xml"/><Relationship Id="rId4" Type="http://schemas.openxmlformats.org/officeDocument/2006/relationships/image" Target="../media/image66.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80.jpeg"/><Relationship Id="rId1" Type="http://schemas.openxmlformats.org/officeDocument/2006/relationships/slideMaster" Target="../slideMasters/slideMaster6.xml"/><Relationship Id="rId4" Type="http://schemas.openxmlformats.org/officeDocument/2006/relationships/image" Target="../media/image66.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81.jpeg"/><Relationship Id="rId1" Type="http://schemas.openxmlformats.org/officeDocument/2006/relationships/slideMaster" Target="../slideMasters/slideMaster6.xml"/><Relationship Id="rId4" Type="http://schemas.openxmlformats.org/officeDocument/2006/relationships/image" Target="../media/image66.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image" Target="../media/image19.pn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9.jpeg"/><Relationship Id="rId21" Type="http://schemas.openxmlformats.org/officeDocument/2006/relationships/image" Target="../media/image27.jpeg"/><Relationship Id="rId34" Type="http://schemas.openxmlformats.org/officeDocument/2006/relationships/image" Target="../media/image40.PNG"/><Relationship Id="rId7" Type="http://schemas.openxmlformats.org/officeDocument/2006/relationships/image" Target="../media/image13.jpeg"/><Relationship Id="rId12" Type="http://schemas.openxmlformats.org/officeDocument/2006/relationships/image" Target="../media/image18.jpeg"/><Relationship Id="rId17" Type="http://schemas.openxmlformats.org/officeDocument/2006/relationships/image" Target="../media/image23.jpeg"/><Relationship Id="rId25" Type="http://schemas.openxmlformats.org/officeDocument/2006/relationships/image" Target="../media/image31.png"/><Relationship Id="rId33" Type="http://schemas.openxmlformats.org/officeDocument/2006/relationships/image" Target="../media/image39.jpeg"/><Relationship Id="rId2" Type="http://schemas.openxmlformats.org/officeDocument/2006/relationships/hyperlink" Target="http://www.eneco.be/" TargetMode="External"/><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35.jpeg"/><Relationship Id="rId1" Type="http://schemas.openxmlformats.org/officeDocument/2006/relationships/slideMaster" Target="../slideMasters/slideMaster1.xml"/><Relationship Id="rId6" Type="http://schemas.openxmlformats.org/officeDocument/2006/relationships/image" Target="../media/image12.jpeg"/><Relationship Id="rId11" Type="http://schemas.openxmlformats.org/officeDocument/2006/relationships/image" Target="../media/image17.jpeg"/><Relationship Id="rId24" Type="http://schemas.openxmlformats.org/officeDocument/2006/relationships/image" Target="../media/image30.png"/><Relationship Id="rId32" Type="http://schemas.openxmlformats.org/officeDocument/2006/relationships/image" Target="../media/image38.jpe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34.png"/><Relationship Id="rId10" Type="http://schemas.openxmlformats.org/officeDocument/2006/relationships/image" Target="../media/image16.jpeg"/><Relationship Id="rId19" Type="http://schemas.openxmlformats.org/officeDocument/2006/relationships/image" Target="../media/image25.png"/><Relationship Id="rId31" Type="http://schemas.openxmlformats.org/officeDocument/2006/relationships/image" Target="../media/image37.JPG"/><Relationship Id="rId4" Type="http://schemas.openxmlformats.org/officeDocument/2006/relationships/image" Target="../media/image10.jpeg"/><Relationship Id="rId9" Type="http://schemas.openxmlformats.org/officeDocument/2006/relationships/image" Target="../media/image15.jpe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png"/><Relationship Id="rId30" Type="http://schemas.openxmlformats.org/officeDocument/2006/relationships/image" Target="../media/image36.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2.emf"/><Relationship Id="rId5" Type="http://schemas.openxmlformats.org/officeDocument/2006/relationships/image" Target="../media/image43.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image" Target="../media/image19.pn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9.jpeg"/><Relationship Id="rId21" Type="http://schemas.openxmlformats.org/officeDocument/2006/relationships/image" Target="../media/image27.jpeg"/><Relationship Id="rId34" Type="http://schemas.openxmlformats.org/officeDocument/2006/relationships/image" Target="../media/image40.PNG"/><Relationship Id="rId7" Type="http://schemas.openxmlformats.org/officeDocument/2006/relationships/image" Target="../media/image13.jpeg"/><Relationship Id="rId12" Type="http://schemas.openxmlformats.org/officeDocument/2006/relationships/image" Target="../media/image18.jpeg"/><Relationship Id="rId17" Type="http://schemas.openxmlformats.org/officeDocument/2006/relationships/image" Target="../media/image23.jpeg"/><Relationship Id="rId25" Type="http://schemas.openxmlformats.org/officeDocument/2006/relationships/image" Target="../media/image31.png"/><Relationship Id="rId33" Type="http://schemas.openxmlformats.org/officeDocument/2006/relationships/image" Target="../media/image50.jpeg"/><Relationship Id="rId38" Type="http://schemas.openxmlformats.org/officeDocument/2006/relationships/image" Target="../media/image54.jpeg"/><Relationship Id="rId2" Type="http://schemas.openxmlformats.org/officeDocument/2006/relationships/hyperlink" Target="http://www.eneco.be/" TargetMode="External"/><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35.jpeg"/><Relationship Id="rId1" Type="http://schemas.openxmlformats.org/officeDocument/2006/relationships/slideMaster" Target="../slideMasters/slideMaster2.xml"/><Relationship Id="rId6" Type="http://schemas.openxmlformats.org/officeDocument/2006/relationships/image" Target="../media/image12.jpeg"/><Relationship Id="rId11" Type="http://schemas.openxmlformats.org/officeDocument/2006/relationships/image" Target="../media/image17.jpeg"/><Relationship Id="rId24" Type="http://schemas.openxmlformats.org/officeDocument/2006/relationships/image" Target="../media/image30.png"/><Relationship Id="rId32" Type="http://schemas.openxmlformats.org/officeDocument/2006/relationships/image" Target="../media/image38.jpeg"/><Relationship Id="rId37" Type="http://schemas.openxmlformats.org/officeDocument/2006/relationships/image" Target="../media/image53.jpe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34.png"/><Relationship Id="rId36" Type="http://schemas.openxmlformats.org/officeDocument/2006/relationships/image" Target="../media/image52.png"/><Relationship Id="rId10" Type="http://schemas.openxmlformats.org/officeDocument/2006/relationships/image" Target="../media/image48.jpeg"/><Relationship Id="rId19" Type="http://schemas.openxmlformats.org/officeDocument/2006/relationships/image" Target="../media/image49.png"/><Relationship Id="rId31" Type="http://schemas.openxmlformats.org/officeDocument/2006/relationships/image" Target="../media/image37.JPG"/><Relationship Id="rId4" Type="http://schemas.openxmlformats.org/officeDocument/2006/relationships/image" Target="../media/image10.jpeg"/><Relationship Id="rId9" Type="http://schemas.openxmlformats.org/officeDocument/2006/relationships/image" Target="../media/image47.jpe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png"/><Relationship Id="rId30" Type="http://schemas.openxmlformats.org/officeDocument/2006/relationships/image" Target="../media/image36.png"/><Relationship Id="rId35" Type="http://schemas.openxmlformats.org/officeDocument/2006/relationships/image" Target="../media/image51.jpe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bg>
      <p:bgPr>
        <a:solidFill>
          <a:srgbClr val="C62B37"/>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bg1"/>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bg1"/>
                </a:solidFill>
              </a:defRPr>
            </a:lvl1pPr>
          </a:lstStyle>
          <a:p>
            <a:fld id="{022FBEFF-EBBF-4E87-8B40-6CCE83520150}" type="datetime1">
              <a:rPr lang="nl-BE" smtClean="0"/>
              <a:t>30/05/2023</a:t>
            </a:fld>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bg1"/>
                </a:solidFill>
              </a:defRPr>
            </a:lvl1pPr>
          </a:lstStyle>
          <a:p>
            <a:endParaRPr lang="nl-BE" dirty="0"/>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bg1"/>
                </a:solidFill>
              </a:defRPr>
            </a:lvl1pPr>
          </a:lstStyle>
          <a:p>
            <a:fld id="{9BE375CD-4755-4D83-B134-E6AD5007676A}" type="slidenum">
              <a:rPr lang="nl-BE" smtClean="0"/>
              <a:pPr/>
              <a:t>‹nr.›</a:t>
            </a:fld>
            <a:endParaRPr lang="nl-BE" dirty="0"/>
          </a:p>
        </p:txBody>
      </p:sp>
      <p:grpSp>
        <p:nvGrpSpPr>
          <p:cNvPr id="7" name="Group 7"/>
          <p:cNvGrpSpPr>
            <a:grpSpLocks noChangeAspect="1"/>
          </p:cNvGrpSpPr>
          <p:nvPr userDrawn="1"/>
        </p:nvGrpSpPr>
        <p:grpSpPr bwMode="auto">
          <a:xfrm>
            <a:off x="11064875" y="6416042"/>
            <a:ext cx="600076" cy="258577"/>
            <a:chOff x="4371" y="191"/>
            <a:chExt cx="5592" cy="2723"/>
          </a:xfrm>
        </p:grpSpPr>
        <p:sp>
          <p:nvSpPr>
            <p:cNvPr id="8" name="Freeform 9"/>
            <p:cNvSpPr>
              <a:spLocks/>
            </p:cNvSpPr>
            <p:nvPr/>
          </p:nvSpPr>
          <p:spPr bwMode="auto">
            <a:xfrm>
              <a:off x="4649" y="1284"/>
              <a:ext cx="1811" cy="920"/>
            </a:xfrm>
            <a:custGeom>
              <a:avLst/>
              <a:gdLst>
                <a:gd name="T0" fmla="*/ 68 w 1811"/>
                <a:gd name="T1" fmla="*/ 0 h 920"/>
                <a:gd name="T2" fmla="*/ 611 w 1811"/>
                <a:gd name="T3" fmla="*/ 58 h 920"/>
                <a:gd name="T4" fmla="*/ 581 w 1811"/>
                <a:gd name="T5" fmla="*/ 189 h 920"/>
                <a:gd name="T6" fmla="*/ 582 w 1811"/>
                <a:gd name="T7" fmla="*/ 330 h 920"/>
                <a:gd name="T8" fmla="*/ 616 w 1811"/>
                <a:gd name="T9" fmla="*/ 454 h 920"/>
                <a:gd name="T10" fmla="*/ 686 w 1811"/>
                <a:gd name="T11" fmla="*/ 564 h 920"/>
                <a:gd name="T12" fmla="*/ 786 w 1811"/>
                <a:gd name="T13" fmla="*/ 657 h 920"/>
                <a:gd name="T14" fmla="*/ 903 w 1811"/>
                <a:gd name="T15" fmla="*/ 722 h 920"/>
                <a:gd name="T16" fmla="*/ 1032 w 1811"/>
                <a:gd name="T17" fmla="*/ 754 h 920"/>
                <a:gd name="T18" fmla="*/ 1641 w 1811"/>
                <a:gd name="T19" fmla="*/ 757 h 920"/>
                <a:gd name="T20" fmla="*/ 1657 w 1811"/>
                <a:gd name="T21" fmla="*/ 776 h 920"/>
                <a:gd name="T22" fmla="*/ 1672 w 1811"/>
                <a:gd name="T23" fmla="*/ 795 h 920"/>
                <a:gd name="T24" fmla="*/ 1689 w 1811"/>
                <a:gd name="T25" fmla="*/ 813 h 920"/>
                <a:gd name="T26" fmla="*/ 1758 w 1811"/>
                <a:gd name="T27" fmla="*/ 880 h 920"/>
                <a:gd name="T28" fmla="*/ 1102 w 1811"/>
                <a:gd name="T29" fmla="*/ 920 h 920"/>
                <a:gd name="T30" fmla="*/ 951 w 1811"/>
                <a:gd name="T31" fmla="*/ 905 h 920"/>
                <a:gd name="T32" fmla="*/ 811 w 1811"/>
                <a:gd name="T33" fmla="*/ 858 h 920"/>
                <a:gd name="T34" fmla="*/ 682 w 1811"/>
                <a:gd name="T35" fmla="*/ 780 h 920"/>
                <a:gd name="T36" fmla="*/ 569 w 1811"/>
                <a:gd name="T37" fmla="*/ 671 h 920"/>
                <a:gd name="T38" fmla="*/ 486 w 1811"/>
                <a:gd name="T39" fmla="*/ 549 h 920"/>
                <a:gd name="T40" fmla="*/ 435 w 1811"/>
                <a:gd name="T41" fmla="*/ 413 h 920"/>
                <a:gd name="T42" fmla="*/ 418 w 1811"/>
                <a:gd name="T43" fmla="*/ 263 h 920"/>
                <a:gd name="T44" fmla="*/ 426 w 1811"/>
                <a:gd name="T45" fmla="*/ 146 h 920"/>
                <a:gd name="T46" fmla="*/ 153 w 1811"/>
                <a:gd name="T47" fmla="*/ 839 h 920"/>
                <a:gd name="T48" fmla="*/ 150 w 1811"/>
                <a:gd name="T49" fmla="*/ 868 h 920"/>
                <a:gd name="T50" fmla="*/ 122 w 1811"/>
                <a:gd name="T51" fmla="*/ 905 h 920"/>
                <a:gd name="T52" fmla="*/ 77 w 1811"/>
                <a:gd name="T53" fmla="*/ 920 h 920"/>
                <a:gd name="T54" fmla="*/ 33 w 1811"/>
                <a:gd name="T55" fmla="*/ 905 h 920"/>
                <a:gd name="T56" fmla="*/ 5 w 1811"/>
                <a:gd name="T57" fmla="*/ 868 h 920"/>
                <a:gd name="T58" fmla="*/ 2 w 1811"/>
                <a:gd name="T59" fmla="*/ 842 h 920"/>
                <a:gd name="T60" fmla="*/ 0 w 1811"/>
                <a:gd name="T61" fmla="*/ 70 h 920"/>
                <a:gd name="T62" fmla="*/ 2 w 1811"/>
                <a:gd name="T63" fmla="*/ 60 h 920"/>
                <a:gd name="T64" fmla="*/ 9 w 1811"/>
                <a:gd name="T65" fmla="*/ 36 h 920"/>
                <a:gd name="T66" fmla="*/ 27 w 1811"/>
                <a:gd name="T67" fmla="*/ 11 h 920"/>
                <a:gd name="T68" fmla="*/ 68 w 1811"/>
                <a:gd name="T69"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1" h="920">
                  <a:moveTo>
                    <a:pt x="68" y="0"/>
                  </a:moveTo>
                  <a:lnTo>
                    <a:pt x="68" y="0"/>
                  </a:lnTo>
                  <a:lnTo>
                    <a:pt x="637" y="0"/>
                  </a:lnTo>
                  <a:lnTo>
                    <a:pt x="611" y="58"/>
                  </a:lnTo>
                  <a:lnTo>
                    <a:pt x="593" y="121"/>
                  </a:lnTo>
                  <a:lnTo>
                    <a:pt x="581" y="189"/>
                  </a:lnTo>
                  <a:lnTo>
                    <a:pt x="577" y="263"/>
                  </a:lnTo>
                  <a:lnTo>
                    <a:pt x="582" y="330"/>
                  </a:lnTo>
                  <a:lnTo>
                    <a:pt x="594" y="392"/>
                  </a:lnTo>
                  <a:lnTo>
                    <a:pt x="616" y="454"/>
                  </a:lnTo>
                  <a:lnTo>
                    <a:pt x="647" y="510"/>
                  </a:lnTo>
                  <a:lnTo>
                    <a:pt x="686" y="564"/>
                  </a:lnTo>
                  <a:lnTo>
                    <a:pt x="733" y="613"/>
                  </a:lnTo>
                  <a:lnTo>
                    <a:pt x="786" y="657"/>
                  </a:lnTo>
                  <a:lnTo>
                    <a:pt x="844" y="693"/>
                  </a:lnTo>
                  <a:lnTo>
                    <a:pt x="903" y="722"/>
                  </a:lnTo>
                  <a:lnTo>
                    <a:pt x="966" y="742"/>
                  </a:lnTo>
                  <a:lnTo>
                    <a:pt x="1032" y="754"/>
                  </a:lnTo>
                  <a:lnTo>
                    <a:pt x="1102" y="757"/>
                  </a:lnTo>
                  <a:lnTo>
                    <a:pt x="1641" y="757"/>
                  </a:lnTo>
                  <a:lnTo>
                    <a:pt x="1641" y="757"/>
                  </a:lnTo>
                  <a:lnTo>
                    <a:pt x="1657" y="776"/>
                  </a:lnTo>
                  <a:lnTo>
                    <a:pt x="1658" y="778"/>
                  </a:lnTo>
                  <a:lnTo>
                    <a:pt x="1672" y="795"/>
                  </a:lnTo>
                  <a:lnTo>
                    <a:pt x="1677" y="802"/>
                  </a:lnTo>
                  <a:lnTo>
                    <a:pt x="1689" y="813"/>
                  </a:lnTo>
                  <a:lnTo>
                    <a:pt x="1707" y="832"/>
                  </a:lnTo>
                  <a:lnTo>
                    <a:pt x="1758" y="880"/>
                  </a:lnTo>
                  <a:lnTo>
                    <a:pt x="1811" y="920"/>
                  </a:lnTo>
                  <a:lnTo>
                    <a:pt x="1102" y="920"/>
                  </a:lnTo>
                  <a:lnTo>
                    <a:pt x="1025" y="917"/>
                  </a:lnTo>
                  <a:lnTo>
                    <a:pt x="951" y="905"/>
                  </a:lnTo>
                  <a:lnTo>
                    <a:pt x="879" y="885"/>
                  </a:lnTo>
                  <a:lnTo>
                    <a:pt x="811" y="858"/>
                  </a:lnTo>
                  <a:lnTo>
                    <a:pt x="745" y="822"/>
                  </a:lnTo>
                  <a:lnTo>
                    <a:pt x="682" y="780"/>
                  </a:lnTo>
                  <a:lnTo>
                    <a:pt x="623" y="729"/>
                  </a:lnTo>
                  <a:lnTo>
                    <a:pt x="569" y="671"/>
                  </a:lnTo>
                  <a:lnTo>
                    <a:pt x="523" y="611"/>
                  </a:lnTo>
                  <a:lnTo>
                    <a:pt x="486" y="549"/>
                  </a:lnTo>
                  <a:lnTo>
                    <a:pt x="457" y="482"/>
                  </a:lnTo>
                  <a:lnTo>
                    <a:pt x="435" y="413"/>
                  </a:lnTo>
                  <a:lnTo>
                    <a:pt x="423" y="340"/>
                  </a:lnTo>
                  <a:lnTo>
                    <a:pt x="418" y="263"/>
                  </a:lnTo>
                  <a:lnTo>
                    <a:pt x="421" y="204"/>
                  </a:lnTo>
                  <a:lnTo>
                    <a:pt x="426" y="146"/>
                  </a:lnTo>
                  <a:lnTo>
                    <a:pt x="153" y="146"/>
                  </a:lnTo>
                  <a:lnTo>
                    <a:pt x="153" y="839"/>
                  </a:lnTo>
                  <a:lnTo>
                    <a:pt x="153" y="844"/>
                  </a:lnTo>
                  <a:lnTo>
                    <a:pt x="150" y="868"/>
                  </a:lnTo>
                  <a:lnTo>
                    <a:pt x="138" y="890"/>
                  </a:lnTo>
                  <a:lnTo>
                    <a:pt x="122" y="905"/>
                  </a:lnTo>
                  <a:lnTo>
                    <a:pt x="100" y="917"/>
                  </a:lnTo>
                  <a:lnTo>
                    <a:pt x="77" y="920"/>
                  </a:lnTo>
                  <a:lnTo>
                    <a:pt x="53" y="917"/>
                  </a:lnTo>
                  <a:lnTo>
                    <a:pt x="33" y="905"/>
                  </a:lnTo>
                  <a:lnTo>
                    <a:pt x="16" y="890"/>
                  </a:lnTo>
                  <a:lnTo>
                    <a:pt x="5" y="868"/>
                  </a:lnTo>
                  <a:lnTo>
                    <a:pt x="0" y="844"/>
                  </a:lnTo>
                  <a:lnTo>
                    <a:pt x="2" y="842"/>
                  </a:lnTo>
                  <a:lnTo>
                    <a:pt x="0" y="842"/>
                  </a:lnTo>
                  <a:lnTo>
                    <a:pt x="0" y="70"/>
                  </a:lnTo>
                  <a:lnTo>
                    <a:pt x="0" y="68"/>
                  </a:lnTo>
                  <a:lnTo>
                    <a:pt x="2" y="60"/>
                  </a:lnTo>
                  <a:lnTo>
                    <a:pt x="4" y="48"/>
                  </a:lnTo>
                  <a:lnTo>
                    <a:pt x="9" y="36"/>
                  </a:lnTo>
                  <a:lnTo>
                    <a:pt x="16" y="22"/>
                  </a:lnTo>
                  <a:lnTo>
                    <a:pt x="27" y="11"/>
                  </a:lnTo>
                  <a:lnTo>
                    <a:pt x="44" y="4"/>
                  </a:lnTo>
                  <a:lnTo>
                    <a:pt x="6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9" name="Freeform 10"/>
            <p:cNvSpPr>
              <a:spLocks noEditPoints="1"/>
            </p:cNvSpPr>
            <p:nvPr/>
          </p:nvSpPr>
          <p:spPr bwMode="auto">
            <a:xfrm>
              <a:off x="6528" y="1152"/>
              <a:ext cx="784" cy="789"/>
            </a:xfrm>
            <a:custGeom>
              <a:avLst/>
              <a:gdLst>
                <a:gd name="T0" fmla="*/ 341 w 784"/>
                <a:gd name="T1" fmla="*/ 166 h 789"/>
                <a:gd name="T2" fmla="*/ 259 w 784"/>
                <a:gd name="T3" fmla="*/ 200 h 789"/>
                <a:gd name="T4" fmla="*/ 195 w 784"/>
                <a:gd name="T5" fmla="*/ 266 h 789"/>
                <a:gd name="T6" fmla="*/ 163 w 784"/>
                <a:gd name="T7" fmla="*/ 351 h 789"/>
                <a:gd name="T8" fmla="*/ 163 w 784"/>
                <a:gd name="T9" fmla="*/ 445 h 789"/>
                <a:gd name="T10" fmla="*/ 197 w 784"/>
                <a:gd name="T11" fmla="*/ 526 h 789"/>
                <a:gd name="T12" fmla="*/ 261 w 784"/>
                <a:gd name="T13" fmla="*/ 591 h 789"/>
                <a:gd name="T14" fmla="*/ 343 w 784"/>
                <a:gd name="T15" fmla="*/ 623 h 789"/>
                <a:gd name="T16" fmla="*/ 436 w 784"/>
                <a:gd name="T17" fmla="*/ 623 h 789"/>
                <a:gd name="T18" fmla="*/ 519 w 784"/>
                <a:gd name="T19" fmla="*/ 591 h 789"/>
                <a:gd name="T20" fmla="*/ 585 w 784"/>
                <a:gd name="T21" fmla="*/ 526 h 789"/>
                <a:gd name="T22" fmla="*/ 621 w 784"/>
                <a:gd name="T23" fmla="*/ 445 h 789"/>
                <a:gd name="T24" fmla="*/ 621 w 784"/>
                <a:gd name="T25" fmla="*/ 351 h 789"/>
                <a:gd name="T26" fmla="*/ 587 w 784"/>
                <a:gd name="T27" fmla="*/ 266 h 789"/>
                <a:gd name="T28" fmla="*/ 521 w 784"/>
                <a:gd name="T29" fmla="*/ 200 h 789"/>
                <a:gd name="T30" fmla="*/ 436 w 784"/>
                <a:gd name="T31" fmla="*/ 166 h 789"/>
                <a:gd name="T32" fmla="*/ 388 w 784"/>
                <a:gd name="T33" fmla="*/ 0 h 789"/>
                <a:gd name="T34" fmla="*/ 512 w 784"/>
                <a:gd name="T35" fmla="*/ 19 h 789"/>
                <a:gd name="T36" fmla="*/ 621 w 784"/>
                <a:gd name="T37" fmla="*/ 75 h 789"/>
                <a:gd name="T38" fmla="*/ 711 w 784"/>
                <a:gd name="T39" fmla="*/ 166 h 789"/>
                <a:gd name="T40" fmla="*/ 765 w 784"/>
                <a:gd name="T41" fmla="*/ 275 h 789"/>
                <a:gd name="T42" fmla="*/ 784 w 784"/>
                <a:gd name="T43" fmla="*/ 399 h 789"/>
                <a:gd name="T44" fmla="*/ 765 w 784"/>
                <a:gd name="T45" fmla="*/ 519 h 789"/>
                <a:gd name="T46" fmla="*/ 709 w 784"/>
                <a:gd name="T47" fmla="*/ 626 h 789"/>
                <a:gd name="T48" fmla="*/ 619 w 784"/>
                <a:gd name="T49" fmla="*/ 716 h 789"/>
                <a:gd name="T50" fmla="*/ 512 w 784"/>
                <a:gd name="T51" fmla="*/ 772 h 789"/>
                <a:gd name="T52" fmla="*/ 388 w 784"/>
                <a:gd name="T53" fmla="*/ 789 h 789"/>
                <a:gd name="T54" fmla="*/ 266 w 784"/>
                <a:gd name="T55" fmla="*/ 772 h 789"/>
                <a:gd name="T56" fmla="*/ 159 w 784"/>
                <a:gd name="T57" fmla="*/ 718 h 789"/>
                <a:gd name="T58" fmla="*/ 73 w 784"/>
                <a:gd name="T59" fmla="*/ 630 h 789"/>
                <a:gd name="T60" fmla="*/ 19 w 784"/>
                <a:gd name="T61" fmla="*/ 523 h 789"/>
                <a:gd name="T62" fmla="*/ 0 w 784"/>
                <a:gd name="T63" fmla="*/ 399 h 789"/>
                <a:gd name="T64" fmla="*/ 19 w 784"/>
                <a:gd name="T65" fmla="*/ 275 h 789"/>
                <a:gd name="T66" fmla="*/ 73 w 784"/>
                <a:gd name="T67" fmla="*/ 166 h 789"/>
                <a:gd name="T68" fmla="*/ 163 w 784"/>
                <a:gd name="T69" fmla="*/ 75 h 789"/>
                <a:gd name="T70" fmla="*/ 268 w 784"/>
                <a:gd name="T71" fmla="*/ 19 h 789"/>
                <a:gd name="T72" fmla="*/ 388 w 784"/>
                <a:gd name="T7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4" h="789">
                  <a:moveTo>
                    <a:pt x="388" y="161"/>
                  </a:moveTo>
                  <a:lnTo>
                    <a:pt x="341" y="166"/>
                  </a:lnTo>
                  <a:lnTo>
                    <a:pt x="299" y="178"/>
                  </a:lnTo>
                  <a:lnTo>
                    <a:pt x="259" y="200"/>
                  </a:lnTo>
                  <a:lnTo>
                    <a:pt x="224" y="229"/>
                  </a:lnTo>
                  <a:lnTo>
                    <a:pt x="195" y="266"/>
                  </a:lnTo>
                  <a:lnTo>
                    <a:pt x="175" y="305"/>
                  </a:lnTo>
                  <a:lnTo>
                    <a:pt x="163" y="351"/>
                  </a:lnTo>
                  <a:lnTo>
                    <a:pt x="159" y="399"/>
                  </a:lnTo>
                  <a:lnTo>
                    <a:pt x="163" y="445"/>
                  </a:lnTo>
                  <a:lnTo>
                    <a:pt x="175" y="487"/>
                  </a:lnTo>
                  <a:lnTo>
                    <a:pt x="197" y="526"/>
                  </a:lnTo>
                  <a:lnTo>
                    <a:pt x="226" y="562"/>
                  </a:lnTo>
                  <a:lnTo>
                    <a:pt x="261" y="591"/>
                  </a:lnTo>
                  <a:lnTo>
                    <a:pt x="300" y="611"/>
                  </a:lnTo>
                  <a:lnTo>
                    <a:pt x="343" y="623"/>
                  </a:lnTo>
                  <a:lnTo>
                    <a:pt x="388" y="628"/>
                  </a:lnTo>
                  <a:lnTo>
                    <a:pt x="436" y="623"/>
                  </a:lnTo>
                  <a:lnTo>
                    <a:pt x="478" y="611"/>
                  </a:lnTo>
                  <a:lnTo>
                    <a:pt x="519" y="591"/>
                  </a:lnTo>
                  <a:lnTo>
                    <a:pt x="555" y="562"/>
                  </a:lnTo>
                  <a:lnTo>
                    <a:pt x="585" y="526"/>
                  </a:lnTo>
                  <a:lnTo>
                    <a:pt x="607" y="487"/>
                  </a:lnTo>
                  <a:lnTo>
                    <a:pt x="621" y="445"/>
                  </a:lnTo>
                  <a:lnTo>
                    <a:pt x="624" y="399"/>
                  </a:lnTo>
                  <a:lnTo>
                    <a:pt x="621" y="351"/>
                  </a:lnTo>
                  <a:lnTo>
                    <a:pt x="607" y="305"/>
                  </a:lnTo>
                  <a:lnTo>
                    <a:pt x="587" y="266"/>
                  </a:lnTo>
                  <a:lnTo>
                    <a:pt x="556" y="229"/>
                  </a:lnTo>
                  <a:lnTo>
                    <a:pt x="521" y="200"/>
                  </a:lnTo>
                  <a:lnTo>
                    <a:pt x="480" y="178"/>
                  </a:lnTo>
                  <a:lnTo>
                    <a:pt x="436" y="166"/>
                  </a:lnTo>
                  <a:lnTo>
                    <a:pt x="388" y="161"/>
                  </a:lnTo>
                  <a:close/>
                  <a:moveTo>
                    <a:pt x="388" y="0"/>
                  </a:moveTo>
                  <a:lnTo>
                    <a:pt x="453" y="5"/>
                  </a:lnTo>
                  <a:lnTo>
                    <a:pt x="512" y="19"/>
                  </a:lnTo>
                  <a:lnTo>
                    <a:pt x="570" y="42"/>
                  </a:lnTo>
                  <a:lnTo>
                    <a:pt x="621" y="75"/>
                  </a:lnTo>
                  <a:lnTo>
                    <a:pt x="668" y="117"/>
                  </a:lnTo>
                  <a:lnTo>
                    <a:pt x="711" y="166"/>
                  </a:lnTo>
                  <a:lnTo>
                    <a:pt x="743" y="219"/>
                  </a:lnTo>
                  <a:lnTo>
                    <a:pt x="765" y="275"/>
                  </a:lnTo>
                  <a:lnTo>
                    <a:pt x="779" y="334"/>
                  </a:lnTo>
                  <a:lnTo>
                    <a:pt x="784" y="399"/>
                  </a:lnTo>
                  <a:lnTo>
                    <a:pt x="779" y="462"/>
                  </a:lnTo>
                  <a:lnTo>
                    <a:pt x="765" y="519"/>
                  </a:lnTo>
                  <a:lnTo>
                    <a:pt x="741" y="575"/>
                  </a:lnTo>
                  <a:lnTo>
                    <a:pt x="709" y="626"/>
                  </a:lnTo>
                  <a:lnTo>
                    <a:pt x="668" y="674"/>
                  </a:lnTo>
                  <a:lnTo>
                    <a:pt x="619" y="716"/>
                  </a:lnTo>
                  <a:lnTo>
                    <a:pt x="567" y="749"/>
                  </a:lnTo>
                  <a:lnTo>
                    <a:pt x="512" y="772"/>
                  </a:lnTo>
                  <a:lnTo>
                    <a:pt x="451" y="786"/>
                  </a:lnTo>
                  <a:lnTo>
                    <a:pt x="388" y="789"/>
                  </a:lnTo>
                  <a:lnTo>
                    <a:pt x="326" y="786"/>
                  </a:lnTo>
                  <a:lnTo>
                    <a:pt x="266" y="772"/>
                  </a:lnTo>
                  <a:lnTo>
                    <a:pt x="212" y="750"/>
                  </a:lnTo>
                  <a:lnTo>
                    <a:pt x="159" y="718"/>
                  </a:lnTo>
                  <a:lnTo>
                    <a:pt x="114" y="677"/>
                  </a:lnTo>
                  <a:lnTo>
                    <a:pt x="73" y="630"/>
                  </a:lnTo>
                  <a:lnTo>
                    <a:pt x="41" y="579"/>
                  </a:lnTo>
                  <a:lnTo>
                    <a:pt x="19" y="523"/>
                  </a:lnTo>
                  <a:lnTo>
                    <a:pt x="5" y="463"/>
                  </a:lnTo>
                  <a:lnTo>
                    <a:pt x="0" y="399"/>
                  </a:lnTo>
                  <a:lnTo>
                    <a:pt x="5" y="334"/>
                  </a:lnTo>
                  <a:lnTo>
                    <a:pt x="19" y="275"/>
                  </a:lnTo>
                  <a:lnTo>
                    <a:pt x="41" y="219"/>
                  </a:lnTo>
                  <a:lnTo>
                    <a:pt x="73" y="166"/>
                  </a:lnTo>
                  <a:lnTo>
                    <a:pt x="114" y="117"/>
                  </a:lnTo>
                  <a:lnTo>
                    <a:pt x="163" y="75"/>
                  </a:lnTo>
                  <a:lnTo>
                    <a:pt x="214" y="42"/>
                  </a:lnTo>
                  <a:lnTo>
                    <a:pt x="268" y="19"/>
                  </a:lnTo>
                  <a:lnTo>
                    <a:pt x="327" y="5"/>
                  </a:lnTo>
                  <a:lnTo>
                    <a:pt x="3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0" name="Freeform 11"/>
            <p:cNvSpPr>
              <a:spLocks/>
            </p:cNvSpPr>
            <p:nvPr/>
          </p:nvSpPr>
          <p:spPr bwMode="auto">
            <a:xfrm>
              <a:off x="4371" y="191"/>
              <a:ext cx="5327" cy="2450"/>
            </a:xfrm>
            <a:custGeom>
              <a:avLst/>
              <a:gdLst>
                <a:gd name="T0" fmla="*/ 2282 w 5327"/>
                <a:gd name="T1" fmla="*/ 127 h 2450"/>
                <a:gd name="T2" fmla="*/ 2342 w 5327"/>
                <a:gd name="T3" fmla="*/ 739 h 2450"/>
                <a:gd name="T4" fmla="*/ 2773 w 5327"/>
                <a:gd name="T5" fmla="*/ 737 h 2450"/>
                <a:gd name="T6" fmla="*/ 3136 w 5327"/>
                <a:gd name="T7" fmla="*/ 1061 h 2450"/>
                <a:gd name="T8" fmla="*/ 3448 w 5327"/>
                <a:gd name="T9" fmla="*/ 749 h 2450"/>
                <a:gd name="T10" fmla="*/ 3968 w 5327"/>
                <a:gd name="T11" fmla="*/ 720 h 2450"/>
                <a:gd name="T12" fmla="*/ 4337 w 5327"/>
                <a:gd name="T13" fmla="*/ 1017 h 2450"/>
                <a:gd name="T14" fmla="*/ 4422 w 5327"/>
                <a:gd name="T15" fmla="*/ 1353 h 2450"/>
                <a:gd name="T16" fmla="*/ 4617 w 5327"/>
                <a:gd name="T17" fmla="*/ 1767 h 2450"/>
                <a:gd name="T18" fmla="*/ 5060 w 5327"/>
                <a:gd name="T19" fmla="*/ 1852 h 2450"/>
                <a:gd name="T20" fmla="*/ 5322 w 5327"/>
                <a:gd name="T21" fmla="*/ 2129 h 2450"/>
                <a:gd name="T22" fmla="*/ 5089 w 5327"/>
                <a:gd name="T23" fmla="*/ 2433 h 2450"/>
                <a:gd name="T24" fmla="*/ 4826 w 5327"/>
                <a:gd name="T25" fmla="*/ 2419 h 2450"/>
                <a:gd name="T26" fmla="*/ 4813 w 5327"/>
                <a:gd name="T27" fmla="*/ 2283 h 2450"/>
                <a:gd name="T28" fmla="*/ 4886 w 5327"/>
                <a:gd name="T29" fmla="*/ 2273 h 2450"/>
                <a:gd name="T30" fmla="*/ 5062 w 5327"/>
                <a:gd name="T31" fmla="*/ 2278 h 2450"/>
                <a:gd name="T32" fmla="*/ 5179 w 5327"/>
                <a:gd name="T33" fmla="*/ 2007 h 2450"/>
                <a:gd name="T34" fmla="*/ 4852 w 5327"/>
                <a:gd name="T35" fmla="*/ 2003 h 2450"/>
                <a:gd name="T36" fmla="*/ 4417 w 5327"/>
                <a:gd name="T37" fmla="*/ 1755 h 2450"/>
                <a:gd name="T38" fmla="*/ 4271 w 5327"/>
                <a:gd name="T39" fmla="*/ 1312 h 2450"/>
                <a:gd name="T40" fmla="*/ 4096 w 5327"/>
                <a:gd name="T41" fmla="*/ 961 h 2450"/>
                <a:gd name="T42" fmla="*/ 3679 w 5327"/>
                <a:gd name="T43" fmla="*/ 847 h 2450"/>
                <a:gd name="T44" fmla="*/ 3312 w 5327"/>
                <a:gd name="T45" fmla="*/ 1064 h 2450"/>
                <a:gd name="T46" fmla="*/ 3255 w 5327"/>
                <a:gd name="T47" fmla="*/ 1485 h 2450"/>
                <a:gd name="T48" fmla="*/ 3562 w 5327"/>
                <a:gd name="T49" fmla="*/ 1815 h 2450"/>
                <a:gd name="T50" fmla="*/ 4424 w 5327"/>
                <a:gd name="T51" fmla="*/ 1973 h 2450"/>
                <a:gd name="T52" fmla="*/ 3406 w 5327"/>
                <a:gd name="T53" fmla="*/ 1915 h 2450"/>
                <a:gd name="T54" fmla="*/ 3066 w 5327"/>
                <a:gd name="T55" fmla="*/ 1767 h 2450"/>
                <a:gd name="T56" fmla="*/ 2627 w 5327"/>
                <a:gd name="T57" fmla="*/ 2010 h 2450"/>
                <a:gd name="T58" fmla="*/ 2140 w 5327"/>
                <a:gd name="T59" fmla="*/ 1878 h 2450"/>
                <a:gd name="T60" fmla="*/ 1896 w 5327"/>
                <a:gd name="T61" fmla="*/ 1446 h 2450"/>
                <a:gd name="T62" fmla="*/ 1794 w 5327"/>
                <a:gd name="T63" fmla="*/ 1047 h 2450"/>
                <a:gd name="T64" fmla="*/ 1436 w 5327"/>
                <a:gd name="T65" fmla="*/ 847 h 2450"/>
                <a:gd name="T66" fmla="*/ 348 w 5327"/>
                <a:gd name="T67" fmla="*/ 947 h 2450"/>
                <a:gd name="T68" fmla="*/ 280 w 5327"/>
                <a:gd name="T69" fmla="*/ 888 h 2450"/>
                <a:gd name="T70" fmla="*/ 319 w 5327"/>
                <a:gd name="T71" fmla="*/ 465 h 2450"/>
                <a:gd name="T72" fmla="*/ 555 w 5327"/>
                <a:gd name="T73" fmla="*/ 333 h 2450"/>
                <a:gd name="T74" fmla="*/ 1081 w 5327"/>
                <a:gd name="T75" fmla="*/ 268 h 2450"/>
                <a:gd name="T76" fmla="*/ 531 w 5327"/>
                <a:gd name="T77" fmla="*/ 197 h 2450"/>
                <a:gd name="T78" fmla="*/ 251 w 5327"/>
                <a:gd name="T79" fmla="*/ 324 h 2450"/>
                <a:gd name="T80" fmla="*/ 151 w 5327"/>
                <a:gd name="T81" fmla="*/ 1940 h 2450"/>
                <a:gd name="T82" fmla="*/ 32 w 5327"/>
                <a:gd name="T83" fmla="*/ 2000 h 2450"/>
                <a:gd name="T84" fmla="*/ 10 w 5327"/>
                <a:gd name="T85" fmla="*/ 484 h 2450"/>
                <a:gd name="T86" fmla="*/ 243 w 5327"/>
                <a:gd name="T87" fmla="*/ 136 h 2450"/>
                <a:gd name="T88" fmla="*/ 1032 w 5327"/>
                <a:gd name="T89" fmla="*/ 44 h 2450"/>
                <a:gd name="T90" fmla="*/ 1224 w 5327"/>
                <a:gd name="T91" fmla="*/ 214 h 2450"/>
                <a:gd name="T92" fmla="*/ 1108 w 5327"/>
                <a:gd name="T93" fmla="*/ 452 h 2450"/>
                <a:gd name="T94" fmla="*/ 572 w 5327"/>
                <a:gd name="T95" fmla="*/ 474 h 2450"/>
                <a:gd name="T96" fmla="*/ 416 w 5327"/>
                <a:gd name="T97" fmla="*/ 635 h 2450"/>
                <a:gd name="T98" fmla="*/ 1290 w 5327"/>
                <a:gd name="T99" fmla="*/ 693 h 2450"/>
                <a:gd name="T100" fmla="*/ 1768 w 5327"/>
                <a:gd name="T101" fmla="*/ 808 h 2450"/>
                <a:gd name="T102" fmla="*/ 2028 w 5327"/>
                <a:gd name="T103" fmla="*/ 1226 h 2450"/>
                <a:gd name="T104" fmla="*/ 2147 w 5327"/>
                <a:gd name="T105" fmla="*/ 1660 h 2450"/>
                <a:gd name="T106" fmla="*/ 2554 w 5327"/>
                <a:gd name="T107" fmla="*/ 1852 h 2450"/>
                <a:gd name="T108" fmla="*/ 2954 w 5327"/>
                <a:gd name="T109" fmla="*/ 1662 h 2450"/>
                <a:gd name="T110" fmla="*/ 3041 w 5327"/>
                <a:gd name="T111" fmla="*/ 1226 h 2450"/>
                <a:gd name="T112" fmla="*/ 2751 w 5327"/>
                <a:gd name="T113" fmla="*/ 874 h 2450"/>
                <a:gd name="T114" fmla="*/ 2277 w 5327"/>
                <a:gd name="T115" fmla="*/ 918 h 2450"/>
                <a:gd name="T116" fmla="*/ 2136 w 5327"/>
                <a:gd name="T117" fmla="*/ 165 h 2450"/>
                <a:gd name="T118" fmla="*/ 2021 w 5327"/>
                <a:gd name="T119" fmla="*/ 195 h 2450"/>
                <a:gd name="T120" fmla="*/ 1896 w 5327"/>
                <a:gd name="T121" fmla="*/ 769 h 2450"/>
                <a:gd name="T122" fmla="*/ 1906 w 5327"/>
                <a:gd name="T123" fmla="*/ 93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7" h="2450">
                  <a:moveTo>
                    <a:pt x="2087" y="0"/>
                  </a:moveTo>
                  <a:lnTo>
                    <a:pt x="2130" y="3"/>
                  </a:lnTo>
                  <a:lnTo>
                    <a:pt x="2170" y="15"/>
                  </a:lnTo>
                  <a:lnTo>
                    <a:pt x="2206" y="36"/>
                  </a:lnTo>
                  <a:lnTo>
                    <a:pt x="2237" y="61"/>
                  </a:lnTo>
                  <a:lnTo>
                    <a:pt x="2264" y="92"/>
                  </a:lnTo>
                  <a:lnTo>
                    <a:pt x="2282" y="127"/>
                  </a:lnTo>
                  <a:lnTo>
                    <a:pt x="2296" y="168"/>
                  </a:lnTo>
                  <a:lnTo>
                    <a:pt x="2299" y="212"/>
                  </a:lnTo>
                  <a:lnTo>
                    <a:pt x="2299" y="212"/>
                  </a:lnTo>
                  <a:lnTo>
                    <a:pt x="2301" y="222"/>
                  </a:lnTo>
                  <a:lnTo>
                    <a:pt x="2301" y="233"/>
                  </a:lnTo>
                  <a:lnTo>
                    <a:pt x="2301" y="756"/>
                  </a:lnTo>
                  <a:lnTo>
                    <a:pt x="2342" y="739"/>
                  </a:lnTo>
                  <a:lnTo>
                    <a:pt x="2374" y="727"/>
                  </a:lnTo>
                  <a:lnTo>
                    <a:pt x="2433" y="711"/>
                  </a:lnTo>
                  <a:lnTo>
                    <a:pt x="2495" y="703"/>
                  </a:lnTo>
                  <a:lnTo>
                    <a:pt x="2556" y="699"/>
                  </a:lnTo>
                  <a:lnTo>
                    <a:pt x="2632" y="705"/>
                  </a:lnTo>
                  <a:lnTo>
                    <a:pt x="2703" y="716"/>
                  </a:lnTo>
                  <a:lnTo>
                    <a:pt x="2773" y="737"/>
                  </a:lnTo>
                  <a:lnTo>
                    <a:pt x="2837" y="764"/>
                  </a:lnTo>
                  <a:lnTo>
                    <a:pt x="2900" y="800"/>
                  </a:lnTo>
                  <a:lnTo>
                    <a:pt x="2960" y="844"/>
                  </a:lnTo>
                  <a:lnTo>
                    <a:pt x="3016" y="896"/>
                  </a:lnTo>
                  <a:lnTo>
                    <a:pt x="3063" y="949"/>
                  </a:lnTo>
                  <a:lnTo>
                    <a:pt x="3102" y="1003"/>
                  </a:lnTo>
                  <a:lnTo>
                    <a:pt x="3136" y="1061"/>
                  </a:lnTo>
                  <a:lnTo>
                    <a:pt x="3161" y="1008"/>
                  </a:lnTo>
                  <a:lnTo>
                    <a:pt x="3192" y="959"/>
                  </a:lnTo>
                  <a:lnTo>
                    <a:pt x="3228" y="913"/>
                  </a:lnTo>
                  <a:lnTo>
                    <a:pt x="3267" y="871"/>
                  </a:lnTo>
                  <a:lnTo>
                    <a:pt x="3324" y="822"/>
                  </a:lnTo>
                  <a:lnTo>
                    <a:pt x="3384" y="783"/>
                  </a:lnTo>
                  <a:lnTo>
                    <a:pt x="3448" y="749"/>
                  </a:lnTo>
                  <a:lnTo>
                    <a:pt x="3518" y="723"/>
                  </a:lnTo>
                  <a:lnTo>
                    <a:pt x="3591" y="705"/>
                  </a:lnTo>
                  <a:lnTo>
                    <a:pt x="3667" y="693"/>
                  </a:lnTo>
                  <a:lnTo>
                    <a:pt x="3749" y="689"/>
                  </a:lnTo>
                  <a:lnTo>
                    <a:pt x="3825" y="693"/>
                  </a:lnTo>
                  <a:lnTo>
                    <a:pt x="3898" y="703"/>
                  </a:lnTo>
                  <a:lnTo>
                    <a:pt x="3968" y="720"/>
                  </a:lnTo>
                  <a:lnTo>
                    <a:pt x="4032" y="742"/>
                  </a:lnTo>
                  <a:lnTo>
                    <a:pt x="4093" y="772"/>
                  </a:lnTo>
                  <a:lnTo>
                    <a:pt x="4151" y="808"/>
                  </a:lnTo>
                  <a:lnTo>
                    <a:pt x="4203" y="852"/>
                  </a:lnTo>
                  <a:lnTo>
                    <a:pt x="4253" y="902"/>
                  </a:lnTo>
                  <a:lnTo>
                    <a:pt x="4298" y="958"/>
                  </a:lnTo>
                  <a:lnTo>
                    <a:pt x="4337" y="1017"/>
                  </a:lnTo>
                  <a:lnTo>
                    <a:pt x="4368" y="1078"/>
                  </a:lnTo>
                  <a:lnTo>
                    <a:pt x="4393" y="1141"/>
                  </a:lnTo>
                  <a:lnTo>
                    <a:pt x="4410" y="1207"/>
                  </a:lnTo>
                  <a:lnTo>
                    <a:pt x="4421" y="1277"/>
                  </a:lnTo>
                  <a:lnTo>
                    <a:pt x="4424" y="1348"/>
                  </a:lnTo>
                  <a:lnTo>
                    <a:pt x="4422" y="1350"/>
                  </a:lnTo>
                  <a:lnTo>
                    <a:pt x="4422" y="1353"/>
                  </a:lnTo>
                  <a:lnTo>
                    <a:pt x="4427" y="1423"/>
                  </a:lnTo>
                  <a:lnTo>
                    <a:pt x="4439" y="1489"/>
                  </a:lnTo>
                  <a:lnTo>
                    <a:pt x="4460" y="1552"/>
                  </a:lnTo>
                  <a:lnTo>
                    <a:pt x="4487" y="1611"/>
                  </a:lnTo>
                  <a:lnTo>
                    <a:pt x="4524" y="1667"/>
                  </a:lnTo>
                  <a:lnTo>
                    <a:pt x="4568" y="1721"/>
                  </a:lnTo>
                  <a:lnTo>
                    <a:pt x="4617" y="1767"/>
                  </a:lnTo>
                  <a:lnTo>
                    <a:pt x="4672" y="1806"/>
                  </a:lnTo>
                  <a:lnTo>
                    <a:pt x="4729" y="1835"/>
                  </a:lnTo>
                  <a:lnTo>
                    <a:pt x="4791" y="1857"/>
                  </a:lnTo>
                  <a:lnTo>
                    <a:pt x="4857" y="1869"/>
                  </a:lnTo>
                  <a:lnTo>
                    <a:pt x="4926" y="1874"/>
                  </a:lnTo>
                  <a:lnTo>
                    <a:pt x="4992" y="1869"/>
                  </a:lnTo>
                  <a:lnTo>
                    <a:pt x="5060" y="1852"/>
                  </a:lnTo>
                  <a:lnTo>
                    <a:pt x="5132" y="1827"/>
                  </a:lnTo>
                  <a:lnTo>
                    <a:pt x="5205" y="1789"/>
                  </a:lnTo>
                  <a:lnTo>
                    <a:pt x="5240" y="1767"/>
                  </a:lnTo>
                  <a:lnTo>
                    <a:pt x="5281" y="1738"/>
                  </a:lnTo>
                  <a:lnTo>
                    <a:pt x="5327" y="1703"/>
                  </a:lnTo>
                  <a:lnTo>
                    <a:pt x="5327" y="2068"/>
                  </a:lnTo>
                  <a:lnTo>
                    <a:pt x="5322" y="2129"/>
                  </a:lnTo>
                  <a:lnTo>
                    <a:pt x="5310" y="2185"/>
                  </a:lnTo>
                  <a:lnTo>
                    <a:pt x="5289" y="2237"/>
                  </a:lnTo>
                  <a:lnTo>
                    <a:pt x="5261" y="2288"/>
                  </a:lnTo>
                  <a:lnTo>
                    <a:pt x="5223" y="2336"/>
                  </a:lnTo>
                  <a:lnTo>
                    <a:pt x="5181" y="2377"/>
                  </a:lnTo>
                  <a:lnTo>
                    <a:pt x="5137" y="2409"/>
                  </a:lnTo>
                  <a:lnTo>
                    <a:pt x="5089" y="2433"/>
                  </a:lnTo>
                  <a:lnTo>
                    <a:pt x="5042" y="2446"/>
                  </a:lnTo>
                  <a:lnTo>
                    <a:pt x="4991" y="2450"/>
                  </a:lnTo>
                  <a:lnTo>
                    <a:pt x="4935" y="2448"/>
                  </a:lnTo>
                  <a:lnTo>
                    <a:pt x="4886" y="2440"/>
                  </a:lnTo>
                  <a:lnTo>
                    <a:pt x="4841" y="2426"/>
                  </a:lnTo>
                  <a:lnTo>
                    <a:pt x="4833" y="2423"/>
                  </a:lnTo>
                  <a:lnTo>
                    <a:pt x="4826" y="2419"/>
                  </a:lnTo>
                  <a:lnTo>
                    <a:pt x="4808" y="2407"/>
                  </a:lnTo>
                  <a:lnTo>
                    <a:pt x="4794" y="2390"/>
                  </a:lnTo>
                  <a:lnTo>
                    <a:pt x="4784" y="2370"/>
                  </a:lnTo>
                  <a:lnTo>
                    <a:pt x="4780" y="2348"/>
                  </a:lnTo>
                  <a:lnTo>
                    <a:pt x="4785" y="2322"/>
                  </a:lnTo>
                  <a:lnTo>
                    <a:pt x="4796" y="2300"/>
                  </a:lnTo>
                  <a:lnTo>
                    <a:pt x="4813" y="2283"/>
                  </a:lnTo>
                  <a:lnTo>
                    <a:pt x="4835" y="2273"/>
                  </a:lnTo>
                  <a:lnTo>
                    <a:pt x="4860" y="2268"/>
                  </a:lnTo>
                  <a:lnTo>
                    <a:pt x="4867" y="2268"/>
                  </a:lnTo>
                  <a:lnTo>
                    <a:pt x="4875" y="2270"/>
                  </a:lnTo>
                  <a:lnTo>
                    <a:pt x="4875" y="2270"/>
                  </a:lnTo>
                  <a:lnTo>
                    <a:pt x="4875" y="2270"/>
                  </a:lnTo>
                  <a:lnTo>
                    <a:pt x="4886" y="2273"/>
                  </a:lnTo>
                  <a:lnTo>
                    <a:pt x="4903" y="2277"/>
                  </a:lnTo>
                  <a:lnTo>
                    <a:pt x="4925" y="2282"/>
                  </a:lnTo>
                  <a:lnTo>
                    <a:pt x="4952" y="2285"/>
                  </a:lnTo>
                  <a:lnTo>
                    <a:pt x="4981" y="2288"/>
                  </a:lnTo>
                  <a:lnTo>
                    <a:pt x="5009" y="2288"/>
                  </a:lnTo>
                  <a:lnTo>
                    <a:pt x="5038" y="2287"/>
                  </a:lnTo>
                  <a:lnTo>
                    <a:pt x="5062" y="2278"/>
                  </a:lnTo>
                  <a:lnTo>
                    <a:pt x="5093" y="2260"/>
                  </a:lnTo>
                  <a:lnTo>
                    <a:pt x="5118" y="2236"/>
                  </a:lnTo>
                  <a:lnTo>
                    <a:pt x="5140" y="2205"/>
                  </a:lnTo>
                  <a:lnTo>
                    <a:pt x="5157" y="2166"/>
                  </a:lnTo>
                  <a:lnTo>
                    <a:pt x="5169" y="2120"/>
                  </a:lnTo>
                  <a:lnTo>
                    <a:pt x="5176" y="2068"/>
                  </a:lnTo>
                  <a:lnTo>
                    <a:pt x="5179" y="2007"/>
                  </a:lnTo>
                  <a:lnTo>
                    <a:pt x="5179" y="1952"/>
                  </a:lnTo>
                  <a:lnTo>
                    <a:pt x="5140" y="1968"/>
                  </a:lnTo>
                  <a:lnTo>
                    <a:pt x="5110" y="1978"/>
                  </a:lnTo>
                  <a:lnTo>
                    <a:pt x="5047" y="1995"/>
                  </a:lnTo>
                  <a:lnTo>
                    <a:pt x="4986" y="2005"/>
                  </a:lnTo>
                  <a:lnTo>
                    <a:pt x="4926" y="2007"/>
                  </a:lnTo>
                  <a:lnTo>
                    <a:pt x="4852" y="2003"/>
                  </a:lnTo>
                  <a:lnTo>
                    <a:pt x="4780" y="1991"/>
                  </a:lnTo>
                  <a:lnTo>
                    <a:pt x="4711" y="1971"/>
                  </a:lnTo>
                  <a:lnTo>
                    <a:pt x="4646" y="1944"/>
                  </a:lnTo>
                  <a:lnTo>
                    <a:pt x="4584" y="1906"/>
                  </a:lnTo>
                  <a:lnTo>
                    <a:pt x="4522" y="1862"/>
                  </a:lnTo>
                  <a:lnTo>
                    <a:pt x="4466" y="1810"/>
                  </a:lnTo>
                  <a:lnTo>
                    <a:pt x="4417" y="1755"/>
                  </a:lnTo>
                  <a:lnTo>
                    <a:pt x="4375" y="1698"/>
                  </a:lnTo>
                  <a:lnTo>
                    <a:pt x="4339" y="1638"/>
                  </a:lnTo>
                  <a:lnTo>
                    <a:pt x="4312" y="1577"/>
                  </a:lnTo>
                  <a:lnTo>
                    <a:pt x="4292" y="1511"/>
                  </a:lnTo>
                  <a:lnTo>
                    <a:pt x="4280" y="1443"/>
                  </a:lnTo>
                  <a:lnTo>
                    <a:pt x="4273" y="1370"/>
                  </a:lnTo>
                  <a:lnTo>
                    <a:pt x="4271" y="1312"/>
                  </a:lnTo>
                  <a:lnTo>
                    <a:pt x="4263" y="1256"/>
                  </a:lnTo>
                  <a:lnTo>
                    <a:pt x="4249" y="1200"/>
                  </a:lnTo>
                  <a:lnTo>
                    <a:pt x="4229" y="1146"/>
                  </a:lnTo>
                  <a:lnTo>
                    <a:pt x="4205" y="1095"/>
                  </a:lnTo>
                  <a:lnTo>
                    <a:pt x="4175" y="1047"/>
                  </a:lnTo>
                  <a:lnTo>
                    <a:pt x="4141" y="1003"/>
                  </a:lnTo>
                  <a:lnTo>
                    <a:pt x="4096" y="961"/>
                  </a:lnTo>
                  <a:lnTo>
                    <a:pt x="4049" y="925"/>
                  </a:lnTo>
                  <a:lnTo>
                    <a:pt x="3998" y="896"/>
                  </a:lnTo>
                  <a:lnTo>
                    <a:pt x="3942" y="873"/>
                  </a:lnTo>
                  <a:lnTo>
                    <a:pt x="3881" y="856"/>
                  </a:lnTo>
                  <a:lnTo>
                    <a:pt x="3818" y="847"/>
                  </a:lnTo>
                  <a:lnTo>
                    <a:pt x="3749" y="844"/>
                  </a:lnTo>
                  <a:lnTo>
                    <a:pt x="3679" y="847"/>
                  </a:lnTo>
                  <a:lnTo>
                    <a:pt x="3613" y="859"/>
                  </a:lnTo>
                  <a:lnTo>
                    <a:pt x="3550" y="878"/>
                  </a:lnTo>
                  <a:lnTo>
                    <a:pt x="3491" y="903"/>
                  </a:lnTo>
                  <a:lnTo>
                    <a:pt x="3436" y="937"/>
                  </a:lnTo>
                  <a:lnTo>
                    <a:pt x="3385" y="978"/>
                  </a:lnTo>
                  <a:lnTo>
                    <a:pt x="3345" y="1019"/>
                  </a:lnTo>
                  <a:lnTo>
                    <a:pt x="3312" y="1064"/>
                  </a:lnTo>
                  <a:lnTo>
                    <a:pt x="3285" y="1114"/>
                  </a:lnTo>
                  <a:lnTo>
                    <a:pt x="3265" y="1168"/>
                  </a:lnTo>
                  <a:lnTo>
                    <a:pt x="3250" y="1226"/>
                  </a:lnTo>
                  <a:lnTo>
                    <a:pt x="3240" y="1289"/>
                  </a:lnTo>
                  <a:lnTo>
                    <a:pt x="3238" y="1356"/>
                  </a:lnTo>
                  <a:lnTo>
                    <a:pt x="3241" y="1423"/>
                  </a:lnTo>
                  <a:lnTo>
                    <a:pt x="3255" y="1485"/>
                  </a:lnTo>
                  <a:lnTo>
                    <a:pt x="3275" y="1547"/>
                  </a:lnTo>
                  <a:lnTo>
                    <a:pt x="3306" y="1603"/>
                  </a:lnTo>
                  <a:lnTo>
                    <a:pt x="3345" y="1657"/>
                  </a:lnTo>
                  <a:lnTo>
                    <a:pt x="3392" y="1706"/>
                  </a:lnTo>
                  <a:lnTo>
                    <a:pt x="3447" y="1750"/>
                  </a:lnTo>
                  <a:lnTo>
                    <a:pt x="3503" y="1786"/>
                  </a:lnTo>
                  <a:lnTo>
                    <a:pt x="3562" y="1815"/>
                  </a:lnTo>
                  <a:lnTo>
                    <a:pt x="3625" y="1835"/>
                  </a:lnTo>
                  <a:lnTo>
                    <a:pt x="3691" y="1847"/>
                  </a:lnTo>
                  <a:lnTo>
                    <a:pt x="3760" y="1850"/>
                  </a:lnTo>
                  <a:lnTo>
                    <a:pt x="4307" y="1850"/>
                  </a:lnTo>
                  <a:lnTo>
                    <a:pt x="4339" y="1889"/>
                  </a:lnTo>
                  <a:lnTo>
                    <a:pt x="4375" y="1925"/>
                  </a:lnTo>
                  <a:lnTo>
                    <a:pt x="4424" y="1973"/>
                  </a:lnTo>
                  <a:lnTo>
                    <a:pt x="4477" y="2013"/>
                  </a:lnTo>
                  <a:lnTo>
                    <a:pt x="3760" y="2013"/>
                  </a:lnTo>
                  <a:lnTo>
                    <a:pt x="3684" y="2010"/>
                  </a:lnTo>
                  <a:lnTo>
                    <a:pt x="3611" y="1998"/>
                  </a:lnTo>
                  <a:lnTo>
                    <a:pt x="3540" y="1978"/>
                  </a:lnTo>
                  <a:lnTo>
                    <a:pt x="3470" y="1951"/>
                  </a:lnTo>
                  <a:lnTo>
                    <a:pt x="3406" y="1915"/>
                  </a:lnTo>
                  <a:lnTo>
                    <a:pt x="3343" y="1873"/>
                  </a:lnTo>
                  <a:lnTo>
                    <a:pt x="3284" y="1822"/>
                  </a:lnTo>
                  <a:lnTo>
                    <a:pt x="3229" y="1766"/>
                  </a:lnTo>
                  <a:lnTo>
                    <a:pt x="3184" y="1706"/>
                  </a:lnTo>
                  <a:lnTo>
                    <a:pt x="3146" y="1643"/>
                  </a:lnTo>
                  <a:lnTo>
                    <a:pt x="3111" y="1708"/>
                  </a:lnTo>
                  <a:lnTo>
                    <a:pt x="3066" y="1767"/>
                  </a:lnTo>
                  <a:lnTo>
                    <a:pt x="3016" y="1825"/>
                  </a:lnTo>
                  <a:lnTo>
                    <a:pt x="2958" y="1876"/>
                  </a:lnTo>
                  <a:lnTo>
                    <a:pt x="2898" y="1918"/>
                  </a:lnTo>
                  <a:lnTo>
                    <a:pt x="2836" y="1952"/>
                  </a:lnTo>
                  <a:lnTo>
                    <a:pt x="2769" y="1979"/>
                  </a:lnTo>
                  <a:lnTo>
                    <a:pt x="2700" y="2000"/>
                  </a:lnTo>
                  <a:lnTo>
                    <a:pt x="2627" y="2010"/>
                  </a:lnTo>
                  <a:lnTo>
                    <a:pt x="2551" y="2015"/>
                  </a:lnTo>
                  <a:lnTo>
                    <a:pt x="2472" y="2010"/>
                  </a:lnTo>
                  <a:lnTo>
                    <a:pt x="2400" y="2000"/>
                  </a:lnTo>
                  <a:lnTo>
                    <a:pt x="2330" y="1979"/>
                  </a:lnTo>
                  <a:lnTo>
                    <a:pt x="2262" y="1954"/>
                  </a:lnTo>
                  <a:lnTo>
                    <a:pt x="2199" y="1918"/>
                  </a:lnTo>
                  <a:lnTo>
                    <a:pt x="2140" y="1878"/>
                  </a:lnTo>
                  <a:lnTo>
                    <a:pt x="2082" y="1828"/>
                  </a:lnTo>
                  <a:lnTo>
                    <a:pt x="2033" y="1772"/>
                  </a:lnTo>
                  <a:lnTo>
                    <a:pt x="1989" y="1715"/>
                  </a:lnTo>
                  <a:lnTo>
                    <a:pt x="1955" y="1654"/>
                  </a:lnTo>
                  <a:lnTo>
                    <a:pt x="1926" y="1587"/>
                  </a:lnTo>
                  <a:lnTo>
                    <a:pt x="1907" y="1519"/>
                  </a:lnTo>
                  <a:lnTo>
                    <a:pt x="1896" y="1446"/>
                  </a:lnTo>
                  <a:lnTo>
                    <a:pt x="1890" y="1370"/>
                  </a:lnTo>
                  <a:lnTo>
                    <a:pt x="1889" y="1312"/>
                  </a:lnTo>
                  <a:lnTo>
                    <a:pt x="1880" y="1256"/>
                  </a:lnTo>
                  <a:lnTo>
                    <a:pt x="1867" y="1200"/>
                  </a:lnTo>
                  <a:lnTo>
                    <a:pt x="1848" y="1146"/>
                  </a:lnTo>
                  <a:lnTo>
                    <a:pt x="1823" y="1095"/>
                  </a:lnTo>
                  <a:lnTo>
                    <a:pt x="1794" y="1047"/>
                  </a:lnTo>
                  <a:lnTo>
                    <a:pt x="1758" y="1003"/>
                  </a:lnTo>
                  <a:lnTo>
                    <a:pt x="1716" y="961"/>
                  </a:lnTo>
                  <a:lnTo>
                    <a:pt x="1668" y="925"/>
                  </a:lnTo>
                  <a:lnTo>
                    <a:pt x="1616" y="896"/>
                  </a:lnTo>
                  <a:lnTo>
                    <a:pt x="1560" y="873"/>
                  </a:lnTo>
                  <a:lnTo>
                    <a:pt x="1500" y="856"/>
                  </a:lnTo>
                  <a:lnTo>
                    <a:pt x="1436" y="847"/>
                  </a:lnTo>
                  <a:lnTo>
                    <a:pt x="1368" y="844"/>
                  </a:lnTo>
                  <a:lnTo>
                    <a:pt x="1295" y="847"/>
                  </a:lnTo>
                  <a:lnTo>
                    <a:pt x="1224" y="859"/>
                  </a:lnTo>
                  <a:lnTo>
                    <a:pt x="1159" y="881"/>
                  </a:lnTo>
                  <a:lnTo>
                    <a:pt x="1098" y="910"/>
                  </a:lnTo>
                  <a:lnTo>
                    <a:pt x="1040" y="947"/>
                  </a:lnTo>
                  <a:lnTo>
                    <a:pt x="348" y="947"/>
                  </a:lnTo>
                  <a:lnTo>
                    <a:pt x="346" y="947"/>
                  </a:lnTo>
                  <a:lnTo>
                    <a:pt x="322" y="944"/>
                  </a:lnTo>
                  <a:lnTo>
                    <a:pt x="305" y="935"/>
                  </a:lnTo>
                  <a:lnTo>
                    <a:pt x="294" y="925"/>
                  </a:lnTo>
                  <a:lnTo>
                    <a:pt x="287" y="912"/>
                  </a:lnTo>
                  <a:lnTo>
                    <a:pt x="282" y="898"/>
                  </a:lnTo>
                  <a:lnTo>
                    <a:pt x="280" y="888"/>
                  </a:lnTo>
                  <a:lnTo>
                    <a:pt x="278" y="879"/>
                  </a:lnTo>
                  <a:lnTo>
                    <a:pt x="278" y="876"/>
                  </a:lnTo>
                  <a:lnTo>
                    <a:pt x="278" y="621"/>
                  </a:lnTo>
                  <a:lnTo>
                    <a:pt x="282" y="582"/>
                  </a:lnTo>
                  <a:lnTo>
                    <a:pt x="288" y="543"/>
                  </a:lnTo>
                  <a:lnTo>
                    <a:pt x="302" y="504"/>
                  </a:lnTo>
                  <a:lnTo>
                    <a:pt x="319" y="465"/>
                  </a:lnTo>
                  <a:lnTo>
                    <a:pt x="343" y="430"/>
                  </a:lnTo>
                  <a:lnTo>
                    <a:pt x="370" y="399"/>
                  </a:lnTo>
                  <a:lnTo>
                    <a:pt x="402" y="374"/>
                  </a:lnTo>
                  <a:lnTo>
                    <a:pt x="436" y="355"/>
                  </a:lnTo>
                  <a:lnTo>
                    <a:pt x="473" y="343"/>
                  </a:lnTo>
                  <a:lnTo>
                    <a:pt x="512" y="336"/>
                  </a:lnTo>
                  <a:lnTo>
                    <a:pt x="555" y="333"/>
                  </a:lnTo>
                  <a:lnTo>
                    <a:pt x="599" y="331"/>
                  </a:lnTo>
                  <a:lnTo>
                    <a:pt x="1018" y="331"/>
                  </a:lnTo>
                  <a:lnTo>
                    <a:pt x="1039" y="328"/>
                  </a:lnTo>
                  <a:lnTo>
                    <a:pt x="1056" y="319"/>
                  </a:lnTo>
                  <a:lnTo>
                    <a:pt x="1069" y="304"/>
                  </a:lnTo>
                  <a:lnTo>
                    <a:pt x="1078" y="287"/>
                  </a:lnTo>
                  <a:lnTo>
                    <a:pt x="1081" y="268"/>
                  </a:lnTo>
                  <a:lnTo>
                    <a:pt x="1079" y="250"/>
                  </a:lnTo>
                  <a:lnTo>
                    <a:pt x="1071" y="228"/>
                  </a:lnTo>
                  <a:lnTo>
                    <a:pt x="1059" y="211"/>
                  </a:lnTo>
                  <a:lnTo>
                    <a:pt x="1044" y="200"/>
                  </a:lnTo>
                  <a:lnTo>
                    <a:pt x="1027" y="195"/>
                  </a:lnTo>
                  <a:lnTo>
                    <a:pt x="570" y="195"/>
                  </a:lnTo>
                  <a:lnTo>
                    <a:pt x="531" y="197"/>
                  </a:lnTo>
                  <a:lnTo>
                    <a:pt x="490" y="200"/>
                  </a:lnTo>
                  <a:lnTo>
                    <a:pt x="450" y="205"/>
                  </a:lnTo>
                  <a:lnTo>
                    <a:pt x="407" y="217"/>
                  </a:lnTo>
                  <a:lnTo>
                    <a:pt x="367" y="233"/>
                  </a:lnTo>
                  <a:lnTo>
                    <a:pt x="326" y="256"/>
                  </a:lnTo>
                  <a:lnTo>
                    <a:pt x="287" y="287"/>
                  </a:lnTo>
                  <a:lnTo>
                    <a:pt x="251" y="324"/>
                  </a:lnTo>
                  <a:lnTo>
                    <a:pt x="214" y="375"/>
                  </a:lnTo>
                  <a:lnTo>
                    <a:pt x="187" y="430"/>
                  </a:lnTo>
                  <a:lnTo>
                    <a:pt x="166" y="486"/>
                  </a:lnTo>
                  <a:lnTo>
                    <a:pt x="156" y="547"/>
                  </a:lnTo>
                  <a:lnTo>
                    <a:pt x="151" y="610"/>
                  </a:lnTo>
                  <a:lnTo>
                    <a:pt x="151" y="1940"/>
                  </a:lnTo>
                  <a:lnTo>
                    <a:pt x="151" y="1940"/>
                  </a:lnTo>
                  <a:lnTo>
                    <a:pt x="148" y="1964"/>
                  </a:lnTo>
                  <a:lnTo>
                    <a:pt x="136" y="1983"/>
                  </a:lnTo>
                  <a:lnTo>
                    <a:pt x="119" y="2000"/>
                  </a:lnTo>
                  <a:lnTo>
                    <a:pt x="98" y="2010"/>
                  </a:lnTo>
                  <a:lnTo>
                    <a:pt x="76" y="2013"/>
                  </a:lnTo>
                  <a:lnTo>
                    <a:pt x="53" y="2010"/>
                  </a:lnTo>
                  <a:lnTo>
                    <a:pt x="32" y="2000"/>
                  </a:lnTo>
                  <a:lnTo>
                    <a:pt x="15" y="1983"/>
                  </a:lnTo>
                  <a:lnTo>
                    <a:pt x="5" y="1964"/>
                  </a:lnTo>
                  <a:lnTo>
                    <a:pt x="0" y="1940"/>
                  </a:lnTo>
                  <a:lnTo>
                    <a:pt x="0" y="1940"/>
                  </a:lnTo>
                  <a:lnTo>
                    <a:pt x="0" y="611"/>
                  </a:lnTo>
                  <a:lnTo>
                    <a:pt x="3" y="545"/>
                  </a:lnTo>
                  <a:lnTo>
                    <a:pt x="10" y="484"/>
                  </a:lnTo>
                  <a:lnTo>
                    <a:pt x="24" y="426"/>
                  </a:lnTo>
                  <a:lnTo>
                    <a:pt x="44" y="374"/>
                  </a:lnTo>
                  <a:lnTo>
                    <a:pt x="70" y="321"/>
                  </a:lnTo>
                  <a:lnTo>
                    <a:pt x="104" y="272"/>
                  </a:lnTo>
                  <a:lnTo>
                    <a:pt x="143" y="222"/>
                  </a:lnTo>
                  <a:lnTo>
                    <a:pt x="190" y="177"/>
                  </a:lnTo>
                  <a:lnTo>
                    <a:pt x="243" y="136"/>
                  </a:lnTo>
                  <a:lnTo>
                    <a:pt x="299" y="104"/>
                  </a:lnTo>
                  <a:lnTo>
                    <a:pt x="361" y="78"/>
                  </a:lnTo>
                  <a:lnTo>
                    <a:pt x="426" y="60"/>
                  </a:lnTo>
                  <a:lnTo>
                    <a:pt x="496" y="48"/>
                  </a:lnTo>
                  <a:lnTo>
                    <a:pt x="570" y="44"/>
                  </a:lnTo>
                  <a:lnTo>
                    <a:pt x="1023" y="44"/>
                  </a:lnTo>
                  <a:lnTo>
                    <a:pt x="1032" y="44"/>
                  </a:lnTo>
                  <a:lnTo>
                    <a:pt x="1050" y="46"/>
                  </a:lnTo>
                  <a:lnTo>
                    <a:pt x="1093" y="58"/>
                  </a:lnTo>
                  <a:lnTo>
                    <a:pt x="1130" y="76"/>
                  </a:lnTo>
                  <a:lnTo>
                    <a:pt x="1162" y="104"/>
                  </a:lnTo>
                  <a:lnTo>
                    <a:pt x="1190" y="136"/>
                  </a:lnTo>
                  <a:lnTo>
                    <a:pt x="1210" y="173"/>
                  </a:lnTo>
                  <a:lnTo>
                    <a:pt x="1224" y="214"/>
                  </a:lnTo>
                  <a:lnTo>
                    <a:pt x="1229" y="258"/>
                  </a:lnTo>
                  <a:lnTo>
                    <a:pt x="1224" y="299"/>
                  </a:lnTo>
                  <a:lnTo>
                    <a:pt x="1213" y="338"/>
                  </a:lnTo>
                  <a:lnTo>
                    <a:pt x="1195" y="374"/>
                  </a:lnTo>
                  <a:lnTo>
                    <a:pt x="1171" y="404"/>
                  </a:lnTo>
                  <a:lnTo>
                    <a:pt x="1142" y="430"/>
                  </a:lnTo>
                  <a:lnTo>
                    <a:pt x="1108" y="452"/>
                  </a:lnTo>
                  <a:lnTo>
                    <a:pt x="1081" y="460"/>
                  </a:lnTo>
                  <a:lnTo>
                    <a:pt x="1056" y="467"/>
                  </a:lnTo>
                  <a:lnTo>
                    <a:pt x="1037" y="470"/>
                  </a:lnTo>
                  <a:lnTo>
                    <a:pt x="1022" y="472"/>
                  </a:lnTo>
                  <a:lnTo>
                    <a:pt x="1016" y="472"/>
                  </a:lnTo>
                  <a:lnTo>
                    <a:pt x="623" y="472"/>
                  </a:lnTo>
                  <a:lnTo>
                    <a:pt x="572" y="474"/>
                  </a:lnTo>
                  <a:lnTo>
                    <a:pt x="529" y="481"/>
                  </a:lnTo>
                  <a:lnTo>
                    <a:pt x="494" y="491"/>
                  </a:lnTo>
                  <a:lnTo>
                    <a:pt x="467" y="506"/>
                  </a:lnTo>
                  <a:lnTo>
                    <a:pt x="445" y="528"/>
                  </a:lnTo>
                  <a:lnTo>
                    <a:pt x="429" y="557"/>
                  </a:lnTo>
                  <a:lnTo>
                    <a:pt x="419" y="593"/>
                  </a:lnTo>
                  <a:lnTo>
                    <a:pt x="416" y="635"/>
                  </a:lnTo>
                  <a:lnTo>
                    <a:pt x="416" y="815"/>
                  </a:lnTo>
                  <a:lnTo>
                    <a:pt x="954" y="815"/>
                  </a:lnTo>
                  <a:lnTo>
                    <a:pt x="1013" y="778"/>
                  </a:lnTo>
                  <a:lnTo>
                    <a:pt x="1076" y="745"/>
                  </a:lnTo>
                  <a:lnTo>
                    <a:pt x="1142" y="722"/>
                  </a:lnTo>
                  <a:lnTo>
                    <a:pt x="1213" y="705"/>
                  </a:lnTo>
                  <a:lnTo>
                    <a:pt x="1290" y="693"/>
                  </a:lnTo>
                  <a:lnTo>
                    <a:pt x="1368" y="689"/>
                  </a:lnTo>
                  <a:lnTo>
                    <a:pt x="1444" y="693"/>
                  </a:lnTo>
                  <a:lnTo>
                    <a:pt x="1517" y="703"/>
                  </a:lnTo>
                  <a:lnTo>
                    <a:pt x="1585" y="720"/>
                  </a:lnTo>
                  <a:lnTo>
                    <a:pt x="1649" y="742"/>
                  </a:lnTo>
                  <a:lnTo>
                    <a:pt x="1711" y="772"/>
                  </a:lnTo>
                  <a:lnTo>
                    <a:pt x="1768" y="808"/>
                  </a:lnTo>
                  <a:lnTo>
                    <a:pt x="1823" y="852"/>
                  </a:lnTo>
                  <a:lnTo>
                    <a:pt x="1872" y="902"/>
                  </a:lnTo>
                  <a:lnTo>
                    <a:pt x="1918" y="959"/>
                  </a:lnTo>
                  <a:lnTo>
                    <a:pt x="1957" y="1020"/>
                  </a:lnTo>
                  <a:lnTo>
                    <a:pt x="1987" y="1087"/>
                  </a:lnTo>
                  <a:lnTo>
                    <a:pt x="2011" y="1154"/>
                  </a:lnTo>
                  <a:lnTo>
                    <a:pt x="2028" y="1226"/>
                  </a:lnTo>
                  <a:lnTo>
                    <a:pt x="2038" y="1297"/>
                  </a:lnTo>
                  <a:lnTo>
                    <a:pt x="2041" y="1370"/>
                  </a:lnTo>
                  <a:lnTo>
                    <a:pt x="2047" y="1435"/>
                  </a:lnTo>
                  <a:lnTo>
                    <a:pt x="2060" y="1496"/>
                  </a:lnTo>
                  <a:lnTo>
                    <a:pt x="2080" y="1555"/>
                  </a:lnTo>
                  <a:lnTo>
                    <a:pt x="2111" y="1609"/>
                  </a:lnTo>
                  <a:lnTo>
                    <a:pt x="2147" y="1660"/>
                  </a:lnTo>
                  <a:lnTo>
                    <a:pt x="2192" y="1710"/>
                  </a:lnTo>
                  <a:lnTo>
                    <a:pt x="2245" y="1754"/>
                  </a:lnTo>
                  <a:lnTo>
                    <a:pt x="2301" y="1789"/>
                  </a:lnTo>
                  <a:lnTo>
                    <a:pt x="2359" y="1816"/>
                  </a:lnTo>
                  <a:lnTo>
                    <a:pt x="2420" y="1837"/>
                  </a:lnTo>
                  <a:lnTo>
                    <a:pt x="2484" y="1849"/>
                  </a:lnTo>
                  <a:lnTo>
                    <a:pt x="2554" y="1852"/>
                  </a:lnTo>
                  <a:lnTo>
                    <a:pt x="2620" y="1849"/>
                  </a:lnTo>
                  <a:lnTo>
                    <a:pt x="2685" y="1837"/>
                  </a:lnTo>
                  <a:lnTo>
                    <a:pt x="2746" y="1816"/>
                  </a:lnTo>
                  <a:lnTo>
                    <a:pt x="2803" y="1789"/>
                  </a:lnTo>
                  <a:lnTo>
                    <a:pt x="2858" y="1754"/>
                  </a:lnTo>
                  <a:lnTo>
                    <a:pt x="2909" y="1711"/>
                  </a:lnTo>
                  <a:lnTo>
                    <a:pt x="2954" y="1662"/>
                  </a:lnTo>
                  <a:lnTo>
                    <a:pt x="2992" y="1609"/>
                  </a:lnTo>
                  <a:lnTo>
                    <a:pt x="3021" y="1553"/>
                  </a:lnTo>
                  <a:lnTo>
                    <a:pt x="3041" y="1494"/>
                  </a:lnTo>
                  <a:lnTo>
                    <a:pt x="3053" y="1429"/>
                  </a:lnTo>
                  <a:lnTo>
                    <a:pt x="3056" y="1363"/>
                  </a:lnTo>
                  <a:lnTo>
                    <a:pt x="3053" y="1292"/>
                  </a:lnTo>
                  <a:lnTo>
                    <a:pt x="3041" y="1226"/>
                  </a:lnTo>
                  <a:lnTo>
                    <a:pt x="3021" y="1163"/>
                  </a:lnTo>
                  <a:lnTo>
                    <a:pt x="2992" y="1102"/>
                  </a:lnTo>
                  <a:lnTo>
                    <a:pt x="2956" y="1046"/>
                  </a:lnTo>
                  <a:lnTo>
                    <a:pt x="2912" y="991"/>
                  </a:lnTo>
                  <a:lnTo>
                    <a:pt x="2861" y="944"/>
                  </a:lnTo>
                  <a:lnTo>
                    <a:pt x="2808" y="905"/>
                  </a:lnTo>
                  <a:lnTo>
                    <a:pt x="2751" y="874"/>
                  </a:lnTo>
                  <a:lnTo>
                    <a:pt x="2690" y="854"/>
                  </a:lnTo>
                  <a:lnTo>
                    <a:pt x="2625" y="840"/>
                  </a:lnTo>
                  <a:lnTo>
                    <a:pt x="2556" y="835"/>
                  </a:lnTo>
                  <a:lnTo>
                    <a:pt x="2489" y="840"/>
                  </a:lnTo>
                  <a:lnTo>
                    <a:pt x="2420" y="857"/>
                  </a:lnTo>
                  <a:lnTo>
                    <a:pt x="2350" y="883"/>
                  </a:lnTo>
                  <a:lnTo>
                    <a:pt x="2277" y="918"/>
                  </a:lnTo>
                  <a:lnTo>
                    <a:pt x="2243" y="939"/>
                  </a:lnTo>
                  <a:lnTo>
                    <a:pt x="2203" y="968"/>
                  </a:lnTo>
                  <a:lnTo>
                    <a:pt x="2157" y="1003"/>
                  </a:lnTo>
                  <a:lnTo>
                    <a:pt x="2157" y="212"/>
                  </a:lnTo>
                  <a:lnTo>
                    <a:pt x="2153" y="192"/>
                  </a:lnTo>
                  <a:lnTo>
                    <a:pt x="2147" y="177"/>
                  </a:lnTo>
                  <a:lnTo>
                    <a:pt x="2136" y="165"/>
                  </a:lnTo>
                  <a:lnTo>
                    <a:pt x="2121" y="156"/>
                  </a:lnTo>
                  <a:lnTo>
                    <a:pt x="2106" y="153"/>
                  </a:lnTo>
                  <a:lnTo>
                    <a:pt x="2087" y="151"/>
                  </a:lnTo>
                  <a:lnTo>
                    <a:pt x="2065" y="155"/>
                  </a:lnTo>
                  <a:lnTo>
                    <a:pt x="2047" y="163"/>
                  </a:lnTo>
                  <a:lnTo>
                    <a:pt x="2031" y="178"/>
                  </a:lnTo>
                  <a:lnTo>
                    <a:pt x="2021" y="195"/>
                  </a:lnTo>
                  <a:lnTo>
                    <a:pt x="2018" y="212"/>
                  </a:lnTo>
                  <a:lnTo>
                    <a:pt x="2016" y="216"/>
                  </a:lnTo>
                  <a:lnTo>
                    <a:pt x="2016" y="915"/>
                  </a:lnTo>
                  <a:lnTo>
                    <a:pt x="1991" y="874"/>
                  </a:lnTo>
                  <a:lnTo>
                    <a:pt x="1960" y="837"/>
                  </a:lnTo>
                  <a:lnTo>
                    <a:pt x="1928" y="801"/>
                  </a:lnTo>
                  <a:lnTo>
                    <a:pt x="1896" y="769"/>
                  </a:lnTo>
                  <a:lnTo>
                    <a:pt x="1867" y="744"/>
                  </a:lnTo>
                  <a:lnTo>
                    <a:pt x="1867" y="216"/>
                  </a:lnTo>
                  <a:lnTo>
                    <a:pt x="1867" y="212"/>
                  </a:lnTo>
                  <a:lnTo>
                    <a:pt x="1867" y="212"/>
                  </a:lnTo>
                  <a:lnTo>
                    <a:pt x="1870" y="168"/>
                  </a:lnTo>
                  <a:lnTo>
                    <a:pt x="1884" y="129"/>
                  </a:lnTo>
                  <a:lnTo>
                    <a:pt x="1906" y="93"/>
                  </a:lnTo>
                  <a:lnTo>
                    <a:pt x="1933" y="61"/>
                  </a:lnTo>
                  <a:lnTo>
                    <a:pt x="1967" y="36"/>
                  </a:lnTo>
                  <a:lnTo>
                    <a:pt x="2004" y="15"/>
                  </a:lnTo>
                  <a:lnTo>
                    <a:pt x="2045" y="3"/>
                  </a:lnTo>
                  <a:lnTo>
                    <a:pt x="208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1" name="Freeform 12"/>
            <p:cNvSpPr>
              <a:spLocks noEditPoints="1"/>
            </p:cNvSpPr>
            <p:nvPr/>
          </p:nvSpPr>
          <p:spPr bwMode="auto">
            <a:xfrm>
              <a:off x="5354" y="1162"/>
              <a:ext cx="860" cy="761"/>
            </a:xfrm>
            <a:custGeom>
              <a:avLst/>
              <a:gdLst>
                <a:gd name="T0" fmla="*/ 344 w 860"/>
                <a:gd name="T1" fmla="*/ 151 h 761"/>
                <a:gd name="T2" fmla="*/ 264 w 860"/>
                <a:gd name="T3" fmla="*/ 185 h 761"/>
                <a:gd name="T4" fmla="*/ 205 w 860"/>
                <a:gd name="T5" fmla="*/ 245 h 761"/>
                <a:gd name="T6" fmla="*/ 169 w 860"/>
                <a:gd name="T7" fmla="*/ 324 h 761"/>
                <a:gd name="T8" fmla="*/ 593 w 860"/>
                <a:gd name="T9" fmla="*/ 282 h 761"/>
                <a:gd name="T10" fmla="*/ 544 w 860"/>
                <a:gd name="T11" fmla="*/ 211 h 761"/>
                <a:gd name="T12" fmla="*/ 475 w 860"/>
                <a:gd name="T13" fmla="*/ 165 h 761"/>
                <a:gd name="T14" fmla="*/ 388 w 860"/>
                <a:gd name="T15" fmla="*/ 146 h 761"/>
                <a:gd name="T16" fmla="*/ 449 w 860"/>
                <a:gd name="T17" fmla="*/ 3 h 761"/>
                <a:gd name="T18" fmla="*/ 548 w 860"/>
                <a:gd name="T19" fmla="*/ 29 h 761"/>
                <a:gd name="T20" fmla="*/ 631 w 860"/>
                <a:gd name="T21" fmla="*/ 82 h 761"/>
                <a:gd name="T22" fmla="*/ 697 w 860"/>
                <a:gd name="T23" fmla="*/ 161 h 761"/>
                <a:gd name="T24" fmla="*/ 755 w 860"/>
                <a:gd name="T25" fmla="*/ 280 h 761"/>
                <a:gd name="T26" fmla="*/ 773 w 860"/>
                <a:gd name="T27" fmla="*/ 399 h 761"/>
                <a:gd name="T28" fmla="*/ 760 w 860"/>
                <a:gd name="T29" fmla="*/ 452 h 761"/>
                <a:gd name="T30" fmla="*/ 722 w 860"/>
                <a:gd name="T31" fmla="*/ 477 h 761"/>
                <a:gd name="T32" fmla="*/ 195 w 860"/>
                <a:gd name="T33" fmla="*/ 481 h 761"/>
                <a:gd name="T34" fmla="*/ 247 w 860"/>
                <a:gd name="T35" fmla="*/ 543 h 761"/>
                <a:gd name="T36" fmla="*/ 319 w 860"/>
                <a:gd name="T37" fmla="*/ 586 h 761"/>
                <a:gd name="T38" fmla="*/ 405 w 860"/>
                <a:gd name="T39" fmla="*/ 599 h 761"/>
                <a:gd name="T40" fmla="*/ 814 w 860"/>
                <a:gd name="T41" fmla="*/ 655 h 761"/>
                <a:gd name="T42" fmla="*/ 860 w 860"/>
                <a:gd name="T43" fmla="*/ 761 h 761"/>
                <a:gd name="T44" fmla="*/ 341 w 860"/>
                <a:gd name="T45" fmla="*/ 757 h 761"/>
                <a:gd name="T46" fmla="*/ 222 w 860"/>
                <a:gd name="T47" fmla="*/ 720 h 761"/>
                <a:gd name="T48" fmla="*/ 118 w 860"/>
                <a:gd name="T49" fmla="*/ 645 h 761"/>
                <a:gd name="T50" fmla="*/ 52 w 860"/>
                <a:gd name="T51" fmla="*/ 562 h 761"/>
                <a:gd name="T52" fmla="*/ 13 w 860"/>
                <a:gd name="T53" fmla="*/ 467 h 761"/>
                <a:gd name="T54" fmla="*/ 0 w 860"/>
                <a:gd name="T55" fmla="*/ 357 h 761"/>
                <a:gd name="T56" fmla="*/ 13 w 860"/>
                <a:gd name="T57" fmla="*/ 258 h 761"/>
                <a:gd name="T58" fmla="*/ 52 w 860"/>
                <a:gd name="T59" fmla="*/ 172 h 761"/>
                <a:gd name="T60" fmla="*/ 117 w 860"/>
                <a:gd name="T61" fmla="*/ 99 h 761"/>
                <a:gd name="T62" fmla="*/ 218 w 860"/>
                <a:gd name="T63" fmla="*/ 36 h 761"/>
                <a:gd name="T64" fmla="*/ 332 w 860"/>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0" h="761">
                  <a:moveTo>
                    <a:pt x="388" y="146"/>
                  </a:moveTo>
                  <a:lnTo>
                    <a:pt x="344" y="151"/>
                  </a:lnTo>
                  <a:lnTo>
                    <a:pt x="303" y="165"/>
                  </a:lnTo>
                  <a:lnTo>
                    <a:pt x="264" y="185"/>
                  </a:lnTo>
                  <a:lnTo>
                    <a:pt x="232" y="211"/>
                  </a:lnTo>
                  <a:lnTo>
                    <a:pt x="205" y="245"/>
                  </a:lnTo>
                  <a:lnTo>
                    <a:pt x="183" y="282"/>
                  </a:lnTo>
                  <a:lnTo>
                    <a:pt x="169" y="324"/>
                  </a:lnTo>
                  <a:lnTo>
                    <a:pt x="609" y="324"/>
                  </a:lnTo>
                  <a:lnTo>
                    <a:pt x="593" y="282"/>
                  </a:lnTo>
                  <a:lnTo>
                    <a:pt x="571" y="245"/>
                  </a:lnTo>
                  <a:lnTo>
                    <a:pt x="544" y="211"/>
                  </a:lnTo>
                  <a:lnTo>
                    <a:pt x="512" y="185"/>
                  </a:lnTo>
                  <a:lnTo>
                    <a:pt x="475" y="165"/>
                  </a:lnTo>
                  <a:lnTo>
                    <a:pt x="432" y="151"/>
                  </a:lnTo>
                  <a:lnTo>
                    <a:pt x="388" y="146"/>
                  </a:lnTo>
                  <a:close/>
                  <a:moveTo>
                    <a:pt x="393" y="0"/>
                  </a:moveTo>
                  <a:lnTo>
                    <a:pt x="449" y="3"/>
                  </a:lnTo>
                  <a:lnTo>
                    <a:pt x="500" y="14"/>
                  </a:lnTo>
                  <a:lnTo>
                    <a:pt x="548" y="29"/>
                  </a:lnTo>
                  <a:lnTo>
                    <a:pt x="590" y="53"/>
                  </a:lnTo>
                  <a:lnTo>
                    <a:pt x="631" y="82"/>
                  </a:lnTo>
                  <a:lnTo>
                    <a:pt x="666" y="119"/>
                  </a:lnTo>
                  <a:lnTo>
                    <a:pt x="697" y="161"/>
                  </a:lnTo>
                  <a:lnTo>
                    <a:pt x="731" y="221"/>
                  </a:lnTo>
                  <a:lnTo>
                    <a:pt x="755" y="280"/>
                  </a:lnTo>
                  <a:lnTo>
                    <a:pt x="768" y="340"/>
                  </a:lnTo>
                  <a:lnTo>
                    <a:pt x="773" y="399"/>
                  </a:lnTo>
                  <a:lnTo>
                    <a:pt x="770" y="428"/>
                  </a:lnTo>
                  <a:lnTo>
                    <a:pt x="760" y="452"/>
                  </a:lnTo>
                  <a:lnTo>
                    <a:pt x="745" y="467"/>
                  </a:lnTo>
                  <a:lnTo>
                    <a:pt x="722" y="477"/>
                  </a:lnTo>
                  <a:lnTo>
                    <a:pt x="695" y="481"/>
                  </a:lnTo>
                  <a:lnTo>
                    <a:pt x="195" y="481"/>
                  </a:lnTo>
                  <a:lnTo>
                    <a:pt x="218" y="514"/>
                  </a:lnTo>
                  <a:lnTo>
                    <a:pt x="247" y="543"/>
                  </a:lnTo>
                  <a:lnTo>
                    <a:pt x="281" y="567"/>
                  </a:lnTo>
                  <a:lnTo>
                    <a:pt x="319" y="586"/>
                  </a:lnTo>
                  <a:lnTo>
                    <a:pt x="361" y="596"/>
                  </a:lnTo>
                  <a:lnTo>
                    <a:pt x="405" y="599"/>
                  </a:lnTo>
                  <a:lnTo>
                    <a:pt x="799" y="599"/>
                  </a:lnTo>
                  <a:lnTo>
                    <a:pt x="814" y="655"/>
                  </a:lnTo>
                  <a:lnTo>
                    <a:pt x="834" y="710"/>
                  </a:lnTo>
                  <a:lnTo>
                    <a:pt x="860" y="761"/>
                  </a:lnTo>
                  <a:lnTo>
                    <a:pt x="405" y="761"/>
                  </a:lnTo>
                  <a:lnTo>
                    <a:pt x="341" y="757"/>
                  </a:lnTo>
                  <a:lnTo>
                    <a:pt x="280" y="744"/>
                  </a:lnTo>
                  <a:lnTo>
                    <a:pt x="222" y="720"/>
                  </a:lnTo>
                  <a:lnTo>
                    <a:pt x="168" y="688"/>
                  </a:lnTo>
                  <a:lnTo>
                    <a:pt x="118" y="645"/>
                  </a:lnTo>
                  <a:lnTo>
                    <a:pt x="83" y="606"/>
                  </a:lnTo>
                  <a:lnTo>
                    <a:pt x="52" y="562"/>
                  </a:lnTo>
                  <a:lnTo>
                    <a:pt x="30" y="516"/>
                  </a:lnTo>
                  <a:lnTo>
                    <a:pt x="13" y="467"/>
                  </a:lnTo>
                  <a:lnTo>
                    <a:pt x="3" y="414"/>
                  </a:lnTo>
                  <a:lnTo>
                    <a:pt x="0" y="357"/>
                  </a:lnTo>
                  <a:lnTo>
                    <a:pt x="3" y="306"/>
                  </a:lnTo>
                  <a:lnTo>
                    <a:pt x="13" y="258"/>
                  </a:lnTo>
                  <a:lnTo>
                    <a:pt x="30" y="214"/>
                  </a:lnTo>
                  <a:lnTo>
                    <a:pt x="52" y="172"/>
                  </a:lnTo>
                  <a:lnTo>
                    <a:pt x="81" y="134"/>
                  </a:lnTo>
                  <a:lnTo>
                    <a:pt x="117" y="99"/>
                  </a:lnTo>
                  <a:lnTo>
                    <a:pt x="166" y="63"/>
                  </a:lnTo>
                  <a:lnTo>
                    <a:pt x="218" y="36"/>
                  </a:lnTo>
                  <a:lnTo>
                    <a:pt x="273" y="15"/>
                  </a:lnTo>
                  <a:lnTo>
                    <a:pt x="332" y="3"/>
                  </a:lnTo>
                  <a:lnTo>
                    <a:pt x="39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2" name="Freeform 13"/>
            <p:cNvSpPr>
              <a:spLocks/>
            </p:cNvSpPr>
            <p:nvPr/>
          </p:nvSpPr>
          <p:spPr bwMode="auto">
            <a:xfrm>
              <a:off x="8809" y="880"/>
              <a:ext cx="1154" cy="2034"/>
            </a:xfrm>
            <a:custGeom>
              <a:avLst/>
              <a:gdLst>
                <a:gd name="T0" fmla="*/ 571 w 1154"/>
                <a:gd name="T1" fmla="*/ 5 h 2034"/>
                <a:gd name="T2" fmla="*/ 716 w 1154"/>
                <a:gd name="T3" fmla="*/ 36 h 2034"/>
                <a:gd name="T4" fmla="*/ 846 w 1154"/>
                <a:gd name="T5" fmla="*/ 97 h 2034"/>
                <a:gd name="T6" fmla="*/ 963 w 1154"/>
                <a:gd name="T7" fmla="*/ 189 h 2034"/>
                <a:gd name="T8" fmla="*/ 1057 w 1154"/>
                <a:gd name="T9" fmla="*/ 304 h 2034"/>
                <a:gd name="T10" fmla="*/ 1120 w 1154"/>
                <a:gd name="T11" fmla="*/ 433 h 2034"/>
                <a:gd name="T12" fmla="*/ 1150 w 1154"/>
                <a:gd name="T13" fmla="*/ 577 h 2034"/>
                <a:gd name="T14" fmla="*/ 1154 w 1154"/>
                <a:gd name="T15" fmla="*/ 1431 h 2034"/>
                <a:gd name="T16" fmla="*/ 1138 w 1154"/>
                <a:gd name="T17" fmla="*/ 1576 h 2034"/>
                <a:gd name="T18" fmla="*/ 1091 w 1154"/>
                <a:gd name="T19" fmla="*/ 1705 h 2034"/>
                <a:gd name="T20" fmla="*/ 1011 w 1154"/>
                <a:gd name="T21" fmla="*/ 1820 h 2034"/>
                <a:gd name="T22" fmla="*/ 897 w 1154"/>
                <a:gd name="T23" fmla="*/ 1920 h 2034"/>
                <a:gd name="T24" fmla="*/ 762 w 1154"/>
                <a:gd name="T25" fmla="*/ 1993 h 2034"/>
                <a:gd name="T26" fmla="*/ 610 w 1154"/>
                <a:gd name="T27" fmla="*/ 2029 h 2034"/>
                <a:gd name="T28" fmla="*/ 463 w 1154"/>
                <a:gd name="T29" fmla="*/ 2031 h 2034"/>
                <a:gd name="T30" fmla="*/ 339 w 1154"/>
                <a:gd name="T31" fmla="*/ 2010 h 2034"/>
                <a:gd name="T32" fmla="*/ 246 w 1154"/>
                <a:gd name="T33" fmla="*/ 1976 h 2034"/>
                <a:gd name="T34" fmla="*/ 193 w 1154"/>
                <a:gd name="T35" fmla="*/ 1941 h 2034"/>
                <a:gd name="T36" fmla="*/ 191 w 1154"/>
                <a:gd name="T37" fmla="*/ 1939 h 2034"/>
                <a:gd name="T38" fmla="*/ 186 w 1154"/>
                <a:gd name="T39" fmla="*/ 1932 h 2034"/>
                <a:gd name="T40" fmla="*/ 173 w 1154"/>
                <a:gd name="T41" fmla="*/ 1908 h 2034"/>
                <a:gd name="T42" fmla="*/ 171 w 1154"/>
                <a:gd name="T43" fmla="*/ 1883 h 2034"/>
                <a:gd name="T44" fmla="*/ 173 w 1154"/>
                <a:gd name="T45" fmla="*/ 1868 h 2034"/>
                <a:gd name="T46" fmla="*/ 186 w 1154"/>
                <a:gd name="T47" fmla="*/ 1842 h 2034"/>
                <a:gd name="T48" fmla="*/ 222 w 1154"/>
                <a:gd name="T49" fmla="*/ 1820 h 2034"/>
                <a:gd name="T50" fmla="*/ 273 w 1154"/>
                <a:gd name="T51" fmla="*/ 1825 h 2034"/>
                <a:gd name="T52" fmla="*/ 273 w 1154"/>
                <a:gd name="T53" fmla="*/ 1825 h 2034"/>
                <a:gd name="T54" fmla="*/ 288 w 1154"/>
                <a:gd name="T55" fmla="*/ 1830 h 2034"/>
                <a:gd name="T56" fmla="*/ 307 w 1154"/>
                <a:gd name="T57" fmla="*/ 1840 h 2034"/>
                <a:gd name="T58" fmla="*/ 398 w 1154"/>
                <a:gd name="T59" fmla="*/ 1874 h 2034"/>
                <a:gd name="T60" fmla="*/ 405 w 1154"/>
                <a:gd name="T61" fmla="*/ 1876 h 2034"/>
                <a:gd name="T62" fmla="*/ 427 w 1154"/>
                <a:gd name="T63" fmla="*/ 1881 h 2034"/>
                <a:gd name="T64" fmla="*/ 521 w 1154"/>
                <a:gd name="T65" fmla="*/ 1886 h 2034"/>
                <a:gd name="T66" fmla="*/ 646 w 1154"/>
                <a:gd name="T67" fmla="*/ 1871 h 2034"/>
                <a:gd name="T68" fmla="*/ 760 w 1154"/>
                <a:gd name="T69" fmla="*/ 1827 h 2034"/>
                <a:gd name="T70" fmla="*/ 860 w 1154"/>
                <a:gd name="T71" fmla="*/ 1754 h 2034"/>
                <a:gd name="T72" fmla="*/ 940 w 1154"/>
                <a:gd name="T73" fmla="*/ 1661 h 2034"/>
                <a:gd name="T74" fmla="*/ 987 w 1154"/>
                <a:gd name="T75" fmla="*/ 1552 h 2034"/>
                <a:gd name="T76" fmla="*/ 1004 w 1154"/>
                <a:gd name="T77" fmla="*/ 1431 h 2034"/>
                <a:gd name="T78" fmla="*/ 999 w 1154"/>
                <a:gd name="T79" fmla="*/ 594 h 2034"/>
                <a:gd name="T80" fmla="*/ 965 w 1154"/>
                <a:gd name="T81" fmla="*/ 467 h 2034"/>
                <a:gd name="T82" fmla="*/ 899 w 1154"/>
                <a:gd name="T83" fmla="*/ 355 h 2034"/>
                <a:gd name="T84" fmla="*/ 799 w 1154"/>
                <a:gd name="T85" fmla="*/ 262 h 2034"/>
                <a:gd name="T86" fmla="*/ 685 w 1154"/>
                <a:gd name="T87" fmla="*/ 199 h 2034"/>
                <a:gd name="T88" fmla="*/ 560 w 1154"/>
                <a:gd name="T89" fmla="*/ 167 h 2034"/>
                <a:gd name="T90" fmla="*/ 424 w 1154"/>
                <a:gd name="T91" fmla="*/ 167 h 2034"/>
                <a:gd name="T92" fmla="*/ 298 w 1154"/>
                <a:gd name="T93" fmla="*/ 199 h 2034"/>
                <a:gd name="T94" fmla="*/ 185 w 1154"/>
                <a:gd name="T95" fmla="*/ 265 h 2034"/>
                <a:gd name="T96" fmla="*/ 108 w 1154"/>
                <a:gd name="T97" fmla="*/ 338 h 2034"/>
                <a:gd name="T98" fmla="*/ 45 w 1154"/>
                <a:gd name="T99" fmla="*/ 297 h 2034"/>
                <a:gd name="T100" fmla="*/ 6 w 1154"/>
                <a:gd name="T101" fmla="*/ 214 h 2034"/>
                <a:gd name="T102" fmla="*/ 17 w 1154"/>
                <a:gd name="T103" fmla="*/ 202 h 2034"/>
                <a:gd name="T104" fmla="*/ 22 w 1154"/>
                <a:gd name="T105" fmla="*/ 196 h 2034"/>
                <a:gd name="T106" fmla="*/ 28 w 1154"/>
                <a:gd name="T107" fmla="*/ 189 h 2034"/>
                <a:gd name="T108" fmla="*/ 146 w 1154"/>
                <a:gd name="T109" fmla="*/ 97 h 2034"/>
                <a:gd name="T110" fmla="*/ 276 w 1154"/>
                <a:gd name="T111" fmla="*/ 36 h 2034"/>
                <a:gd name="T112" fmla="*/ 419 w 1154"/>
                <a:gd name="T113" fmla="*/ 5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4" h="2034">
                  <a:moveTo>
                    <a:pt x="495" y="0"/>
                  </a:moveTo>
                  <a:lnTo>
                    <a:pt x="571" y="5"/>
                  </a:lnTo>
                  <a:lnTo>
                    <a:pt x="646" y="16"/>
                  </a:lnTo>
                  <a:lnTo>
                    <a:pt x="716" y="36"/>
                  </a:lnTo>
                  <a:lnTo>
                    <a:pt x="784" y="63"/>
                  </a:lnTo>
                  <a:lnTo>
                    <a:pt x="846" y="97"/>
                  </a:lnTo>
                  <a:lnTo>
                    <a:pt x="907" y="140"/>
                  </a:lnTo>
                  <a:lnTo>
                    <a:pt x="963" y="189"/>
                  </a:lnTo>
                  <a:lnTo>
                    <a:pt x="1014" y="245"/>
                  </a:lnTo>
                  <a:lnTo>
                    <a:pt x="1057" y="304"/>
                  </a:lnTo>
                  <a:lnTo>
                    <a:pt x="1092" y="367"/>
                  </a:lnTo>
                  <a:lnTo>
                    <a:pt x="1120" y="433"/>
                  </a:lnTo>
                  <a:lnTo>
                    <a:pt x="1138" y="504"/>
                  </a:lnTo>
                  <a:lnTo>
                    <a:pt x="1150" y="577"/>
                  </a:lnTo>
                  <a:lnTo>
                    <a:pt x="1154" y="656"/>
                  </a:lnTo>
                  <a:lnTo>
                    <a:pt x="1154" y="1431"/>
                  </a:lnTo>
                  <a:lnTo>
                    <a:pt x="1150" y="1506"/>
                  </a:lnTo>
                  <a:lnTo>
                    <a:pt x="1138" y="1576"/>
                  </a:lnTo>
                  <a:lnTo>
                    <a:pt x="1118" y="1642"/>
                  </a:lnTo>
                  <a:lnTo>
                    <a:pt x="1091" y="1705"/>
                  </a:lnTo>
                  <a:lnTo>
                    <a:pt x="1055" y="1764"/>
                  </a:lnTo>
                  <a:lnTo>
                    <a:pt x="1011" y="1820"/>
                  </a:lnTo>
                  <a:lnTo>
                    <a:pt x="960" y="1871"/>
                  </a:lnTo>
                  <a:lnTo>
                    <a:pt x="897" y="1920"/>
                  </a:lnTo>
                  <a:lnTo>
                    <a:pt x="831" y="1961"/>
                  </a:lnTo>
                  <a:lnTo>
                    <a:pt x="762" y="1993"/>
                  </a:lnTo>
                  <a:lnTo>
                    <a:pt x="687" y="2015"/>
                  </a:lnTo>
                  <a:lnTo>
                    <a:pt x="610" y="2029"/>
                  </a:lnTo>
                  <a:lnTo>
                    <a:pt x="529" y="2034"/>
                  </a:lnTo>
                  <a:lnTo>
                    <a:pt x="463" y="2031"/>
                  </a:lnTo>
                  <a:lnTo>
                    <a:pt x="398" y="2024"/>
                  </a:lnTo>
                  <a:lnTo>
                    <a:pt x="339" y="2010"/>
                  </a:lnTo>
                  <a:lnTo>
                    <a:pt x="281" y="1992"/>
                  </a:lnTo>
                  <a:lnTo>
                    <a:pt x="246" y="1976"/>
                  </a:lnTo>
                  <a:lnTo>
                    <a:pt x="215" y="1959"/>
                  </a:lnTo>
                  <a:lnTo>
                    <a:pt x="193" y="1941"/>
                  </a:lnTo>
                  <a:lnTo>
                    <a:pt x="191" y="1939"/>
                  </a:lnTo>
                  <a:lnTo>
                    <a:pt x="191" y="1939"/>
                  </a:lnTo>
                  <a:lnTo>
                    <a:pt x="186" y="1932"/>
                  </a:lnTo>
                  <a:lnTo>
                    <a:pt x="186" y="1932"/>
                  </a:lnTo>
                  <a:lnTo>
                    <a:pt x="183" y="1927"/>
                  </a:lnTo>
                  <a:lnTo>
                    <a:pt x="173" y="1908"/>
                  </a:lnTo>
                  <a:lnTo>
                    <a:pt x="169" y="1888"/>
                  </a:lnTo>
                  <a:lnTo>
                    <a:pt x="171" y="1883"/>
                  </a:lnTo>
                  <a:lnTo>
                    <a:pt x="171" y="1876"/>
                  </a:lnTo>
                  <a:lnTo>
                    <a:pt x="173" y="1868"/>
                  </a:lnTo>
                  <a:lnTo>
                    <a:pt x="176" y="1861"/>
                  </a:lnTo>
                  <a:lnTo>
                    <a:pt x="186" y="1842"/>
                  </a:lnTo>
                  <a:lnTo>
                    <a:pt x="202" y="1829"/>
                  </a:lnTo>
                  <a:lnTo>
                    <a:pt x="222" y="1820"/>
                  </a:lnTo>
                  <a:lnTo>
                    <a:pt x="244" y="1818"/>
                  </a:lnTo>
                  <a:lnTo>
                    <a:pt x="273" y="1825"/>
                  </a:lnTo>
                  <a:lnTo>
                    <a:pt x="273" y="1825"/>
                  </a:lnTo>
                  <a:lnTo>
                    <a:pt x="273" y="1825"/>
                  </a:lnTo>
                  <a:lnTo>
                    <a:pt x="274" y="1825"/>
                  </a:lnTo>
                  <a:lnTo>
                    <a:pt x="288" y="1830"/>
                  </a:lnTo>
                  <a:lnTo>
                    <a:pt x="303" y="1839"/>
                  </a:lnTo>
                  <a:lnTo>
                    <a:pt x="307" y="1840"/>
                  </a:lnTo>
                  <a:lnTo>
                    <a:pt x="353" y="1863"/>
                  </a:lnTo>
                  <a:lnTo>
                    <a:pt x="398" y="1874"/>
                  </a:lnTo>
                  <a:lnTo>
                    <a:pt x="400" y="1876"/>
                  </a:lnTo>
                  <a:lnTo>
                    <a:pt x="405" y="1876"/>
                  </a:lnTo>
                  <a:lnTo>
                    <a:pt x="417" y="1880"/>
                  </a:lnTo>
                  <a:lnTo>
                    <a:pt x="427" y="1881"/>
                  </a:lnTo>
                  <a:lnTo>
                    <a:pt x="471" y="1885"/>
                  </a:lnTo>
                  <a:lnTo>
                    <a:pt x="521" y="1886"/>
                  </a:lnTo>
                  <a:lnTo>
                    <a:pt x="585" y="1883"/>
                  </a:lnTo>
                  <a:lnTo>
                    <a:pt x="646" y="1871"/>
                  </a:lnTo>
                  <a:lnTo>
                    <a:pt x="704" y="1852"/>
                  </a:lnTo>
                  <a:lnTo>
                    <a:pt x="760" y="1827"/>
                  </a:lnTo>
                  <a:lnTo>
                    <a:pt x="811" y="1795"/>
                  </a:lnTo>
                  <a:lnTo>
                    <a:pt x="860" y="1754"/>
                  </a:lnTo>
                  <a:lnTo>
                    <a:pt x="904" y="1708"/>
                  </a:lnTo>
                  <a:lnTo>
                    <a:pt x="940" y="1661"/>
                  </a:lnTo>
                  <a:lnTo>
                    <a:pt x="969" y="1608"/>
                  </a:lnTo>
                  <a:lnTo>
                    <a:pt x="987" y="1552"/>
                  </a:lnTo>
                  <a:lnTo>
                    <a:pt x="999" y="1494"/>
                  </a:lnTo>
                  <a:lnTo>
                    <a:pt x="1004" y="1431"/>
                  </a:lnTo>
                  <a:lnTo>
                    <a:pt x="1004" y="662"/>
                  </a:lnTo>
                  <a:lnTo>
                    <a:pt x="999" y="594"/>
                  </a:lnTo>
                  <a:lnTo>
                    <a:pt x="987" y="528"/>
                  </a:lnTo>
                  <a:lnTo>
                    <a:pt x="965" y="467"/>
                  </a:lnTo>
                  <a:lnTo>
                    <a:pt x="936" y="409"/>
                  </a:lnTo>
                  <a:lnTo>
                    <a:pt x="899" y="355"/>
                  </a:lnTo>
                  <a:lnTo>
                    <a:pt x="851" y="306"/>
                  </a:lnTo>
                  <a:lnTo>
                    <a:pt x="799" y="262"/>
                  </a:lnTo>
                  <a:lnTo>
                    <a:pt x="745" y="226"/>
                  </a:lnTo>
                  <a:lnTo>
                    <a:pt x="685" y="199"/>
                  </a:lnTo>
                  <a:lnTo>
                    <a:pt x="624" y="179"/>
                  </a:lnTo>
                  <a:lnTo>
                    <a:pt x="560" y="167"/>
                  </a:lnTo>
                  <a:lnTo>
                    <a:pt x="492" y="163"/>
                  </a:lnTo>
                  <a:lnTo>
                    <a:pt x="424" y="167"/>
                  </a:lnTo>
                  <a:lnTo>
                    <a:pt x="359" y="179"/>
                  </a:lnTo>
                  <a:lnTo>
                    <a:pt x="298" y="199"/>
                  </a:lnTo>
                  <a:lnTo>
                    <a:pt x="241" y="228"/>
                  </a:lnTo>
                  <a:lnTo>
                    <a:pt x="185" y="265"/>
                  </a:lnTo>
                  <a:lnTo>
                    <a:pt x="134" y="309"/>
                  </a:lnTo>
                  <a:lnTo>
                    <a:pt x="108" y="338"/>
                  </a:lnTo>
                  <a:lnTo>
                    <a:pt x="83" y="377"/>
                  </a:lnTo>
                  <a:lnTo>
                    <a:pt x="45" y="297"/>
                  </a:lnTo>
                  <a:lnTo>
                    <a:pt x="0" y="221"/>
                  </a:lnTo>
                  <a:lnTo>
                    <a:pt x="6" y="214"/>
                  </a:lnTo>
                  <a:lnTo>
                    <a:pt x="11" y="207"/>
                  </a:lnTo>
                  <a:lnTo>
                    <a:pt x="17" y="202"/>
                  </a:lnTo>
                  <a:lnTo>
                    <a:pt x="20" y="199"/>
                  </a:lnTo>
                  <a:lnTo>
                    <a:pt x="22" y="196"/>
                  </a:lnTo>
                  <a:lnTo>
                    <a:pt x="22" y="196"/>
                  </a:lnTo>
                  <a:lnTo>
                    <a:pt x="28" y="189"/>
                  </a:lnTo>
                  <a:lnTo>
                    <a:pt x="84" y="140"/>
                  </a:lnTo>
                  <a:lnTo>
                    <a:pt x="146" y="97"/>
                  </a:lnTo>
                  <a:lnTo>
                    <a:pt x="208" y="63"/>
                  </a:lnTo>
                  <a:lnTo>
                    <a:pt x="276" y="36"/>
                  </a:lnTo>
                  <a:lnTo>
                    <a:pt x="346" y="16"/>
                  </a:lnTo>
                  <a:lnTo>
                    <a:pt x="419" y="5"/>
                  </a:lnTo>
                  <a:lnTo>
                    <a:pt x="4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3" name="Freeform 14"/>
            <p:cNvSpPr>
              <a:spLocks noEditPoints="1"/>
            </p:cNvSpPr>
            <p:nvPr/>
          </p:nvSpPr>
          <p:spPr bwMode="auto">
            <a:xfrm>
              <a:off x="7736" y="1162"/>
              <a:ext cx="866" cy="761"/>
            </a:xfrm>
            <a:custGeom>
              <a:avLst/>
              <a:gdLst>
                <a:gd name="T0" fmla="*/ 346 w 866"/>
                <a:gd name="T1" fmla="*/ 151 h 761"/>
                <a:gd name="T2" fmla="*/ 268 w 866"/>
                <a:gd name="T3" fmla="*/ 185 h 761"/>
                <a:gd name="T4" fmla="*/ 207 w 866"/>
                <a:gd name="T5" fmla="*/ 245 h 761"/>
                <a:gd name="T6" fmla="*/ 171 w 866"/>
                <a:gd name="T7" fmla="*/ 324 h 761"/>
                <a:gd name="T8" fmla="*/ 597 w 866"/>
                <a:gd name="T9" fmla="*/ 282 h 761"/>
                <a:gd name="T10" fmla="*/ 548 w 866"/>
                <a:gd name="T11" fmla="*/ 211 h 761"/>
                <a:gd name="T12" fmla="*/ 477 w 866"/>
                <a:gd name="T13" fmla="*/ 165 h 761"/>
                <a:gd name="T14" fmla="*/ 392 w 866"/>
                <a:gd name="T15" fmla="*/ 146 h 761"/>
                <a:gd name="T16" fmla="*/ 448 w 866"/>
                <a:gd name="T17" fmla="*/ 3 h 761"/>
                <a:gd name="T18" fmla="*/ 547 w 866"/>
                <a:gd name="T19" fmla="*/ 29 h 761"/>
                <a:gd name="T20" fmla="*/ 630 w 866"/>
                <a:gd name="T21" fmla="*/ 82 h 761"/>
                <a:gd name="T22" fmla="*/ 698 w 866"/>
                <a:gd name="T23" fmla="*/ 161 h 761"/>
                <a:gd name="T24" fmla="*/ 754 w 866"/>
                <a:gd name="T25" fmla="*/ 280 h 761"/>
                <a:gd name="T26" fmla="*/ 772 w 866"/>
                <a:gd name="T27" fmla="*/ 399 h 761"/>
                <a:gd name="T28" fmla="*/ 760 w 866"/>
                <a:gd name="T29" fmla="*/ 452 h 761"/>
                <a:gd name="T30" fmla="*/ 723 w 866"/>
                <a:gd name="T31" fmla="*/ 477 h 761"/>
                <a:gd name="T32" fmla="*/ 194 w 866"/>
                <a:gd name="T33" fmla="*/ 481 h 761"/>
                <a:gd name="T34" fmla="*/ 246 w 866"/>
                <a:gd name="T35" fmla="*/ 543 h 761"/>
                <a:gd name="T36" fmla="*/ 319 w 866"/>
                <a:gd name="T37" fmla="*/ 586 h 761"/>
                <a:gd name="T38" fmla="*/ 404 w 866"/>
                <a:gd name="T39" fmla="*/ 599 h 761"/>
                <a:gd name="T40" fmla="*/ 821 w 866"/>
                <a:gd name="T41" fmla="*/ 655 h 761"/>
                <a:gd name="T42" fmla="*/ 866 w 866"/>
                <a:gd name="T43" fmla="*/ 761 h 761"/>
                <a:gd name="T44" fmla="*/ 339 w 866"/>
                <a:gd name="T45" fmla="*/ 757 h 761"/>
                <a:gd name="T46" fmla="*/ 221 w 866"/>
                <a:gd name="T47" fmla="*/ 720 h 761"/>
                <a:gd name="T48" fmla="*/ 119 w 866"/>
                <a:gd name="T49" fmla="*/ 645 h 761"/>
                <a:gd name="T50" fmla="*/ 53 w 866"/>
                <a:gd name="T51" fmla="*/ 562 h 761"/>
                <a:gd name="T52" fmla="*/ 12 w 866"/>
                <a:gd name="T53" fmla="*/ 467 h 761"/>
                <a:gd name="T54" fmla="*/ 0 w 866"/>
                <a:gd name="T55" fmla="*/ 357 h 761"/>
                <a:gd name="T56" fmla="*/ 12 w 866"/>
                <a:gd name="T57" fmla="*/ 258 h 761"/>
                <a:gd name="T58" fmla="*/ 51 w 866"/>
                <a:gd name="T59" fmla="*/ 172 h 761"/>
                <a:gd name="T60" fmla="*/ 117 w 866"/>
                <a:gd name="T61" fmla="*/ 99 h 761"/>
                <a:gd name="T62" fmla="*/ 217 w 866"/>
                <a:gd name="T63" fmla="*/ 36 h 761"/>
                <a:gd name="T64" fmla="*/ 331 w 866"/>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6" h="761">
                  <a:moveTo>
                    <a:pt x="392" y="146"/>
                  </a:moveTo>
                  <a:lnTo>
                    <a:pt x="346" y="151"/>
                  </a:lnTo>
                  <a:lnTo>
                    <a:pt x="306" y="165"/>
                  </a:lnTo>
                  <a:lnTo>
                    <a:pt x="268" y="185"/>
                  </a:lnTo>
                  <a:lnTo>
                    <a:pt x="234" y="211"/>
                  </a:lnTo>
                  <a:lnTo>
                    <a:pt x="207" y="245"/>
                  </a:lnTo>
                  <a:lnTo>
                    <a:pt x="187" y="282"/>
                  </a:lnTo>
                  <a:lnTo>
                    <a:pt x="171" y="324"/>
                  </a:lnTo>
                  <a:lnTo>
                    <a:pt x="611" y="324"/>
                  </a:lnTo>
                  <a:lnTo>
                    <a:pt x="597" y="282"/>
                  </a:lnTo>
                  <a:lnTo>
                    <a:pt x="575" y="245"/>
                  </a:lnTo>
                  <a:lnTo>
                    <a:pt x="548" y="211"/>
                  </a:lnTo>
                  <a:lnTo>
                    <a:pt x="514" y="185"/>
                  </a:lnTo>
                  <a:lnTo>
                    <a:pt x="477" y="165"/>
                  </a:lnTo>
                  <a:lnTo>
                    <a:pt x="436" y="151"/>
                  </a:lnTo>
                  <a:lnTo>
                    <a:pt x="392" y="146"/>
                  </a:lnTo>
                  <a:close/>
                  <a:moveTo>
                    <a:pt x="394" y="0"/>
                  </a:moveTo>
                  <a:lnTo>
                    <a:pt x="448" y="3"/>
                  </a:lnTo>
                  <a:lnTo>
                    <a:pt x="499" y="14"/>
                  </a:lnTo>
                  <a:lnTo>
                    <a:pt x="547" y="29"/>
                  </a:lnTo>
                  <a:lnTo>
                    <a:pt x="591" y="53"/>
                  </a:lnTo>
                  <a:lnTo>
                    <a:pt x="630" y="82"/>
                  </a:lnTo>
                  <a:lnTo>
                    <a:pt x="665" y="119"/>
                  </a:lnTo>
                  <a:lnTo>
                    <a:pt x="698" y="161"/>
                  </a:lnTo>
                  <a:lnTo>
                    <a:pt x="730" y="221"/>
                  </a:lnTo>
                  <a:lnTo>
                    <a:pt x="754" y="280"/>
                  </a:lnTo>
                  <a:lnTo>
                    <a:pt x="767" y="340"/>
                  </a:lnTo>
                  <a:lnTo>
                    <a:pt x="772" y="399"/>
                  </a:lnTo>
                  <a:lnTo>
                    <a:pt x="769" y="428"/>
                  </a:lnTo>
                  <a:lnTo>
                    <a:pt x="760" y="452"/>
                  </a:lnTo>
                  <a:lnTo>
                    <a:pt x="743" y="467"/>
                  </a:lnTo>
                  <a:lnTo>
                    <a:pt x="723" y="477"/>
                  </a:lnTo>
                  <a:lnTo>
                    <a:pt x="694" y="481"/>
                  </a:lnTo>
                  <a:lnTo>
                    <a:pt x="194" y="481"/>
                  </a:lnTo>
                  <a:lnTo>
                    <a:pt x="217" y="514"/>
                  </a:lnTo>
                  <a:lnTo>
                    <a:pt x="246" y="543"/>
                  </a:lnTo>
                  <a:lnTo>
                    <a:pt x="280" y="567"/>
                  </a:lnTo>
                  <a:lnTo>
                    <a:pt x="319" y="586"/>
                  </a:lnTo>
                  <a:lnTo>
                    <a:pt x="360" y="596"/>
                  </a:lnTo>
                  <a:lnTo>
                    <a:pt x="404" y="599"/>
                  </a:lnTo>
                  <a:lnTo>
                    <a:pt x="804" y="599"/>
                  </a:lnTo>
                  <a:lnTo>
                    <a:pt x="821" y="655"/>
                  </a:lnTo>
                  <a:lnTo>
                    <a:pt x="842" y="710"/>
                  </a:lnTo>
                  <a:lnTo>
                    <a:pt x="866" y="761"/>
                  </a:lnTo>
                  <a:lnTo>
                    <a:pt x="404" y="761"/>
                  </a:lnTo>
                  <a:lnTo>
                    <a:pt x="339" y="757"/>
                  </a:lnTo>
                  <a:lnTo>
                    <a:pt x="278" y="744"/>
                  </a:lnTo>
                  <a:lnTo>
                    <a:pt x="221" y="720"/>
                  </a:lnTo>
                  <a:lnTo>
                    <a:pt x="168" y="688"/>
                  </a:lnTo>
                  <a:lnTo>
                    <a:pt x="119" y="645"/>
                  </a:lnTo>
                  <a:lnTo>
                    <a:pt x="82" y="606"/>
                  </a:lnTo>
                  <a:lnTo>
                    <a:pt x="53" y="562"/>
                  </a:lnTo>
                  <a:lnTo>
                    <a:pt x="29" y="516"/>
                  </a:lnTo>
                  <a:lnTo>
                    <a:pt x="12" y="467"/>
                  </a:lnTo>
                  <a:lnTo>
                    <a:pt x="3" y="414"/>
                  </a:lnTo>
                  <a:lnTo>
                    <a:pt x="0" y="357"/>
                  </a:lnTo>
                  <a:lnTo>
                    <a:pt x="3" y="306"/>
                  </a:lnTo>
                  <a:lnTo>
                    <a:pt x="12" y="258"/>
                  </a:lnTo>
                  <a:lnTo>
                    <a:pt x="29" y="214"/>
                  </a:lnTo>
                  <a:lnTo>
                    <a:pt x="51" y="172"/>
                  </a:lnTo>
                  <a:lnTo>
                    <a:pt x="82" y="134"/>
                  </a:lnTo>
                  <a:lnTo>
                    <a:pt x="117" y="99"/>
                  </a:lnTo>
                  <a:lnTo>
                    <a:pt x="165" y="63"/>
                  </a:lnTo>
                  <a:lnTo>
                    <a:pt x="217" y="36"/>
                  </a:lnTo>
                  <a:lnTo>
                    <a:pt x="272" y="15"/>
                  </a:lnTo>
                  <a:lnTo>
                    <a:pt x="331" y="3"/>
                  </a:lnTo>
                  <a:lnTo>
                    <a:pt x="39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4" name="Freeform 15"/>
            <p:cNvSpPr>
              <a:spLocks noEditPoints="1"/>
            </p:cNvSpPr>
            <p:nvPr/>
          </p:nvSpPr>
          <p:spPr bwMode="auto">
            <a:xfrm>
              <a:off x="8919" y="1164"/>
              <a:ext cx="779" cy="794"/>
            </a:xfrm>
            <a:custGeom>
              <a:avLst/>
              <a:gdLst>
                <a:gd name="T0" fmla="*/ 343 w 779"/>
                <a:gd name="T1" fmla="*/ 168 h 794"/>
                <a:gd name="T2" fmla="*/ 261 w 779"/>
                <a:gd name="T3" fmla="*/ 202 h 794"/>
                <a:gd name="T4" fmla="*/ 197 w 779"/>
                <a:gd name="T5" fmla="*/ 266 h 794"/>
                <a:gd name="T6" fmla="*/ 163 w 779"/>
                <a:gd name="T7" fmla="*/ 350 h 794"/>
                <a:gd name="T8" fmla="*/ 163 w 779"/>
                <a:gd name="T9" fmla="*/ 443 h 794"/>
                <a:gd name="T10" fmla="*/ 195 w 779"/>
                <a:gd name="T11" fmla="*/ 526 h 794"/>
                <a:gd name="T12" fmla="*/ 260 w 779"/>
                <a:gd name="T13" fmla="*/ 592 h 794"/>
                <a:gd name="T14" fmla="*/ 341 w 779"/>
                <a:gd name="T15" fmla="*/ 628 h 794"/>
                <a:gd name="T16" fmla="*/ 433 w 779"/>
                <a:gd name="T17" fmla="*/ 628 h 794"/>
                <a:gd name="T18" fmla="*/ 514 w 779"/>
                <a:gd name="T19" fmla="*/ 592 h 794"/>
                <a:gd name="T20" fmla="*/ 580 w 779"/>
                <a:gd name="T21" fmla="*/ 526 h 794"/>
                <a:gd name="T22" fmla="*/ 614 w 779"/>
                <a:gd name="T23" fmla="*/ 443 h 794"/>
                <a:gd name="T24" fmla="*/ 614 w 779"/>
                <a:gd name="T25" fmla="*/ 350 h 794"/>
                <a:gd name="T26" fmla="*/ 580 w 779"/>
                <a:gd name="T27" fmla="*/ 266 h 794"/>
                <a:gd name="T28" fmla="*/ 516 w 779"/>
                <a:gd name="T29" fmla="*/ 202 h 794"/>
                <a:gd name="T30" fmla="*/ 434 w 779"/>
                <a:gd name="T31" fmla="*/ 168 h 794"/>
                <a:gd name="T32" fmla="*/ 388 w 779"/>
                <a:gd name="T33" fmla="*/ 0 h 794"/>
                <a:gd name="T34" fmla="*/ 511 w 779"/>
                <a:gd name="T35" fmla="*/ 18 h 794"/>
                <a:gd name="T36" fmla="*/ 616 w 779"/>
                <a:gd name="T37" fmla="*/ 74 h 794"/>
                <a:gd name="T38" fmla="*/ 706 w 779"/>
                <a:gd name="T39" fmla="*/ 163 h 794"/>
                <a:gd name="T40" fmla="*/ 760 w 779"/>
                <a:gd name="T41" fmla="*/ 273 h 794"/>
                <a:gd name="T42" fmla="*/ 779 w 779"/>
                <a:gd name="T43" fmla="*/ 399 h 794"/>
                <a:gd name="T44" fmla="*/ 760 w 779"/>
                <a:gd name="T45" fmla="*/ 521 h 794"/>
                <a:gd name="T46" fmla="*/ 706 w 779"/>
                <a:gd name="T47" fmla="*/ 630 h 794"/>
                <a:gd name="T48" fmla="*/ 618 w 779"/>
                <a:gd name="T49" fmla="*/ 720 h 794"/>
                <a:gd name="T50" fmla="*/ 512 w 779"/>
                <a:gd name="T51" fmla="*/ 776 h 794"/>
                <a:gd name="T52" fmla="*/ 388 w 779"/>
                <a:gd name="T53" fmla="*/ 794 h 794"/>
                <a:gd name="T54" fmla="*/ 266 w 779"/>
                <a:gd name="T55" fmla="*/ 776 h 794"/>
                <a:gd name="T56" fmla="*/ 161 w 779"/>
                <a:gd name="T57" fmla="*/ 721 h 794"/>
                <a:gd name="T58" fmla="*/ 73 w 779"/>
                <a:gd name="T59" fmla="*/ 631 h 794"/>
                <a:gd name="T60" fmla="*/ 17 w 779"/>
                <a:gd name="T61" fmla="*/ 523 h 794"/>
                <a:gd name="T62" fmla="*/ 0 w 779"/>
                <a:gd name="T63" fmla="*/ 399 h 794"/>
                <a:gd name="T64" fmla="*/ 17 w 779"/>
                <a:gd name="T65" fmla="*/ 275 h 794"/>
                <a:gd name="T66" fmla="*/ 71 w 779"/>
                <a:gd name="T67" fmla="*/ 166 h 794"/>
                <a:gd name="T68" fmla="*/ 159 w 779"/>
                <a:gd name="T69" fmla="*/ 74 h 794"/>
                <a:gd name="T70" fmla="*/ 265 w 779"/>
                <a:gd name="T71" fmla="*/ 18 h 794"/>
                <a:gd name="T72" fmla="*/ 388 w 779"/>
                <a:gd name="T73"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9" h="794">
                  <a:moveTo>
                    <a:pt x="388" y="163"/>
                  </a:moveTo>
                  <a:lnTo>
                    <a:pt x="343" y="168"/>
                  </a:lnTo>
                  <a:lnTo>
                    <a:pt x="300" y="180"/>
                  </a:lnTo>
                  <a:lnTo>
                    <a:pt x="261" y="202"/>
                  </a:lnTo>
                  <a:lnTo>
                    <a:pt x="226" y="231"/>
                  </a:lnTo>
                  <a:lnTo>
                    <a:pt x="197" y="266"/>
                  </a:lnTo>
                  <a:lnTo>
                    <a:pt x="175" y="307"/>
                  </a:lnTo>
                  <a:lnTo>
                    <a:pt x="163" y="350"/>
                  </a:lnTo>
                  <a:lnTo>
                    <a:pt x="158" y="397"/>
                  </a:lnTo>
                  <a:lnTo>
                    <a:pt x="163" y="443"/>
                  </a:lnTo>
                  <a:lnTo>
                    <a:pt x="175" y="487"/>
                  </a:lnTo>
                  <a:lnTo>
                    <a:pt x="195" y="526"/>
                  </a:lnTo>
                  <a:lnTo>
                    <a:pt x="224" y="562"/>
                  </a:lnTo>
                  <a:lnTo>
                    <a:pt x="260" y="592"/>
                  </a:lnTo>
                  <a:lnTo>
                    <a:pt x="299" y="614"/>
                  </a:lnTo>
                  <a:lnTo>
                    <a:pt x="341" y="628"/>
                  </a:lnTo>
                  <a:lnTo>
                    <a:pt x="388" y="631"/>
                  </a:lnTo>
                  <a:lnTo>
                    <a:pt x="433" y="628"/>
                  </a:lnTo>
                  <a:lnTo>
                    <a:pt x="475" y="614"/>
                  </a:lnTo>
                  <a:lnTo>
                    <a:pt x="514" y="592"/>
                  </a:lnTo>
                  <a:lnTo>
                    <a:pt x="550" y="562"/>
                  </a:lnTo>
                  <a:lnTo>
                    <a:pt x="580" y="526"/>
                  </a:lnTo>
                  <a:lnTo>
                    <a:pt x="602" y="487"/>
                  </a:lnTo>
                  <a:lnTo>
                    <a:pt x="614" y="443"/>
                  </a:lnTo>
                  <a:lnTo>
                    <a:pt x="619" y="397"/>
                  </a:lnTo>
                  <a:lnTo>
                    <a:pt x="614" y="350"/>
                  </a:lnTo>
                  <a:lnTo>
                    <a:pt x="602" y="307"/>
                  </a:lnTo>
                  <a:lnTo>
                    <a:pt x="580" y="266"/>
                  </a:lnTo>
                  <a:lnTo>
                    <a:pt x="551" y="231"/>
                  </a:lnTo>
                  <a:lnTo>
                    <a:pt x="516" y="202"/>
                  </a:lnTo>
                  <a:lnTo>
                    <a:pt x="477" y="180"/>
                  </a:lnTo>
                  <a:lnTo>
                    <a:pt x="434" y="168"/>
                  </a:lnTo>
                  <a:lnTo>
                    <a:pt x="388" y="163"/>
                  </a:lnTo>
                  <a:close/>
                  <a:moveTo>
                    <a:pt x="388" y="0"/>
                  </a:moveTo>
                  <a:lnTo>
                    <a:pt x="451" y="5"/>
                  </a:lnTo>
                  <a:lnTo>
                    <a:pt x="511" y="18"/>
                  </a:lnTo>
                  <a:lnTo>
                    <a:pt x="565" y="42"/>
                  </a:lnTo>
                  <a:lnTo>
                    <a:pt x="616" y="74"/>
                  </a:lnTo>
                  <a:lnTo>
                    <a:pt x="663" y="115"/>
                  </a:lnTo>
                  <a:lnTo>
                    <a:pt x="706" y="163"/>
                  </a:lnTo>
                  <a:lnTo>
                    <a:pt x="736" y="215"/>
                  </a:lnTo>
                  <a:lnTo>
                    <a:pt x="760" y="273"/>
                  </a:lnTo>
                  <a:lnTo>
                    <a:pt x="774" y="334"/>
                  </a:lnTo>
                  <a:lnTo>
                    <a:pt x="779" y="399"/>
                  </a:lnTo>
                  <a:lnTo>
                    <a:pt x="774" y="462"/>
                  </a:lnTo>
                  <a:lnTo>
                    <a:pt x="760" y="521"/>
                  </a:lnTo>
                  <a:lnTo>
                    <a:pt x="738" y="577"/>
                  </a:lnTo>
                  <a:lnTo>
                    <a:pt x="706" y="630"/>
                  </a:lnTo>
                  <a:lnTo>
                    <a:pt x="665" y="677"/>
                  </a:lnTo>
                  <a:lnTo>
                    <a:pt x="618" y="720"/>
                  </a:lnTo>
                  <a:lnTo>
                    <a:pt x="567" y="752"/>
                  </a:lnTo>
                  <a:lnTo>
                    <a:pt x="512" y="776"/>
                  </a:lnTo>
                  <a:lnTo>
                    <a:pt x="453" y="789"/>
                  </a:lnTo>
                  <a:lnTo>
                    <a:pt x="388" y="794"/>
                  </a:lnTo>
                  <a:lnTo>
                    <a:pt x="326" y="789"/>
                  </a:lnTo>
                  <a:lnTo>
                    <a:pt x="266" y="776"/>
                  </a:lnTo>
                  <a:lnTo>
                    <a:pt x="212" y="754"/>
                  </a:lnTo>
                  <a:lnTo>
                    <a:pt x="161" y="721"/>
                  </a:lnTo>
                  <a:lnTo>
                    <a:pt x="114" y="679"/>
                  </a:lnTo>
                  <a:lnTo>
                    <a:pt x="73" y="631"/>
                  </a:lnTo>
                  <a:lnTo>
                    <a:pt x="41" y="579"/>
                  </a:lnTo>
                  <a:lnTo>
                    <a:pt x="17" y="523"/>
                  </a:lnTo>
                  <a:lnTo>
                    <a:pt x="3" y="463"/>
                  </a:lnTo>
                  <a:lnTo>
                    <a:pt x="0" y="399"/>
                  </a:lnTo>
                  <a:lnTo>
                    <a:pt x="3" y="334"/>
                  </a:lnTo>
                  <a:lnTo>
                    <a:pt x="17" y="275"/>
                  </a:lnTo>
                  <a:lnTo>
                    <a:pt x="41" y="217"/>
                  </a:lnTo>
                  <a:lnTo>
                    <a:pt x="71" y="166"/>
                  </a:lnTo>
                  <a:lnTo>
                    <a:pt x="112" y="117"/>
                  </a:lnTo>
                  <a:lnTo>
                    <a:pt x="159" y="74"/>
                  </a:lnTo>
                  <a:lnTo>
                    <a:pt x="210" y="42"/>
                  </a:lnTo>
                  <a:lnTo>
                    <a:pt x="265" y="18"/>
                  </a:lnTo>
                  <a:lnTo>
                    <a:pt x="326" y="5"/>
                  </a:lnTo>
                  <a:lnTo>
                    <a:pt x="3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grpSp>
    </p:spTree>
    <p:extLst>
      <p:ext uri="{BB962C8B-B14F-4D97-AF65-F5344CB8AC3E}">
        <p14:creationId xmlns:p14="http://schemas.microsoft.com/office/powerpoint/2010/main" val="218063112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697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9" name="Picture 8" descr="A picture containing person&#10;&#10;Description automatically generated">
            <a:extLst>
              <a:ext uri="{FF2B5EF4-FFF2-40B4-BE49-F238E27FC236}">
                <a16:creationId xmlns:a16="http://schemas.microsoft.com/office/drawing/2014/main" id="{D5A955CA-2D72-426A-B610-88A732D7E35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637" t="4420" r="3637" b="26072"/>
          <a:stretch/>
        </p:blipFill>
        <p:spPr>
          <a:xfrm>
            <a:off x="-1" y="0"/>
            <a:ext cx="12192001" cy="6092826"/>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553905784"/>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D655B0E-4D6E-4916-A949-74CE2F514FBC}"/>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D2A8E63C-FCFC-4E92-BAEE-F636A7BF4019}"/>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F6DC268F-AB01-4939-83CA-3B9FC3EE6A9E}"/>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Rectangle 5">
            <a:extLst>
              <a:ext uri="{FF2B5EF4-FFF2-40B4-BE49-F238E27FC236}">
                <a16:creationId xmlns:a16="http://schemas.microsoft.com/office/drawing/2014/main" id="{09514CFB-A0CA-4C38-85D8-54C021B7B59E}"/>
              </a:ext>
            </a:extLst>
          </p:cNvPr>
          <p:cNvSpPr/>
          <p:nvPr userDrawn="1"/>
        </p:nvSpPr>
        <p:spPr>
          <a:xfrm>
            <a:off x="3703120" y="1700214"/>
            <a:ext cx="7961832" cy="4302775"/>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92" b="1">
              <a:solidFill>
                <a:schemeClr val="tx1"/>
              </a:solidFill>
            </a:endParaRPr>
          </a:p>
        </p:txBody>
      </p:sp>
      <p:sp>
        <p:nvSpPr>
          <p:cNvPr id="22" name="Rectangle 21">
            <a:extLst>
              <a:ext uri="{FF2B5EF4-FFF2-40B4-BE49-F238E27FC236}">
                <a16:creationId xmlns:a16="http://schemas.microsoft.com/office/drawing/2014/main" id="{E255E664-9FF2-4996-A79F-50A29FEC9305}"/>
              </a:ext>
            </a:extLst>
          </p:cNvPr>
          <p:cNvSpPr/>
          <p:nvPr userDrawn="1"/>
        </p:nvSpPr>
        <p:spPr>
          <a:xfrm>
            <a:off x="1295467" y="1700213"/>
            <a:ext cx="2290044" cy="4302775"/>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3231" rIns="33231" rtlCol="0" anchor="ctr"/>
          <a:lstStyle/>
          <a:p>
            <a:pPr algn="ctr">
              <a:lnSpc>
                <a:spcPct val="150000"/>
              </a:lnSpc>
            </a:pPr>
            <a:r>
              <a:rPr lang="en-GB" sz="1600" b="1" err="1">
                <a:solidFill>
                  <a:schemeClr val="tx1">
                    <a:lumMod val="75000"/>
                    <a:lumOff val="25000"/>
                  </a:schemeClr>
                </a:solidFill>
              </a:rPr>
              <a:t>dfsqkjfqsdkjlfdsqkjlfdskjlfdskjlfdsqkjlfsdqjklfsdqkjl</a:t>
            </a:r>
            <a:endParaRPr lang="en-GB" sz="1600" b="1">
              <a:solidFill>
                <a:schemeClr val="tx1">
                  <a:lumMod val="75000"/>
                  <a:lumOff val="25000"/>
                </a:schemeClr>
              </a:solidFill>
            </a:endParaRPr>
          </a:p>
        </p:txBody>
      </p:sp>
      <p:sp>
        <p:nvSpPr>
          <p:cNvPr id="23" name="Title 3">
            <a:extLst>
              <a:ext uri="{FF2B5EF4-FFF2-40B4-BE49-F238E27FC236}">
                <a16:creationId xmlns:a16="http://schemas.microsoft.com/office/drawing/2014/main" id="{67230B58-34B9-4C22-9B95-B44DF1148520}"/>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24" name="TextBox 23">
            <a:extLst>
              <a:ext uri="{FF2B5EF4-FFF2-40B4-BE49-F238E27FC236}">
                <a16:creationId xmlns:a16="http://schemas.microsoft.com/office/drawing/2014/main" id="{B66D2C8A-F9AD-4BB8-908B-07E08E4D8800}"/>
              </a:ext>
            </a:extLst>
          </p:cNvPr>
          <p:cNvSpPr txBox="1"/>
          <p:nvPr userDrawn="1"/>
        </p:nvSpPr>
        <p:spPr bwMode="auto">
          <a:xfrm>
            <a:off x="11255623" y="712343"/>
            <a:ext cx="409328" cy="428570"/>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solidFill>
                  <a:schemeClr val="tx1">
                    <a:lumMod val="75000"/>
                    <a:lumOff val="25000"/>
                  </a:schemeClr>
                </a:solidFill>
                <a:latin typeface="+mn-lt"/>
              </a:rPr>
              <a:t>1</a:t>
            </a:r>
          </a:p>
        </p:txBody>
      </p:sp>
      <p:grpSp>
        <p:nvGrpSpPr>
          <p:cNvPr id="25" name="Group 24">
            <a:extLst>
              <a:ext uri="{FF2B5EF4-FFF2-40B4-BE49-F238E27FC236}">
                <a16:creationId xmlns:a16="http://schemas.microsoft.com/office/drawing/2014/main" id="{8AD46B3E-4661-40C8-9184-3B99D0B21C9A}"/>
              </a:ext>
            </a:extLst>
          </p:cNvPr>
          <p:cNvGrpSpPr/>
          <p:nvPr userDrawn="1"/>
        </p:nvGrpSpPr>
        <p:grpSpPr>
          <a:xfrm>
            <a:off x="5884258" y="3181933"/>
            <a:ext cx="2235199" cy="2235199"/>
            <a:chOff x="3145520" y="2897900"/>
            <a:chExt cx="2421466" cy="2421466"/>
          </a:xfrm>
          <a:solidFill>
            <a:schemeClr val="accent2"/>
          </a:solidFill>
        </p:grpSpPr>
        <p:sp>
          <p:nvSpPr>
            <p:cNvPr id="26" name="Shape 25">
              <a:extLst>
                <a:ext uri="{FF2B5EF4-FFF2-40B4-BE49-F238E27FC236}">
                  <a16:creationId xmlns:a16="http://schemas.microsoft.com/office/drawing/2014/main" id="{ACC8D50C-58B2-4846-AF7A-B91EA018D0C1}"/>
                </a:ext>
              </a:extLst>
            </p:cNvPr>
            <p:cNvSpPr/>
            <p:nvPr/>
          </p:nvSpPr>
          <p:spPr>
            <a:xfrm>
              <a:off x="3145520" y="2897900"/>
              <a:ext cx="2421466" cy="2421466"/>
            </a:xfrm>
            <a:prstGeom prst="gear9">
              <a:avLst/>
            </a:prstGeom>
            <a:grp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GB" sz="1200"/>
            </a:p>
          </p:txBody>
        </p:sp>
        <p:sp>
          <p:nvSpPr>
            <p:cNvPr id="27" name="Shape 4">
              <a:extLst>
                <a:ext uri="{FF2B5EF4-FFF2-40B4-BE49-F238E27FC236}">
                  <a16:creationId xmlns:a16="http://schemas.microsoft.com/office/drawing/2014/main" id="{85DA747F-4DB6-4D1E-A203-D2F48E5C1267}"/>
                </a:ext>
              </a:extLst>
            </p:cNvPr>
            <p:cNvSpPr/>
            <p:nvPr/>
          </p:nvSpPr>
          <p:spPr>
            <a:xfrm>
              <a:off x="3560334" y="3465117"/>
              <a:ext cx="1646612" cy="1244683"/>
            </a:xfrm>
            <a:prstGeom prst="rect">
              <a:avLst/>
            </a:prstGeom>
            <a:noFill/>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53926" tIns="53926" rIns="53926" bIns="53926" numCol="1" spcCol="1270" anchor="ctr" anchorCtr="0">
              <a:noAutofit/>
            </a:bodyPr>
            <a:lstStyle/>
            <a:p>
              <a:pPr algn="ctr" defTabSz="1887463">
                <a:lnSpc>
                  <a:spcPct val="90000"/>
                </a:lnSpc>
                <a:spcBef>
                  <a:spcPct val="0"/>
                </a:spcBef>
                <a:spcAft>
                  <a:spcPct val="35000"/>
                </a:spcAft>
              </a:pPr>
              <a:r>
                <a:rPr lang="en-GB" sz="1200" b="1" err="1"/>
                <a:t>dqsfqsdffsdqfsd</a:t>
              </a:r>
              <a:endParaRPr lang="en-GB" sz="1200" b="1"/>
            </a:p>
          </p:txBody>
        </p:sp>
      </p:grpSp>
      <p:grpSp>
        <p:nvGrpSpPr>
          <p:cNvPr id="28" name="Group 27">
            <a:extLst>
              <a:ext uri="{FF2B5EF4-FFF2-40B4-BE49-F238E27FC236}">
                <a16:creationId xmlns:a16="http://schemas.microsoft.com/office/drawing/2014/main" id="{88526721-C3FD-464B-8A08-C7BAE3961A67}"/>
              </a:ext>
            </a:extLst>
          </p:cNvPr>
          <p:cNvGrpSpPr/>
          <p:nvPr userDrawn="1"/>
        </p:nvGrpSpPr>
        <p:grpSpPr>
          <a:xfrm>
            <a:off x="4628633" y="2618804"/>
            <a:ext cx="1625599" cy="1625599"/>
            <a:chOff x="1698745" y="2267692"/>
            <a:chExt cx="1761066" cy="1761066"/>
          </a:xfrm>
          <a:solidFill>
            <a:schemeClr val="accent2"/>
          </a:solidFill>
        </p:grpSpPr>
        <p:sp>
          <p:nvSpPr>
            <p:cNvPr id="29" name="Shape 28">
              <a:extLst>
                <a:ext uri="{FF2B5EF4-FFF2-40B4-BE49-F238E27FC236}">
                  <a16:creationId xmlns:a16="http://schemas.microsoft.com/office/drawing/2014/main" id="{3CCBC6FA-7BF5-4706-A163-40CC2B9DA0CA}"/>
                </a:ext>
              </a:extLst>
            </p:cNvPr>
            <p:cNvSpPr/>
            <p:nvPr/>
          </p:nvSpPr>
          <p:spPr>
            <a:xfrm>
              <a:off x="1698745" y="2267692"/>
              <a:ext cx="1761066" cy="1761066"/>
            </a:xfrm>
            <a:prstGeom prst="gear6">
              <a:avLst/>
            </a:prstGeom>
            <a:grpFill/>
            <a:ln>
              <a:solidFill>
                <a:schemeClr val="accent2"/>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GB" sz="1200"/>
            </a:p>
          </p:txBody>
        </p:sp>
        <p:sp>
          <p:nvSpPr>
            <p:cNvPr id="30" name="Shape 6">
              <a:extLst>
                <a:ext uri="{FF2B5EF4-FFF2-40B4-BE49-F238E27FC236}">
                  <a16:creationId xmlns:a16="http://schemas.microsoft.com/office/drawing/2014/main" id="{562C9C9B-5E3D-4B9B-BCE4-B0EF2EEF6F07}"/>
                </a:ext>
              </a:extLst>
            </p:cNvPr>
            <p:cNvSpPr/>
            <p:nvPr/>
          </p:nvSpPr>
          <p:spPr>
            <a:xfrm>
              <a:off x="1953047" y="2713725"/>
              <a:ext cx="1226725" cy="869000"/>
            </a:xfrm>
            <a:prstGeom prst="rect">
              <a:avLst/>
            </a:prstGeom>
            <a:no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31652" tIns="31652" rIns="31652" bIns="31652" numCol="1" spcCol="1270" anchor="ctr" anchorCtr="0">
              <a:noAutofit/>
            </a:bodyPr>
            <a:lstStyle/>
            <a:p>
              <a:pPr algn="ctr" defTabSz="1107858">
                <a:lnSpc>
                  <a:spcPct val="90000"/>
                </a:lnSpc>
                <a:spcBef>
                  <a:spcPct val="0"/>
                </a:spcBef>
                <a:spcAft>
                  <a:spcPct val="35000"/>
                </a:spcAft>
              </a:pPr>
              <a:r>
                <a:rPr lang="en-GB" sz="1200" b="1"/>
                <a:t>Business intelligence</a:t>
              </a:r>
            </a:p>
          </p:txBody>
        </p:sp>
      </p:grpSp>
      <p:grpSp>
        <p:nvGrpSpPr>
          <p:cNvPr id="31" name="Group 30">
            <a:extLst>
              <a:ext uri="{FF2B5EF4-FFF2-40B4-BE49-F238E27FC236}">
                <a16:creationId xmlns:a16="http://schemas.microsoft.com/office/drawing/2014/main" id="{D6B1EA7A-3462-4E2E-B50E-2DFAF5DF25C7}"/>
              </a:ext>
            </a:extLst>
          </p:cNvPr>
          <p:cNvGrpSpPr/>
          <p:nvPr userDrawn="1"/>
        </p:nvGrpSpPr>
        <p:grpSpPr>
          <a:xfrm>
            <a:off x="6728871" y="1751044"/>
            <a:ext cx="1592756" cy="1592756"/>
            <a:chOff x="4026359" y="1271466"/>
            <a:chExt cx="1725486" cy="1725486"/>
          </a:xfrm>
        </p:grpSpPr>
        <p:sp>
          <p:nvSpPr>
            <p:cNvPr id="32" name="Shape 31">
              <a:extLst>
                <a:ext uri="{FF2B5EF4-FFF2-40B4-BE49-F238E27FC236}">
                  <a16:creationId xmlns:a16="http://schemas.microsoft.com/office/drawing/2014/main" id="{3A5E508A-9651-46B2-89A9-2FEF8BEAC315}"/>
                </a:ext>
              </a:extLst>
            </p:cNvPr>
            <p:cNvSpPr/>
            <p:nvPr/>
          </p:nvSpPr>
          <p:spPr>
            <a:xfrm rot="602710">
              <a:off x="4026359" y="1271466"/>
              <a:ext cx="1725486" cy="1725486"/>
            </a:xfrm>
            <a:prstGeom prst="gear6">
              <a:avLst/>
            </a:prstGeom>
            <a:solidFill>
              <a:schemeClr val="accent2"/>
            </a:solidFill>
            <a:ln>
              <a:solidFill>
                <a:srgbClr val="A2D3F3"/>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3" name="Shape 8">
              <a:extLst>
                <a:ext uri="{FF2B5EF4-FFF2-40B4-BE49-F238E27FC236}">
                  <a16:creationId xmlns:a16="http://schemas.microsoft.com/office/drawing/2014/main" id="{007A8F97-CF51-4330-954B-2AE9EC6978CE}"/>
                </a:ext>
              </a:extLst>
            </p:cNvPr>
            <p:cNvSpPr/>
            <p:nvPr/>
          </p:nvSpPr>
          <p:spPr>
            <a:xfrm>
              <a:off x="4255173" y="1676208"/>
              <a:ext cx="1254760" cy="968586"/>
            </a:xfrm>
            <a:prstGeom prst="rect">
              <a:avLst/>
            </a:prstGeom>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35169" tIns="35169" rIns="35169" bIns="35169" numCol="1" spcCol="1270" anchor="ctr" anchorCtr="0">
              <a:noAutofit/>
            </a:bodyPr>
            <a:lstStyle/>
            <a:p>
              <a:pPr algn="ctr" defTabSz="1230954">
                <a:lnSpc>
                  <a:spcPct val="90000"/>
                </a:lnSpc>
                <a:spcBef>
                  <a:spcPct val="0"/>
                </a:spcBef>
                <a:spcAft>
                  <a:spcPct val="35000"/>
                </a:spcAft>
              </a:pPr>
              <a:r>
                <a:rPr lang="en-GB" sz="1200" b="1" err="1"/>
                <a:t>qqdsfdfsqf</a:t>
              </a:r>
              <a:endParaRPr lang="en-GB" sz="1200" b="1"/>
            </a:p>
          </p:txBody>
        </p:sp>
      </p:grpSp>
      <p:grpSp>
        <p:nvGrpSpPr>
          <p:cNvPr id="34" name="Group 33">
            <a:extLst>
              <a:ext uri="{FF2B5EF4-FFF2-40B4-BE49-F238E27FC236}">
                <a16:creationId xmlns:a16="http://schemas.microsoft.com/office/drawing/2014/main" id="{ACA0375D-1FC1-4AC0-BCEE-B6B0ED1CBFE1}"/>
              </a:ext>
            </a:extLst>
          </p:cNvPr>
          <p:cNvGrpSpPr/>
          <p:nvPr userDrawn="1"/>
        </p:nvGrpSpPr>
        <p:grpSpPr>
          <a:xfrm>
            <a:off x="7899221" y="4006848"/>
            <a:ext cx="1761231" cy="1761231"/>
            <a:chOff x="5385048" y="3771406"/>
            <a:chExt cx="1908000" cy="1908000"/>
          </a:xfrm>
        </p:grpSpPr>
        <p:sp>
          <p:nvSpPr>
            <p:cNvPr id="35" name="Shape 34">
              <a:extLst>
                <a:ext uri="{FF2B5EF4-FFF2-40B4-BE49-F238E27FC236}">
                  <a16:creationId xmlns:a16="http://schemas.microsoft.com/office/drawing/2014/main" id="{3B3F15D9-2410-4E83-A970-25BFB34B64E2}"/>
                </a:ext>
              </a:extLst>
            </p:cNvPr>
            <p:cNvSpPr/>
            <p:nvPr/>
          </p:nvSpPr>
          <p:spPr>
            <a:xfrm>
              <a:off x="5385048" y="3771406"/>
              <a:ext cx="1908000" cy="1908000"/>
            </a:xfrm>
            <a:prstGeom prst="gear6">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6" name="Shape 6">
              <a:extLst>
                <a:ext uri="{FF2B5EF4-FFF2-40B4-BE49-F238E27FC236}">
                  <a16:creationId xmlns:a16="http://schemas.microsoft.com/office/drawing/2014/main" id="{E8ECF5F4-4B52-4892-B0DD-88ADF8785E05}"/>
                </a:ext>
              </a:extLst>
            </p:cNvPr>
            <p:cNvSpPr/>
            <p:nvPr/>
          </p:nvSpPr>
          <p:spPr>
            <a:xfrm>
              <a:off x="5480605" y="4290906"/>
              <a:ext cx="1716886" cy="869000"/>
            </a:xfrm>
            <a:prstGeom prst="rect">
              <a:avLst/>
            </a:prstGeom>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31652" tIns="31652" rIns="31652" bIns="31652" numCol="1" spcCol="1270" anchor="ctr" anchorCtr="0">
              <a:noAutofit/>
            </a:bodyPr>
            <a:lstStyle/>
            <a:p>
              <a:pPr algn="ctr" defTabSz="1107858">
                <a:lnSpc>
                  <a:spcPct val="90000"/>
                </a:lnSpc>
                <a:spcBef>
                  <a:spcPct val="0"/>
                </a:spcBef>
                <a:spcAft>
                  <a:spcPct val="35000"/>
                </a:spcAft>
              </a:pPr>
              <a:r>
                <a:rPr lang="en-GB" sz="1200" b="1" err="1"/>
                <a:t>dfsqfdqsfdsfds</a:t>
              </a:r>
              <a:endParaRPr lang="en-GB" sz="1200" b="1"/>
            </a:p>
          </p:txBody>
        </p:sp>
      </p:grpSp>
      <p:grpSp>
        <p:nvGrpSpPr>
          <p:cNvPr id="37" name="Group 36">
            <a:extLst>
              <a:ext uri="{FF2B5EF4-FFF2-40B4-BE49-F238E27FC236}">
                <a16:creationId xmlns:a16="http://schemas.microsoft.com/office/drawing/2014/main" id="{DD2C4460-A80D-4583-B3B7-2ED5C7B6B55E}"/>
              </a:ext>
            </a:extLst>
          </p:cNvPr>
          <p:cNvGrpSpPr/>
          <p:nvPr userDrawn="1"/>
        </p:nvGrpSpPr>
        <p:grpSpPr>
          <a:xfrm>
            <a:off x="8864074" y="2890929"/>
            <a:ext cx="1592756" cy="1592756"/>
            <a:chOff x="6428575" y="2499300"/>
            <a:chExt cx="1725486" cy="1725486"/>
          </a:xfrm>
        </p:grpSpPr>
        <p:sp>
          <p:nvSpPr>
            <p:cNvPr id="38" name="Shape 37">
              <a:extLst>
                <a:ext uri="{FF2B5EF4-FFF2-40B4-BE49-F238E27FC236}">
                  <a16:creationId xmlns:a16="http://schemas.microsoft.com/office/drawing/2014/main" id="{2C089820-D281-4A4E-8FCE-74DD6D419134}"/>
                </a:ext>
              </a:extLst>
            </p:cNvPr>
            <p:cNvSpPr/>
            <p:nvPr/>
          </p:nvSpPr>
          <p:spPr>
            <a:xfrm rot="20700000">
              <a:off x="6428575" y="2499300"/>
              <a:ext cx="1725486" cy="1725486"/>
            </a:xfrm>
            <a:prstGeom prst="gear6">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9" name="Shape 8">
              <a:extLst>
                <a:ext uri="{FF2B5EF4-FFF2-40B4-BE49-F238E27FC236}">
                  <a16:creationId xmlns:a16="http://schemas.microsoft.com/office/drawing/2014/main" id="{D6523684-19A1-44CA-8A14-69255777CDD5}"/>
                </a:ext>
              </a:extLst>
            </p:cNvPr>
            <p:cNvSpPr/>
            <p:nvPr/>
          </p:nvSpPr>
          <p:spPr>
            <a:xfrm>
              <a:off x="6807024" y="2877749"/>
              <a:ext cx="968586" cy="968586"/>
            </a:xfrm>
            <a:prstGeom prst="rect">
              <a:avLst/>
            </a:prstGeom>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spcFirstLastPara="0" vert="horz" wrap="square" lIns="35169" tIns="35169" rIns="35169" bIns="35169" numCol="1" spcCol="1270" anchor="ctr" anchorCtr="0">
              <a:noAutofit/>
            </a:bodyPr>
            <a:lstStyle/>
            <a:p>
              <a:pPr algn="ctr" defTabSz="1230954">
                <a:lnSpc>
                  <a:spcPct val="90000"/>
                </a:lnSpc>
                <a:spcBef>
                  <a:spcPct val="0"/>
                </a:spcBef>
                <a:spcAft>
                  <a:spcPct val="35000"/>
                </a:spcAft>
              </a:pPr>
              <a:r>
                <a:rPr lang="en-GB" sz="1200" b="1" err="1"/>
                <a:t>fsqqsdffds</a:t>
              </a:r>
              <a:endParaRPr lang="en-GB" sz="1200" b="1"/>
            </a:p>
          </p:txBody>
        </p:sp>
      </p:grpSp>
    </p:spTree>
    <p:extLst>
      <p:ext uri="{BB962C8B-B14F-4D97-AF65-F5344CB8AC3E}">
        <p14:creationId xmlns:p14="http://schemas.microsoft.com/office/powerpoint/2010/main" val="41894385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A543904-392C-40BB-AFCA-3DA834DE7B0F}"/>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E6278095-0706-48CB-A25E-EAB0AC55888B}"/>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02ECFFC3-38C2-4623-971F-6F3DE08C056C}"/>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Pentagon 6">
            <a:extLst>
              <a:ext uri="{FF2B5EF4-FFF2-40B4-BE49-F238E27FC236}">
                <a16:creationId xmlns:a16="http://schemas.microsoft.com/office/drawing/2014/main" id="{EBA5D212-6D5A-47D8-8EBD-A709EE572E78}"/>
              </a:ext>
            </a:extLst>
          </p:cNvPr>
          <p:cNvSpPr/>
          <p:nvPr userDrawn="1"/>
        </p:nvSpPr>
        <p:spPr bwMode="auto">
          <a:xfrm>
            <a:off x="1317513" y="2266676"/>
            <a:ext cx="2836711" cy="1001898"/>
          </a:xfrm>
          <a:prstGeom prst="homePlate">
            <a:avLst>
              <a:gd name="adj" fmla="val 15019"/>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600" b="1" err="1"/>
              <a:t>kldfsqklsdqkljdskldkldkdk</a:t>
            </a:r>
            <a:endParaRPr lang="en-GB" sz="1600" b="1"/>
          </a:p>
        </p:txBody>
      </p:sp>
      <p:sp>
        <p:nvSpPr>
          <p:cNvPr id="7" name="Pentagon 7">
            <a:extLst>
              <a:ext uri="{FF2B5EF4-FFF2-40B4-BE49-F238E27FC236}">
                <a16:creationId xmlns:a16="http://schemas.microsoft.com/office/drawing/2014/main" id="{4B103EB3-7028-47FB-9E07-BF19895092F5}"/>
              </a:ext>
            </a:extLst>
          </p:cNvPr>
          <p:cNvSpPr/>
          <p:nvPr userDrawn="1"/>
        </p:nvSpPr>
        <p:spPr bwMode="auto">
          <a:xfrm>
            <a:off x="1317513" y="3596054"/>
            <a:ext cx="2836711" cy="1001898"/>
          </a:xfrm>
          <a:prstGeom prst="homePlate">
            <a:avLst>
              <a:gd name="adj" fmla="val 15019"/>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600" b="1" err="1"/>
              <a:t>qsdfsddqfssdfqkjk</a:t>
            </a:r>
            <a:endParaRPr lang="en-GB" sz="1600" b="1"/>
          </a:p>
        </p:txBody>
      </p:sp>
      <p:sp>
        <p:nvSpPr>
          <p:cNvPr id="8" name="Pentagon 8">
            <a:extLst>
              <a:ext uri="{FF2B5EF4-FFF2-40B4-BE49-F238E27FC236}">
                <a16:creationId xmlns:a16="http://schemas.microsoft.com/office/drawing/2014/main" id="{82DD64E7-4BF9-4980-8C67-9A4A21A929DB}"/>
              </a:ext>
            </a:extLst>
          </p:cNvPr>
          <p:cNvSpPr/>
          <p:nvPr userDrawn="1"/>
        </p:nvSpPr>
        <p:spPr bwMode="auto">
          <a:xfrm>
            <a:off x="1317513" y="4925433"/>
            <a:ext cx="2836711" cy="1001898"/>
          </a:xfrm>
          <a:prstGeom prst="homePlate">
            <a:avLst>
              <a:gd name="adj" fmla="val 15019"/>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600" b="1" err="1"/>
              <a:t>Dsqdfqskjlfsdkjklm</a:t>
            </a:r>
            <a:endParaRPr lang="en-GB" sz="1600" b="1"/>
          </a:p>
          <a:p>
            <a:pPr algn="ctr"/>
            <a:r>
              <a:rPr lang="en-GB" sz="1600" b="1" err="1"/>
              <a:t>dsfqlkmqsdfklfqsd</a:t>
            </a:r>
            <a:endParaRPr lang="en-GB" sz="1600" b="1"/>
          </a:p>
        </p:txBody>
      </p:sp>
      <p:sp>
        <p:nvSpPr>
          <p:cNvPr id="9" name="Rectangle 8">
            <a:extLst>
              <a:ext uri="{FF2B5EF4-FFF2-40B4-BE49-F238E27FC236}">
                <a16:creationId xmlns:a16="http://schemas.microsoft.com/office/drawing/2014/main" id="{BC671C5D-8669-425B-B2C9-D632B6E574E0}"/>
              </a:ext>
            </a:extLst>
          </p:cNvPr>
          <p:cNvSpPr/>
          <p:nvPr userDrawn="1"/>
        </p:nvSpPr>
        <p:spPr>
          <a:xfrm>
            <a:off x="4331472" y="2281443"/>
            <a:ext cx="2658757" cy="1001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171450" indent="-171450">
              <a:spcBef>
                <a:spcPts val="554"/>
              </a:spcBef>
              <a:buClr>
                <a:schemeClr val="accent2"/>
              </a:buClr>
              <a:buFont typeface="Arial" panose="020B0604020202020204" pitchFamily="34" charset="0"/>
              <a:buChar char="•"/>
            </a:pPr>
            <a:r>
              <a:rPr lang="en-GB" sz="1200" err="1">
                <a:solidFill>
                  <a:schemeClr val="tx1"/>
                </a:solidFill>
              </a:rPr>
              <a:t>Dqsfsdqjkdsqjksdfqkljfdsqnqlaqdlmdl</a:t>
            </a:r>
            <a:endParaRPr lang="en-GB" sz="1200">
              <a:solidFill>
                <a:schemeClr val="tx1"/>
              </a:solidFill>
            </a:endParaRPr>
          </a:p>
          <a:p>
            <a:pPr marL="171450" indent="-171450">
              <a:spcBef>
                <a:spcPts val="554"/>
              </a:spcBef>
              <a:buClr>
                <a:schemeClr val="accent2"/>
              </a:buClr>
              <a:buFont typeface="Arial" panose="020B0604020202020204" pitchFamily="34" charset="0"/>
              <a:buChar char="•"/>
            </a:pPr>
            <a:r>
              <a:rPr lang="en-GB" sz="1200" err="1">
                <a:solidFill>
                  <a:schemeClr val="tx1"/>
                </a:solidFill>
              </a:rPr>
              <a:t>Fdsqmlqsdfklmfdsqkljljkfdszfozefzofffo,zf</a:t>
            </a:r>
            <a:r>
              <a:rPr lang="en-GB" sz="1200">
                <a:solidFill>
                  <a:schemeClr val="tx1"/>
                </a:solidFill>
              </a:rPr>
              <a:t>,</a:t>
            </a:r>
          </a:p>
        </p:txBody>
      </p:sp>
      <p:sp>
        <p:nvSpPr>
          <p:cNvPr id="10" name="Rectangle 9">
            <a:extLst>
              <a:ext uri="{FF2B5EF4-FFF2-40B4-BE49-F238E27FC236}">
                <a16:creationId xmlns:a16="http://schemas.microsoft.com/office/drawing/2014/main" id="{70460D29-FCB0-4A45-BE7F-5E0D9A0539A7}"/>
              </a:ext>
            </a:extLst>
          </p:cNvPr>
          <p:cNvSpPr/>
          <p:nvPr userDrawn="1"/>
        </p:nvSpPr>
        <p:spPr>
          <a:xfrm>
            <a:off x="4331473" y="3603438"/>
            <a:ext cx="4697137" cy="1001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171450" indent="-171450">
              <a:spcBef>
                <a:spcPts val="554"/>
              </a:spcBef>
              <a:buClr>
                <a:schemeClr val="accent2"/>
              </a:buClr>
              <a:buFont typeface="Arial" panose="020B0604020202020204" pitchFamily="34" charset="0"/>
              <a:buChar char="•"/>
            </a:pPr>
            <a:r>
              <a:rPr lang="en-GB" sz="1200" b="1" err="1">
                <a:solidFill>
                  <a:schemeClr val="tx1"/>
                </a:solidFill>
              </a:rPr>
              <a:t>dsfqjkmfdskjlmdfskljfsdklj</a:t>
            </a:r>
            <a:endParaRPr lang="en-GB" sz="1200" b="1">
              <a:solidFill>
                <a:schemeClr val="tx1"/>
              </a:solidFill>
            </a:endParaRPr>
          </a:p>
          <a:p>
            <a:pPr marL="171450" indent="-171450">
              <a:spcBef>
                <a:spcPts val="554"/>
              </a:spcBef>
              <a:buClr>
                <a:schemeClr val="accent2"/>
              </a:buClr>
              <a:buFont typeface="Arial" panose="020B0604020202020204" pitchFamily="34" charset="0"/>
              <a:buChar char="•"/>
            </a:pPr>
            <a:r>
              <a:rPr lang="en-GB" sz="1200" err="1">
                <a:solidFill>
                  <a:schemeClr val="tx1"/>
                </a:solidFill>
              </a:rPr>
              <a:t>Fsdqklmsfqdkmjklmkljmfsd</a:t>
            </a:r>
            <a:endParaRPr lang="en-GB" sz="1200">
              <a:solidFill>
                <a:schemeClr val="tx1"/>
              </a:solidFill>
            </a:endParaRPr>
          </a:p>
          <a:p>
            <a:pPr marL="171450" indent="-171450">
              <a:spcBef>
                <a:spcPts val="554"/>
              </a:spcBef>
              <a:buClr>
                <a:schemeClr val="accent2"/>
              </a:buClr>
              <a:buFont typeface="Arial" panose="020B0604020202020204" pitchFamily="34" charset="0"/>
              <a:buChar char="•"/>
            </a:pPr>
            <a:r>
              <a:rPr lang="en-GB" sz="1200" err="1">
                <a:solidFill>
                  <a:schemeClr val="tx1"/>
                </a:solidFill>
              </a:rPr>
              <a:t>jklqsdfkljfsdqkljfdskjlfsdkjl</a:t>
            </a:r>
            <a:endParaRPr lang="en-GB" sz="1200">
              <a:solidFill>
                <a:schemeClr val="tx1"/>
              </a:solidFill>
            </a:endParaRPr>
          </a:p>
        </p:txBody>
      </p:sp>
      <p:sp>
        <p:nvSpPr>
          <p:cNvPr id="11" name="Rectangle 10">
            <a:extLst>
              <a:ext uri="{FF2B5EF4-FFF2-40B4-BE49-F238E27FC236}">
                <a16:creationId xmlns:a16="http://schemas.microsoft.com/office/drawing/2014/main" id="{097336ED-EE03-4FBD-BC46-6B1CE4DDC13A}"/>
              </a:ext>
            </a:extLst>
          </p:cNvPr>
          <p:cNvSpPr/>
          <p:nvPr userDrawn="1"/>
        </p:nvSpPr>
        <p:spPr>
          <a:xfrm>
            <a:off x="4331472" y="4925433"/>
            <a:ext cx="5316923" cy="1001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171450" indent="-171450">
              <a:spcBef>
                <a:spcPts val="554"/>
              </a:spcBef>
              <a:buClr>
                <a:schemeClr val="accent2"/>
              </a:buClr>
              <a:buFont typeface="Arial" panose="020B0604020202020204" pitchFamily="34" charset="0"/>
              <a:buChar char="•"/>
            </a:pPr>
            <a:r>
              <a:rPr lang="en-GB" sz="1200" err="1">
                <a:solidFill>
                  <a:schemeClr val="tx1"/>
                </a:solidFill>
              </a:rPr>
              <a:t>Dsfqklmjqsdfkjmfsdqkjlmfsdq</a:t>
            </a:r>
            <a:endParaRPr lang="en-GB" sz="1200">
              <a:solidFill>
                <a:schemeClr val="tx1"/>
              </a:solidFill>
            </a:endParaRPr>
          </a:p>
          <a:p>
            <a:pPr marL="171450" indent="-171450">
              <a:spcBef>
                <a:spcPts val="554"/>
              </a:spcBef>
              <a:buClr>
                <a:schemeClr val="accent2"/>
              </a:buClr>
              <a:buFont typeface="Arial" panose="020B0604020202020204" pitchFamily="34" charset="0"/>
              <a:buChar char="•"/>
            </a:pPr>
            <a:r>
              <a:rPr lang="en-GB" sz="1200" err="1">
                <a:solidFill>
                  <a:schemeClr val="tx1"/>
                </a:solidFill>
              </a:rPr>
              <a:t>Kjlmjklkljkljkljkjlkjlkjlkjl</a:t>
            </a:r>
            <a:endParaRPr lang="en-GB" sz="1200">
              <a:solidFill>
                <a:schemeClr val="tx1"/>
              </a:solidFill>
            </a:endParaRPr>
          </a:p>
          <a:p>
            <a:pPr marL="171450" indent="-171450">
              <a:spcBef>
                <a:spcPts val="554"/>
              </a:spcBef>
              <a:buClr>
                <a:schemeClr val="accent2"/>
              </a:buClr>
              <a:buFont typeface="Arial" panose="020B0604020202020204" pitchFamily="34" charset="0"/>
              <a:buChar char="•"/>
            </a:pPr>
            <a:r>
              <a:rPr lang="en-GB" sz="1200" err="1">
                <a:solidFill>
                  <a:schemeClr val="tx1"/>
                </a:solidFill>
              </a:rPr>
              <a:t>Jiô^zsvnvsvnsznvnpvzpNVPVP</a:t>
            </a:r>
            <a:endParaRPr lang="en-GB" sz="1200">
              <a:solidFill>
                <a:schemeClr val="tx1"/>
              </a:solidFill>
            </a:endParaRPr>
          </a:p>
        </p:txBody>
      </p:sp>
      <p:sp>
        <p:nvSpPr>
          <p:cNvPr id="12" name="Rectangle 11">
            <a:extLst>
              <a:ext uri="{FF2B5EF4-FFF2-40B4-BE49-F238E27FC236}">
                <a16:creationId xmlns:a16="http://schemas.microsoft.com/office/drawing/2014/main" id="{78F68127-0020-4C01-865A-2DDE16BBC007}"/>
              </a:ext>
            </a:extLst>
          </p:cNvPr>
          <p:cNvSpPr/>
          <p:nvPr userDrawn="1"/>
        </p:nvSpPr>
        <p:spPr>
          <a:xfrm>
            <a:off x="4331473" y="1501672"/>
            <a:ext cx="4356816" cy="63145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42203" rIns="0" bIns="42203" numCol="1" spcCol="0" rtlCol="0" fromWordArt="0" anchor="ctr" anchorCtr="0" forceAA="0" compatLnSpc="1">
            <a:prstTxWarp prst="textNoShape">
              <a:avLst/>
            </a:prstTxWarp>
            <a:noAutofit/>
          </a:bodyPr>
          <a:lstStyle/>
          <a:p>
            <a:r>
              <a:rPr lang="en-GB" sz="1662" b="1" err="1">
                <a:solidFill>
                  <a:schemeClr val="tx1"/>
                </a:solidFill>
              </a:rPr>
              <a:t>kjldfkjldfsqkjlmdsfqkjlfdskjfds</a:t>
            </a:r>
            <a:endParaRPr lang="en-GB" sz="1662" b="1">
              <a:solidFill>
                <a:schemeClr val="tx1"/>
              </a:solidFill>
            </a:endParaRPr>
          </a:p>
        </p:txBody>
      </p:sp>
      <p:sp>
        <p:nvSpPr>
          <p:cNvPr id="13" name="Rectangle 12">
            <a:extLst>
              <a:ext uri="{FF2B5EF4-FFF2-40B4-BE49-F238E27FC236}">
                <a16:creationId xmlns:a16="http://schemas.microsoft.com/office/drawing/2014/main" id="{88057CB6-227B-4E5C-8C09-46919180E64C}"/>
              </a:ext>
            </a:extLst>
          </p:cNvPr>
          <p:cNvSpPr/>
          <p:nvPr userDrawn="1"/>
        </p:nvSpPr>
        <p:spPr>
          <a:xfrm>
            <a:off x="8956343" y="2276603"/>
            <a:ext cx="2658757" cy="36733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algn="ctr"/>
            <a:r>
              <a:rPr lang="en-GB" sz="1662" b="1" err="1">
                <a:solidFill>
                  <a:schemeClr val="bg2"/>
                </a:solidFill>
              </a:rPr>
              <a:t>qsdfqsdffqsdfsd</a:t>
            </a:r>
            <a:r>
              <a:rPr lang="en-GB" sz="1662" b="1">
                <a:solidFill>
                  <a:schemeClr val="bg2"/>
                </a:solidFill>
              </a:rPr>
              <a:t>:</a:t>
            </a:r>
          </a:p>
          <a:p>
            <a:pPr algn="ctr"/>
            <a:endParaRPr lang="en-GB" sz="1662" b="1">
              <a:solidFill>
                <a:schemeClr val="bg2"/>
              </a:solidFill>
            </a:endParaRPr>
          </a:p>
          <a:p>
            <a:pPr marL="263776" indent="-263776">
              <a:buFont typeface="Wingdings" panose="05000000000000000000" pitchFamily="2" charset="2"/>
              <a:buChar char="ü"/>
            </a:pPr>
            <a:r>
              <a:rPr lang="en-GB" sz="1662" err="1">
                <a:solidFill>
                  <a:schemeClr val="bg2"/>
                </a:solidFill>
              </a:rPr>
              <a:t>Qsddqsffdsf</a:t>
            </a:r>
            <a:endParaRPr lang="en-GB" sz="1662">
              <a:solidFill>
                <a:schemeClr val="bg2"/>
              </a:solidFill>
            </a:endParaRPr>
          </a:p>
          <a:p>
            <a:pPr marL="263776" indent="-263776">
              <a:buFont typeface="Wingdings" panose="05000000000000000000" pitchFamily="2" charset="2"/>
              <a:buChar char="ü"/>
            </a:pPr>
            <a:r>
              <a:rPr lang="en-GB" sz="1662" err="1">
                <a:solidFill>
                  <a:schemeClr val="bg2"/>
                </a:solidFill>
              </a:rPr>
              <a:t>Nsdlkslksklss</a:t>
            </a:r>
            <a:endParaRPr lang="en-GB" sz="1662">
              <a:solidFill>
                <a:schemeClr val="bg2"/>
              </a:solidFill>
            </a:endParaRPr>
          </a:p>
          <a:p>
            <a:pPr marL="263776" indent="-263776">
              <a:buFont typeface="Wingdings" panose="05000000000000000000" pitchFamily="2" charset="2"/>
              <a:buChar char="ü"/>
            </a:pPr>
            <a:r>
              <a:rPr lang="en-GB" sz="1662" err="1">
                <a:solidFill>
                  <a:schemeClr val="bg2"/>
                </a:solidFill>
              </a:rPr>
              <a:t>Clclcqlùcqlq</a:t>
            </a:r>
            <a:endParaRPr lang="en-GB" sz="1662">
              <a:solidFill>
                <a:schemeClr val="bg2"/>
              </a:solidFill>
            </a:endParaRPr>
          </a:p>
          <a:p>
            <a:pPr marL="263776" indent="-263776">
              <a:buFont typeface="Wingdings" panose="05000000000000000000" pitchFamily="2" charset="2"/>
              <a:buChar char="ü"/>
            </a:pPr>
            <a:r>
              <a:rPr lang="en-GB" sz="1662" err="1">
                <a:solidFill>
                  <a:schemeClr val="bg2"/>
                </a:solidFill>
              </a:rPr>
              <a:t>jhqiccilcic</a:t>
            </a:r>
            <a:endParaRPr lang="en-GB" sz="1662">
              <a:solidFill>
                <a:schemeClr val="bg2"/>
              </a:solidFill>
            </a:endParaRPr>
          </a:p>
        </p:txBody>
      </p:sp>
      <p:cxnSp>
        <p:nvCxnSpPr>
          <p:cNvPr id="14" name="Straight Connector 13">
            <a:extLst>
              <a:ext uri="{FF2B5EF4-FFF2-40B4-BE49-F238E27FC236}">
                <a16:creationId xmlns:a16="http://schemas.microsoft.com/office/drawing/2014/main" id="{A3FF9ED2-3351-4C19-BDF5-3A2C4212323D}"/>
              </a:ext>
            </a:extLst>
          </p:cNvPr>
          <p:cNvCxnSpPr/>
          <p:nvPr userDrawn="1"/>
        </p:nvCxnSpPr>
        <p:spPr>
          <a:xfrm>
            <a:off x="8956639" y="2095122"/>
            <a:ext cx="2658461" cy="0"/>
          </a:xfrm>
          <a:prstGeom prst="line">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785E0487-32C5-4AAF-90D4-4D9176CB84E7}"/>
              </a:ext>
            </a:extLst>
          </p:cNvPr>
          <p:cNvCxnSpPr/>
          <p:nvPr userDrawn="1"/>
        </p:nvCxnSpPr>
        <p:spPr>
          <a:xfrm>
            <a:off x="4331475" y="2095122"/>
            <a:ext cx="4356815" cy="0"/>
          </a:xfrm>
          <a:prstGeom prst="line">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16" name="Title 3">
            <a:extLst>
              <a:ext uri="{FF2B5EF4-FFF2-40B4-BE49-F238E27FC236}">
                <a16:creationId xmlns:a16="http://schemas.microsoft.com/office/drawing/2014/main" id="{ECF60AD2-26D7-4614-AE27-ECE71D4422D2}"/>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17" name="TextBox 16">
            <a:extLst>
              <a:ext uri="{FF2B5EF4-FFF2-40B4-BE49-F238E27FC236}">
                <a16:creationId xmlns:a16="http://schemas.microsoft.com/office/drawing/2014/main" id="{CE8F6AF0-E4CA-4EC2-966F-21829CBFEBEE}"/>
              </a:ext>
            </a:extLst>
          </p:cNvPr>
          <p:cNvSpPr txBox="1"/>
          <p:nvPr userDrawn="1"/>
        </p:nvSpPr>
        <p:spPr bwMode="auto">
          <a:xfrm>
            <a:off x="11255623" y="712343"/>
            <a:ext cx="409328" cy="428570"/>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solidFill>
                  <a:schemeClr val="tx1">
                    <a:lumMod val="75000"/>
                    <a:lumOff val="25000"/>
                  </a:schemeClr>
                </a:solidFill>
                <a:latin typeface="+mn-lt"/>
              </a:rPr>
              <a:t>1</a:t>
            </a:r>
          </a:p>
        </p:txBody>
      </p:sp>
      <p:sp>
        <p:nvSpPr>
          <p:cNvPr id="18" name="Rectangle 17">
            <a:extLst>
              <a:ext uri="{FF2B5EF4-FFF2-40B4-BE49-F238E27FC236}">
                <a16:creationId xmlns:a16="http://schemas.microsoft.com/office/drawing/2014/main" id="{42D11D9B-011C-4EB0-B2C7-1AA5E6FEDF49}"/>
              </a:ext>
            </a:extLst>
          </p:cNvPr>
          <p:cNvSpPr/>
          <p:nvPr userDrawn="1"/>
        </p:nvSpPr>
        <p:spPr>
          <a:xfrm>
            <a:off x="8956343" y="1501672"/>
            <a:ext cx="2658757" cy="63145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42203" rIns="0" bIns="42203" numCol="1" spcCol="0" rtlCol="0" fromWordArt="0" anchor="ctr" anchorCtr="0" forceAA="0" compatLnSpc="1">
            <a:prstTxWarp prst="textNoShape">
              <a:avLst/>
            </a:prstTxWarp>
            <a:noAutofit/>
          </a:bodyPr>
          <a:lstStyle/>
          <a:p>
            <a:r>
              <a:rPr lang="en-GB" sz="1662" b="1" err="1">
                <a:solidFill>
                  <a:schemeClr val="tx1"/>
                </a:solidFill>
              </a:rPr>
              <a:t>kjldfkjldfsqkjlmdsf</a:t>
            </a:r>
            <a:endParaRPr lang="en-GB" sz="1662" b="1">
              <a:solidFill>
                <a:schemeClr val="tx1"/>
              </a:solidFill>
            </a:endParaRPr>
          </a:p>
        </p:txBody>
      </p:sp>
    </p:spTree>
    <p:extLst>
      <p:ext uri="{BB962C8B-B14F-4D97-AF65-F5344CB8AC3E}">
        <p14:creationId xmlns:p14="http://schemas.microsoft.com/office/powerpoint/2010/main" val="104871143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AB839EC-13E9-4338-911A-2C342C2912DE}"/>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171990F8-6607-4588-BAD9-0F0AF21AE36D}"/>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7B10FA57-C4E0-4F56-AF2A-801588DF0046}"/>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Title 1">
            <a:extLst>
              <a:ext uri="{FF2B5EF4-FFF2-40B4-BE49-F238E27FC236}">
                <a16:creationId xmlns:a16="http://schemas.microsoft.com/office/drawing/2014/main" id="{295FFE90-6A8E-400F-8C5C-4107EFD37817}"/>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7" name="TextBox 6">
            <a:extLst>
              <a:ext uri="{FF2B5EF4-FFF2-40B4-BE49-F238E27FC236}">
                <a16:creationId xmlns:a16="http://schemas.microsoft.com/office/drawing/2014/main" id="{342F3943-E4C4-4E57-99F6-ACA1F596B542}"/>
              </a:ext>
            </a:extLst>
          </p:cNvPr>
          <p:cNvSpPr txBox="1"/>
          <p:nvPr userDrawn="1"/>
        </p:nvSpPr>
        <p:spPr bwMode="auto">
          <a:xfrm>
            <a:off x="2159563" y="1700809"/>
            <a:ext cx="9505387" cy="664689"/>
          </a:xfrm>
          <a:prstGeom prst="flowChartProcess">
            <a:avLst/>
          </a:prstGeom>
          <a:solidFill>
            <a:schemeClr val="bg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132923" rIns="66462" rtlCol="0" anchor="ctr">
            <a:noAutofit/>
          </a:bodyPr>
          <a:lstStyle/>
          <a:p>
            <a:r>
              <a:rPr lang="en-GB" sz="1200" b="1">
                <a:solidFill>
                  <a:schemeClr val="accent5">
                    <a:lumMod val="50000"/>
                    <a:lumOff val="50000"/>
                  </a:schemeClr>
                </a:solidFill>
              </a:rPr>
              <a:t>………………………………………………………………………………………………….</a:t>
            </a:r>
          </a:p>
        </p:txBody>
      </p:sp>
      <p:sp>
        <p:nvSpPr>
          <p:cNvPr id="8" name="TextBox 7">
            <a:extLst>
              <a:ext uri="{FF2B5EF4-FFF2-40B4-BE49-F238E27FC236}">
                <a16:creationId xmlns:a16="http://schemas.microsoft.com/office/drawing/2014/main" id="{FBDFDB3F-7544-482E-AB24-CA97D3B272BC}"/>
              </a:ext>
            </a:extLst>
          </p:cNvPr>
          <p:cNvSpPr txBox="1"/>
          <p:nvPr userDrawn="1"/>
        </p:nvSpPr>
        <p:spPr bwMode="auto">
          <a:xfrm>
            <a:off x="2159563" y="2498436"/>
            <a:ext cx="9505387" cy="664689"/>
          </a:xfrm>
          <a:prstGeom prst="flowChartProcess">
            <a:avLst/>
          </a:prstGeom>
          <a:solidFill>
            <a:schemeClr val="bg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132923" rIns="66462" rtlCol="0" anchor="ctr">
            <a:noAutofit/>
          </a:bodyPr>
          <a:lstStyle/>
          <a:p>
            <a:r>
              <a:rPr lang="en-GB" sz="1200" b="1">
                <a:solidFill>
                  <a:schemeClr val="accent5">
                    <a:lumMod val="50000"/>
                    <a:lumOff val="50000"/>
                  </a:schemeClr>
                </a:solidFill>
              </a:rPr>
              <a:t>………………………………………………………………………………………………………</a:t>
            </a:r>
          </a:p>
        </p:txBody>
      </p:sp>
      <p:sp>
        <p:nvSpPr>
          <p:cNvPr id="9" name="TextBox 8">
            <a:extLst>
              <a:ext uri="{FF2B5EF4-FFF2-40B4-BE49-F238E27FC236}">
                <a16:creationId xmlns:a16="http://schemas.microsoft.com/office/drawing/2014/main" id="{6AEF1852-E55D-43A9-97AD-E99A04AB2EFD}"/>
              </a:ext>
            </a:extLst>
          </p:cNvPr>
          <p:cNvSpPr txBox="1"/>
          <p:nvPr userDrawn="1"/>
        </p:nvSpPr>
        <p:spPr bwMode="auto">
          <a:xfrm>
            <a:off x="2159563" y="3296063"/>
            <a:ext cx="9505387" cy="664689"/>
          </a:xfrm>
          <a:prstGeom prst="flowChartProcess">
            <a:avLst/>
          </a:prstGeom>
          <a:solidFill>
            <a:schemeClr val="bg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132923" rIns="66462" rtlCol="0" anchor="ctr">
            <a:noAutofit/>
          </a:bodyPr>
          <a:lstStyle/>
          <a:p>
            <a:r>
              <a:rPr lang="en-GB" sz="1200" b="1"/>
              <a:t>…………………………………………………………………………………………………………</a:t>
            </a:r>
          </a:p>
        </p:txBody>
      </p:sp>
      <p:sp>
        <p:nvSpPr>
          <p:cNvPr id="10" name="TextBox 9">
            <a:extLst>
              <a:ext uri="{FF2B5EF4-FFF2-40B4-BE49-F238E27FC236}">
                <a16:creationId xmlns:a16="http://schemas.microsoft.com/office/drawing/2014/main" id="{C6D4209B-BF7D-451C-98E6-352779E386AC}"/>
              </a:ext>
            </a:extLst>
          </p:cNvPr>
          <p:cNvSpPr txBox="1"/>
          <p:nvPr userDrawn="1"/>
        </p:nvSpPr>
        <p:spPr bwMode="auto">
          <a:xfrm>
            <a:off x="1332695" y="1700809"/>
            <a:ext cx="634847" cy="664689"/>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latin typeface="+mn-lt"/>
              </a:rPr>
              <a:t>1</a:t>
            </a:r>
          </a:p>
        </p:txBody>
      </p:sp>
      <p:sp>
        <p:nvSpPr>
          <p:cNvPr id="11" name="TextBox 10">
            <a:extLst>
              <a:ext uri="{FF2B5EF4-FFF2-40B4-BE49-F238E27FC236}">
                <a16:creationId xmlns:a16="http://schemas.microsoft.com/office/drawing/2014/main" id="{F7025AEA-9EA3-467B-B200-09B041F0CD6B}"/>
              </a:ext>
            </a:extLst>
          </p:cNvPr>
          <p:cNvSpPr txBox="1"/>
          <p:nvPr userDrawn="1"/>
        </p:nvSpPr>
        <p:spPr bwMode="auto">
          <a:xfrm>
            <a:off x="1332695" y="2498436"/>
            <a:ext cx="634847" cy="664689"/>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latin typeface="+mn-lt"/>
              </a:rPr>
              <a:t>2</a:t>
            </a:r>
          </a:p>
        </p:txBody>
      </p:sp>
      <p:sp>
        <p:nvSpPr>
          <p:cNvPr id="12" name="TextBox 11">
            <a:extLst>
              <a:ext uri="{FF2B5EF4-FFF2-40B4-BE49-F238E27FC236}">
                <a16:creationId xmlns:a16="http://schemas.microsoft.com/office/drawing/2014/main" id="{2CC66A64-8614-4F9C-BE89-5BF7CD1566FD}"/>
              </a:ext>
            </a:extLst>
          </p:cNvPr>
          <p:cNvSpPr txBox="1"/>
          <p:nvPr userDrawn="1"/>
        </p:nvSpPr>
        <p:spPr bwMode="auto">
          <a:xfrm>
            <a:off x="1332695" y="3296063"/>
            <a:ext cx="634847" cy="664689"/>
          </a:xfrm>
          <a:prstGeom prst="flowChartPunchedCard">
            <a:avLst/>
          </a:prstGeom>
          <a:solidFill>
            <a:schemeClr val="accent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latin typeface="+mn-lt"/>
              </a:rPr>
              <a:t>3</a:t>
            </a:r>
          </a:p>
        </p:txBody>
      </p:sp>
    </p:spTree>
    <p:extLst>
      <p:ext uri="{BB962C8B-B14F-4D97-AF65-F5344CB8AC3E}">
        <p14:creationId xmlns:p14="http://schemas.microsoft.com/office/powerpoint/2010/main" val="3512428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3802687-67B3-4C27-83B3-9F09831F1BAD}"/>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7B29374F-4D92-412E-9C92-762E88421222}"/>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0F3AE7C6-298C-49C0-A044-7CE520869CD9}"/>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Rectangle 5">
            <a:extLst>
              <a:ext uri="{FF2B5EF4-FFF2-40B4-BE49-F238E27FC236}">
                <a16:creationId xmlns:a16="http://schemas.microsoft.com/office/drawing/2014/main" id="{4339D4F8-6D31-463E-9260-009B9D8297F7}"/>
              </a:ext>
            </a:extLst>
          </p:cNvPr>
          <p:cNvSpPr/>
          <p:nvPr userDrawn="1"/>
        </p:nvSpPr>
        <p:spPr bwMode="auto">
          <a:xfrm>
            <a:off x="1291640" y="2336570"/>
            <a:ext cx="2788137" cy="465283"/>
          </a:xfrm>
          <a:prstGeom prst="rect">
            <a:avLst/>
          </a:prstGeom>
          <a:noFill/>
          <a:ln>
            <a:noFill/>
          </a:ln>
          <a:effectLst/>
        </p:spPr>
        <p:txBody>
          <a:bodyPr vert="horz" wrap="square" lIns="0" tIns="42198" rIns="0" bIns="42198" numCol="1" anchor="ctr" anchorCtr="0" compatLnSpc="1">
            <a:prstTxWarp prst="textNoShape">
              <a:avLst/>
            </a:prstTxWarp>
          </a:bodyPr>
          <a:lstStyle/>
          <a:p>
            <a:pPr eaLnBrk="1" hangingPunct="1"/>
            <a:r>
              <a:rPr lang="en-GB" sz="900" b="1" kern="0" err="1"/>
              <a:t>dqsqsdfsdfqkljmfdskjlfdskljfdsjkl</a:t>
            </a:r>
            <a:endParaRPr lang="en-GB" sz="900" b="1" kern="0"/>
          </a:p>
        </p:txBody>
      </p:sp>
      <p:sp>
        <p:nvSpPr>
          <p:cNvPr id="7" name="Rectangle 6">
            <a:extLst>
              <a:ext uri="{FF2B5EF4-FFF2-40B4-BE49-F238E27FC236}">
                <a16:creationId xmlns:a16="http://schemas.microsoft.com/office/drawing/2014/main" id="{C6E18609-50C4-4338-A6CB-82F9BB349AA0}"/>
              </a:ext>
            </a:extLst>
          </p:cNvPr>
          <p:cNvSpPr/>
          <p:nvPr userDrawn="1"/>
        </p:nvSpPr>
        <p:spPr bwMode="auto">
          <a:xfrm>
            <a:off x="1295400" y="2847924"/>
            <a:ext cx="2784376" cy="465283"/>
          </a:xfrm>
          <a:prstGeom prst="rect">
            <a:avLst/>
          </a:prstGeom>
          <a:noFill/>
          <a:ln>
            <a:noFill/>
          </a:ln>
          <a:effectLst/>
        </p:spPr>
        <p:txBody>
          <a:bodyPr vert="horz" wrap="square" lIns="0" tIns="42198" rIns="0" bIns="42198" numCol="1" anchor="ctr" anchorCtr="0" compatLnSpc="1">
            <a:prstTxWarp prst="textNoShape">
              <a:avLst/>
            </a:prstTxWarp>
          </a:bodyPr>
          <a:lstStyle/>
          <a:p>
            <a:pPr eaLnBrk="1" hangingPunct="1"/>
            <a:r>
              <a:rPr lang="en-GB" sz="900" b="1" kern="0" err="1"/>
              <a:t>sdfqdfsqfdsfdsfdsfds</a:t>
            </a:r>
            <a:endParaRPr lang="en-GB" sz="900" b="1" kern="0"/>
          </a:p>
        </p:txBody>
      </p:sp>
      <p:sp>
        <p:nvSpPr>
          <p:cNvPr id="8" name="Rectangle 7">
            <a:extLst>
              <a:ext uri="{FF2B5EF4-FFF2-40B4-BE49-F238E27FC236}">
                <a16:creationId xmlns:a16="http://schemas.microsoft.com/office/drawing/2014/main" id="{95FAAE53-C294-4227-A957-63DF1E3ADEF7}"/>
              </a:ext>
            </a:extLst>
          </p:cNvPr>
          <p:cNvSpPr/>
          <p:nvPr userDrawn="1"/>
        </p:nvSpPr>
        <p:spPr bwMode="auto">
          <a:xfrm>
            <a:off x="1295400" y="3359278"/>
            <a:ext cx="2784376" cy="465283"/>
          </a:xfrm>
          <a:prstGeom prst="rect">
            <a:avLst/>
          </a:prstGeom>
          <a:noFill/>
          <a:ln>
            <a:noFill/>
          </a:ln>
          <a:effectLst/>
        </p:spPr>
        <p:txBody>
          <a:bodyPr vert="horz" wrap="square" lIns="0" tIns="42198" rIns="0" bIns="42198" numCol="1" anchor="ctr" anchorCtr="0" compatLnSpc="1">
            <a:prstTxWarp prst="textNoShape">
              <a:avLst/>
            </a:prstTxWarp>
          </a:bodyPr>
          <a:lstStyle/>
          <a:p>
            <a:pPr eaLnBrk="1" hangingPunct="1"/>
            <a:r>
              <a:rPr lang="en-GB" sz="900" b="1" kern="0" err="1"/>
              <a:t>qsdfqfsddfsfdsfdsf</a:t>
            </a:r>
            <a:endParaRPr lang="en-GB" sz="900" b="1" kern="0"/>
          </a:p>
        </p:txBody>
      </p:sp>
      <p:sp>
        <p:nvSpPr>
          <p:cNvPr id="9" name="Rectangle 8">
            <a:extLst>
              <a:ext uri="{FF2B5EF4-FFF2-40B4-BE49-F238E27FC236}">
                <a16:creationId xmlns:a16="http://schemas.microsoft.com/office/drawing/2014/main" id="{22D3843E-CEE3-4324-92A4-E4E71115B448}"/>
              </a:ext>
            </a:extLst>
          </p:cNvPr>
          <p:cNvSpPr/>
          <p:nvPr userDrawn="1"/>
        </p:nvSpPr>
        <p:spPr bwMode="auto">
          <a:xfrm>
            <a:off x="1295400" y="3870633"/>
            <a:ext cx="2784376" cy="465283"/>
          </a:xfrm>
          <a:prstGeom prst="rect">
            <a:avLst/>
          </a:prstGeom>
          <a:noFill/>
          <a:ln>
            <a:noFill/>
          </a:ln>
          <a:effectLst/>
        </p:spPr>
        <p:txBody>
          <a:bodyPr vert="horz" wrap="square" lIns="0" tIns="42198" rIns="0" bIns="42198" numCol="1" anchor="ctr" anchorCtr="0" compatLnSpc="1">
            <a:prstTxWarp prst="textNoShape">
              <a:avLst/>
            </a:prstTxWarp>
          </a:bodyPr>
          <a:lstStyle/>
          <a:p>
            <a:pPr eaLnBrk="1" hangingPunct="1"/>
            <a:r>
              <a:rPr lang="en-GB" sz="900" b="1" kern="0" err="1"/>
              <a:t>qdfsqdfsfdsqfdsfd</a:t>
            </a:r>
            <a:endParaRPr lang="en-GB" sz="900" b="1" kern="0"/>
          </a:p>
        </p:txBody>
      </p:sp>
      <p:sp>
        <p:nvSpPr>
          <p:cNvPr id="10" name="Rectangle 9">
            <a:extLst>
              <a:ext uri="{FF2B5EF4-FFF2-40B4-BE49-F238E27FC236}">
                <a16:creationId xmlns:a16="http://schemas.microsoft.com/office/drawing/2014/main" id="{D51D237A-6FC4-4826-86A8-1087AEE0D8D5}"/>
              </a:ext>
            </a:extLst>
          </p:cNvPr>
          <p:cNvSpPr/>
          <p:nvPr userDrawn="1"/>
        </p:nvSpPr>
        <p:spPr bwMode="auto">
          <a:xfrm>
            <a:off x="1295400" y="4381987"/>
            <a:ext cx="2784376" cy="465283"/>
          </a:xfrm>
          <a:prstGeom prst="rect">
            <a:avLst/>
          </a:prstGeom>
          <a:noFill/>
          <a:ln>
            <a:noFill/>
          </a:ln>
          <a:effectLst/>
        </p:spPr>
        <p:txBody>
          <a:bodyPr vert="horz" wrap="square" lIns="0" tIns="42198" rIns="0" bIns="42198" numCol="1" anchor="ctr" anchorCtr="0" compatLnSpc="1">
            <a:prstTxWarp prst="textNoShape">
              <a:avLst/>
            </a:prstTxWarp>
          </a:bodyPr>
          <a:lstStyle/>
          <a:p>
            <a:pPr eaLnBrk="1" hangingPunct="1"/>
            <a:r>
              <a:rPr lang="en-GB" sz="900" b="1" kern="0" err="1"/>
              <a:t>fdsqfqsdfsdfsfs</a:t>
            </a:r>
            <a:endParaRPr lang="en-GB" sz="900" b="1" kern="0"/>
          </a:p>
        </p:txBody>
      </p:sp>
      <p:sp>
        <p:nvSpPr>
          <p:cNvPr id="11" name="Rectangle 10">
            <a:extLst>
              <a:ext uri="{FF2B5EF4-FFF2-40B4-BE49-F238E27FC236}">
                <a16:creationId xmlns:a16="http://schemas.microsoft.com/office/drawing/2014/main" id="{6A6EA504-C87A-413B-B1CE-553D290D9D65}"/>
              </a:ext>
            </a:extLst>
          </p:cNvPr>
          <p:cNvSpPr/>
          <p:nvPr userDrawn="1"/>
        </p:nvSpPr>
        <p:spPr bwMode="auto">
          <a:xfrm>
            <a:off x="1295400" y="4893341"/>
            <a:ext cx="2784376" cy="465283"/>
          </a:xfrm>
          <a:prstGeom prst="rect">
            <a:avLst/>
          </a:prstGeom>
          <a:noFill/>
          <a:ln>
            <a:noFill/>
          </a:ln>
          <a:effectLst/>
        </p:spPr>
        <p:txBody>
          <a:bodyPr vert="horz" wrap="square" lIns="0" tIns="42198" rIns="0" bIns="42198" numCol="1" anchor="ctr" anchorCtr="0" compatLnSpc="1">
            <a:prstTxWarp prst="textNoShape">
              <a:avLst/>
            </a:prstTxWarp>
          </a:bodyPr>
          <a:lstStyle/>
          <a:p>
            <a:pPr eaLnBrk="1" hangingPunct="1"/>
            <a:r>
              <a:rPr lang="en-GB" sz="900" b="1" kern="0" err="1"/>
              <a:t>qdsjklsdqfkljfsdqljkfqsdkljsdfqkjlfq</a:t>
            </a:r>
            <a:endParaRPr lang="en-GB" sz="900" b="1" kern="0"/>
          </a:p>
        </p:txBody>
      </p:sp>
      <p:sp>
        <p:nvSpPr>
          <p:cNvPr id="12" name="Rectangle 11">
            <a:extLst>
              <a:ext uri="{FF2B5EF4-FFF2-40B4-BE49-F238E27FC236}">
                <a16:creationId xmlns:a16="http://schemas.microsoft.com/office/drawing/2014/main" id="{1CFC5DC6-0A71-4722-BA99-2FF08C9BA84C}"/>
              </a:ext>
            </a:extLst>
          </p:cNvPr>
          <p:cNvSpPr/>
          <p:nvPr userDrawn="1"/>
        </p:nvSpPr>
        <p:spPr bwMode="auto">
          <a:xfrm>
            <a:off x="1295400" y="5404695"/>
            <a:ext cx="2784376" cy="465283"/>
          </a:xfrm>
          <a:prstGeom prst="rect">
            <a:avLst/>
          </a:prstGeom>
          <a:noFill/>
          <a:ln>
            <a:noFill/>
          </a:ln>
          <a:effectLst/>
        </p:spPr>
        <p:txBody>
          <a:bodyPr vert="horz" wrap="square" lIns="0" tIns="42198" rIns="0" bIns="42198" numCol="1" anchor="ctr" anchorCtr="0" compatLnSpc="1">
            <a:prstTxWarp prst="textNoShape">
              <a:avLst/>
            </a:prstTxWarp>
          </a:bodyPr>
          <a:lstStyle/>
          <a:p>
            <a:pPr eaLnBrk="1" hangingPunct="1"/>
            <a:r>
              <a:rPr lang="en-GB" sz="900" b="1" kern="0" err="1"/>
              <a:t>sdfqqfsdfdqsfdf</a:t>
            </a:r>
            <a:endParaRPr lang="en-GB" sz="900" b="1" kern="0"/>
          </a:p>
        </p:txBody>
      </p:sp>
      <p:sp>
        <p:nvSpPr>
          <p:cNvPr id="13" name="Rectangle 12">
            <a:extLst>
              <a:ext uri="{FF2B5EF4-FFF2-40B4-BE49-F238E27FC236}">
                <a16:creationId xmlns:a16="http://schemas.microsoft.com/office/drawing/2014/main" id="{2174162F-1E6D-4420-AA33-EE319F832096}"/>
              </a:ext>
            </a:extLst>
          </p:cNvPr>
          <p:cNvSpPr/>
          <p:nvPr userDrawn="1"/>
        </p:nvSpPr>
        <p:spPr bwMode="auto">
          <a:xfrm>
            <a:off x="1295400" y="5916046"/>
            <a:ext cx="2784376" cy="465283"/>
          </a:xfrm>
          <a:prstGeom prst="rect">
            <a:avLst/>
          </a:prstGeom>
          <a:noFill/>
          <a:ln>
            <a:noFill/>
          </a:ln>
          <a:effectLst/>
        </p:spPr>
        <p:txBody>
          <a:bodyPr vert="horz" wrap="square" lIns="0" tIns="42198" rIns="0" bIns="42198" numCol="1" anchor="ctr" anchorCtr="0" compatLnSpc="1">
            <a:prstTxWarp prst="textNoShape">
              <a:avLst/>
            </a:prstTxWarp>
          </a:bodyPr>
          <a:lstStyle/>
          <a:p>
            <a:pPr eaLnBrk="1" hangingPunct="1"/>
            <a:r>
              <a:rPr lang="en-GB" sz="900" b="1" kern="0" err="1"/>
              <a:t>dsdsfqddsds</a:t>
            </a:r>
            <a:endParaRPr lang="en-GB" sz="900" b="1" kern="0"/>
          </a:p>
        </p:txBody>
      </p:sp>
      <p:cxnSp>
        <p:nvCxnSpPr>
          <p:cNvPr id="14" name="Straight Connector 13">
            <a:extLst>
              <a:ext uri="{FF2B5EF4-FFF2-40B4-BE49-F238E27FC236}">
                <a16:creationId xmlns:a16="http://schemas.microsoft.com/office/drawing/2014/main" id="{628BB055-C0E7-4F1B-BF59-61C36DADE8E1}"/>
              </a:ext>
            </a:extLst>
          </p:cNvPr>
          <p:cNvCxnSpPr/>
          <p:nvPr userDrawn="1"/>
        </p:nvCxnSpPr>
        <p:spPr>
          <a:xfrm>
            <a:off x="1291639" y="3336241"/>
            <a:ext cx="10350672" cy="0"/>
          </a:xfrm>
          <a:prstGeom prst="line">
            <a:avLst/>
          </a:prstGeom>
          <a:ln w="6350">
            <a:solidFill>
              <a:schemeClr val="bg1">
                <a:lumMod val="50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3710398-4151-4C63-976B-A2743A57096B}"/>
              </a:ext>
            </a:extLst>
          </p:cNvPr>
          <p:cNvCxnSpPr/>
          <p:nvPr userDrawn="1"/>
        </p:nvCxnSpPr>
        <p:spPr>
          <a:xfrm>
            <a:off x="1295400" y="3847596"/>
            <a:ext cx="10346911" cy="0"/>
          </a:xfrm>
          <a:prstGeom prst="line">
            <a:avLst/>
          </a:prstGeom>
          <a:ln w="6350">
            <a:solidFill>
              <a:schemeClr val="bg1">
                <a:lumMod val="50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63F367-6B33-4DC7-9F6F-C76CB5A95D03}"/>
              </a:ext>
            </a:extLst>
          </p:cNvPr>
          <p:cNvCxnSpPr/>
          <p:nvPr userDrawn="1"/>
        </p:nvCxnSpPr>
        <p:spPr>
          <a:xfrm>
            <a:off x="1295400" y="4358950"/>
            <a:ext cx="10346911" cy="0"/>
          </a:xfrm>
          <a:prstGeom prst="line">
            <a:avLst/>
          </a:prstGeom>
          <a:ln w="6350">
            <a:solidFill>
              <a:schemeClr val="bg1">
                <a:lumMod val="50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68F8A33-36A7-492A-9B24-33E8A486CD76}"/>
              </a:ext>
            </a:extLst>
          </p:cNvPr>
          <p:cNvCxnSpPr/>
          <p:nvPr userDrawn="1"/>
        </p:nvCxnSpPr>
        <p:spPr>
          <a:xfrm>
            <a:off x="1295400" y="4870304"/>
            <a:ext cx="10346911" cy="0"/>
          </a:xfrm>
          <a:prstGeom prst="line">
            <a:avLst/>
          </a:prstGeom>
          <a:ln w="6350">
            <a:solidFill>
              <a:schemeClr val="bg1">
                <a:lumMod val="50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F969814-0408-468B-8695-62B148682AD5}"/>
              </a:ext>
            </a:extLst>
          </p:cNvPr>
          <p:cNvCxnSpPr/>
          <p:nvPr userDrawn="1"/>
        </p:nvCxnSpPr>
        <p:spPr>
          <a:xfrm>
            <a:off x="1295400" y="5381658"/>
            <a:ext cx="10346911" cy="0"/>
          </a:xfrm>
          <a:prstGeom prst="line">
            <a:avLst/>
          </a:prstGeom>
          <a:ln w="6350">
            <a:solidFill>
              <a:schemeClr val="bg1">
                <a:lumMod val="50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DD3302D-CE3C-4147-8AA6-5EF04736D834}"/>
              </a:ext>
            </a:extLst>
          </p:cNvPr>
          <p:cNvCxnSpPr/>
          <p:nvPr userDrawn="1"/>
        </p:nvCxnSpPr>
        <p:spPr>
          <a:xfrm>
            <a:off x="1295400" y="2824887"/>
            <a:ext cx="10346911" cy="0"/>
          </a:xfrm>
          <a:prstGeom prst="line">
            <a:avLst/>
          </a:prstGeom>
          <a:ln w="6350">
            <a:solidFill>
              <a:schemeClr val="bg1">
                <a:lumMod val="50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1A3E71F-7F64-4B4F-A2A3-B8B71D0B77CF}"/>
              </a:ext>
            </a:extLst>
          </p:cNvPr>
          <p:cNvCxnSpPr/>
          <p:nvPr userDrawn="1"/>
        </p:nvCxnSpPr>
        <p:spPr>
          <a:xfrm>
            <a:off x="1295400" y="5893012"/>
            <a:ext cx="10346911" cy="0"/>
          </a:xfrm>
          <a:prstGeom prst="line">
            <a:avLst/>
          </a:prstGeom>
          <a:ln w="6350">
            <a:solidFill>
              <a:schemeClr val="bg1">
                <a:lumMod val="50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21" name="Freeform 538">
            <a:extLst>
              <a:ext uri="{FF2B5EF4-FFF2-40B4-BE49-F238E27FC236}">
                <a16:creationId xmlns:a16="http://schemas.microsoft.com/office/drawing/2014/main" id="{1832AFC9-A619-4733-801A-B3BF32B91791}"/>
              </a:ext>
            </a:extLst>
          </p:cNvPr>
          <p:cNvSpPr>
            <a:spLocks/>
          </p:cNvSpPr>
          <p:nvPr userDrawn="1"/>
        </p:nvSpPr>
        <p:spPr bwMode="auto">
          <a:xfrm>
            <a:off x="7597866" y="2367252"/>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22" name="Freeform 538">
            <a:extLst>
              <a:ext uri="{FF2B5EF4-FFF2-40B4-BE49-F238E27FC236}">
                <a16:creationId xmlns:a16="http://schemas.microsoft.com/office/drawing/2014/main" id="{699CD5B6-7CE8-423A-B924-86C889B05722}"/>
              </a:ext>
            </a:extLst>
          </p:cNvPr>
          <p:cNvSpPr>
            <a:spLocks/>
          </p:cNvSpPr>
          <p:nvPr userDrawn="1"/>
        </p:nvSpPr>
        <p:spPr bwMode="auto">
          <a:xfrm>
            <a:off x="10347001" y="2403933"/>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23" name="Freeform 538">
            <a:extLst>
              <a:ext uri="{FF2B5EF4-FFF2-40B4-BE49-F238E27FC236}">
                <a16:creationId xmlns:a16="http://schemas.microsoft.com/office/drawing/2014/main" id="{C2B6D460-0486-4234-B330-1EF599426AF5}"/>
              </a:ext>
            </a:extLst>
          </p:cNvPr>
          <p:cNvSpPr>
            <a:spLocks/>
          </p:cNvSpPr>
          <p:nvPr userDrawn="1"/>
        </p:nvSpPr>
        <p:spPr bwMode="auto">
          <a:xfrm>
            <a:off x="7597866" y="2888649"/>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24" name="Freeform 538">
            <a:extLst>
              <a:ext uri="{FF2B5EF4-FFF2-40B4-BE49-F238E27FC236}">
                <a16:creationId xmlns:a16="http://schemas.microsoft.com/office/drawing/2014/main" id="{C7363611-8D4D-482D-B84E-063C5FFC7422}"/>
              </a:ext>
            </a:extLst>
          </p:cNvPr>
          <p:cNvSpPr>
            <a:spLocks/>
          </p:cNvSpPr>
          <p:nvPr userDrawn="1"/>
        </p:nvSpPr>
        <p:spPr bwMode="auto">
          <a:xfrm>
            <a:off x="10347001" y="2916961"/>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25" name="Freeform 538">
            <a:extLst>
              <a:ext uri="{FF2B5EF4-FFF2-40B4-BE49-F238E27FC236}">
                <a16:creationId xmlns:a16="http://schemas.microsoft.com/office/drawing/2014/main" id="{9F67D2A8-7927-4E87-99AB-206CCEF0794D}"/>
              </a:ext>
            </a:extLst>
          </p:cNvPr>
          <p:cNvSpPr>
            <a:spLocks/>
          </p:cNvSpPr>
          <p:nvPr userDrawn="1"/>
        </p:nvSpPr>
        <p:spPr bwMode="auto">
          <a:xfrm>
            <a:off x="7597866" y="3400003"/>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26" name="Freeform 538">
            <a:extLst>
              <a:ext uri="{FF2B5EF4-FFF2-40B4-BE49-F238E27FC236}">
                <a16:creationId xmlns:a16="http://schemas.microsoft.com/office/drawing/2014/main" id="{5E733CB3-3B1D-4727-9B00-CD61003EBF21}"/>
              </a:ext>
            </a:extLst>
          </p:cNvPr>
          <p:cNvSpPr>
            <a:spLocks/>
          </p:cNvSpPr>
          <p:nvPr userDrawn="1"/>
        </p:nvSpPr>
        <p:spPr bwMode="auto">
          <a:xfrm>
            <a:off x="4928314" y="3396110"/>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27" name="Freeform 538">
            <a:extLst>
              <a:ext uri="{FF2B5EF4-FFF2-40B4-BE49-F238E27FC236}">
                <a16:creationId xmlns:a16="http://schemas.microsoft.com/office/drawing/2014/main" id="{BD5B7BE6-5E9C-4782-8921-92DB67A59347}"/>
              </a:ext>
            </a:extLst>
          </p:cNvPr>
          <p:cNvSpPr>
            <a:spLocks/>
          </p:cNvSpPr>
          <p:nvPr userDrawn="1"/>
        </p:nvSpPr>
        <p:spPr bwMode="auto">
          <a:xfrm>
            <a:off x="10347001" y="3429987"/>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28" name="Freeform 538">
            <a:extLst>
              <a:ext uri="{FF2B5EF4-FFF2-40B4-BE49-F238E27FC236}">
                <a16:creationId xmlns:a16="http://schemas.microsoft.com/office/drawing/2014/main" id="{22A3519D-1329-426F-8ECC-A1A95D97F16F}"/>
              </a:ext>
            </a:extLst>
          </p:cNvPr>
          <p:cNvSpPr>
            <a:spLocks/>
          </p:cNvSpPr>
          <p:nvPr userDrawn="1"/>
        </p:nvSpPr>
        <p:spPr bwMode="auto">
          <a:xfrm>
            <a:off x="7597866" y="3911358"/>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29" name="Freeform 538">
            <a:extLst>
              <a:ext uri="{FF2B5EF4-FFF2-40B4-BE49-F238E27FC236}">
                <a16:creationId xmlns:a16="http://schemas.microsoft.com/office/drawing/2014/main" id="{F26CC456-F3D7-49B0-9D17-FA34F550C525}"/>
              </a:ext>
            </a:extLst>
          </p:cNvPr>
          <p:cNvSpPr>
            <a:spLocks/>
          </p:cNvSpPr>
          <p:nvPr userDrawn="1"/>
        </p:nvSpPr>
        <p:spPr bwMode="auto">
          <a:xfrm>
            <a:off x="10347001" y="3943015"/>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30" name="Freeform 538">
            <a:extLst>
              <a:ext uri="{FF2B5EF4-FFF2-40B4-BE49-F238E27FC236}">
                <a16:creationId xmlns:a16="http://schemas.microsoft.com/office/drawing/2014/main" id="{35FF2C83-3280-4715-AD9A-FC508DF8025F}"/>
              </a:ext>
            </a:extLst>
          </p:cNvPr>
          <p:cNvSpPr>
            <a:spLocks/>
          </p:cNvSpPr>
          <p:nvPr userDrawn="1"/>
        </p:nvSpPr>
        <p:spPr bwMode="auto">
          <a:xfrm>
            <a:off x="7597866" y="4422712"/>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31" name="Freeform 538">
            <a:extLst>
              <a:ext uri="{FF2B5EF4-FFF2-40B4-BE49-F238E27FC236}">
                <a16:creationId xmlns:a16="http://schemas.microsoft.com/office/drawing/2014/main" id="{826C7E31-4A1F-4E46-A68D-E018986C1985}"/>
              </a:ext>
            </a:extLst>
          </p:cNvPr>
          <p:cNvSpPr>
            <a:spLocks/>
          </p:cNvSpPr>
          <p:nvPr userDrawn="1"/>
        </p:nvSpPr>
        <p:spPr bwMode="auto">
          <a:xfrm>
            <a:off x="4928313" y="4434700"/>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32" name="Freeform 538">
            <a:extLst>
              <a:ext uri="{FF2B5EF4-FFF2-40B4-BE49-F238E27FC236}">
                <a16:creationId xmlns:a16="http://schemas.microsoft.com/office/drawing/2014/main" id="{82B3EACB-1964-437A-BB4D-AEF8F10B4CFD}"/>
              </a:ext>
            </a:extLst>
          </p:cNvPr>
          <p:cNvSpPr>
            <a:spLocks/>
          </p:cNvSpPr>
          <p:nvPr userDrawn="1"/>
        </p:nvSpPr>
        <p:spPr bwMode="auto">
          <a:xfrm>
            <a:off x="10347001" y="4456044"/>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33" name="Freeform 538">
            <a:extLst>
              <a:ext uri="{FF2B5EF4-FFF2-40B4-BE49-F238E27FC236}">
                <a16:creationId xmlns:a16="http://schemas.microsoft.com/office/drawing/2014/main" id="{9244D3F1-7616-4E47-B338-016132CF5EBE}"/>
              </a:ext>
            </a:extLst>
          </p:cNvPr>
          <p:cNvSpPr>
            <a:spLocks/>
          </p:cNvSpPr>
          <p:nvPr userDrawn="1"/>
        </p:nvSpPr>
        <p:spPr bwMode="auto">
          <a:xfrm>
            <a:off x="7597866" y="4934066"/>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34" name="Freeform 538">
            <a:extLst>
              <a:ext uri="{FF2B5EF4-FFF2-40B4-BE49-F238E27FC236}">
                <a16:creationId xmlns:a16="http://schemas.microsoft.com/office/drawing/2014/main" id="{68506469-DFDF-4F58-A02C-49C29D4952DE}"/>
              </a:ext>
            </a:extLst>
          </p:cNvPr>
          <p:cNvSpPr>
            <a:spLocks/>
          </p:cNvSpPr>
          <p:nvPr userDrawn="1"/>
        </p:nvSpPr>
        <p:spPr bwMode="auto">
          <a:xfrm>
            <a:off x="10347001" y="4969072"/>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35" name="Freeform 538">
            <a:extLst>
              <a:ext uri="{FF2B5EF4-FFF2-40B4-BE49-F238E27FC236}">
                <a16:creationId xmlns:a16="http://schemas.microsoft.com/office/drawing/2014/main" id="{EAFD288D-9CE8-437E-8F3F-719CDA6E9A74}"/>
              </a:ext>
            </a:extLst>
          </p:cNvPr>
          <p:cNvSpPr>
            <a:spLocks/>
          </p:cNvSpPr>
          <p:nvPr userDrawn="1"/>
        </p:nvSpPr>
        <p:spPr bwMode="auto">
          <a:xfrm>
            <a:off x="7597866" y="5445420"/>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36" name="Freeform 538">
            <a:extLst>
              <a:ext uri="{FF2B5EF4-FFF2-40B4-BE49-F238E27FC236}">
                <a16:creationId xmlns:a16="http://schemas.microsoft.com/office/drawing/2014/main" id="{9B2BF7C6-177C-48D6-A9B0-3DC208A179EF}"/>
              </a:ext>
            </a:extLst>
          </p:cNvPr>
          <p:cNvSpPr>
            <a:spLocks/>
          </p:cNvSpPr>
          <p:nvPr userDrawn="1"/>
        </p:nvSpPr>
        <p:spPr bwMode="auto">
          <a:xfrm>
            <a:off x="4949090" y="5460758"/>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37" name="Freeform 538">
            <a:extLst>
              <a:ext uri="{FF2B5EF4-FFF2-40B4-BE49-F238E27FC236}">
                <a16:creationId xmlns:a16="http://schemas.microsoft.com/office/drawing/2014/main" id="{50E56D26-75A5-42FD-93DF-EC1FEAA754CC}"/>
              </a:ext>
            </a:extLst>
          </p:cNvPr>
          <p:cNvSpPr>
            <a:spLocks/>
          </p:cNvSpPr>
          <p:nvPr userDrawn="1"/>
        </p:nvSpPr>
        <p:spPr bwMode="auto">
          <a:xfrm>
            <a:off x="10347001" y="5482101"/>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38" name="Freeform 538">
            <a:extLst>
              <a:ext uri="{FF2B5EF4-FFF2-40B4-BE49-F238E27FC236}">
                <a16:creationId xmlns:a16="http://schemas.microsoft.com/office/drawing/2014/main" id="{B95FE31F-D1CE-4A39-AFDB-2EA9C172EFBA}"/>
              </a:ext>
            </a:extLst>
          </p:cNvPr>
          <p:cNvSpPr>
            <a:spLocks/>
          </p:cNvSpPr>
          <p:nvPr userDrawn="1"/>
        </p:nvSpPr>
        <p:spPr bwMode="auto">
          <a:xfrm>
            <a:off x="7597866" y="5956771"/>
            <a:ext cx="537308" cy="353157"/>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1"/>
          </a:solidFill>
          <a:ln w="9525" cap="flat" cmpd="sng">
            <a:noFill/>
            <a:prstDash val="solid"/>
            <a:round/>
            <a:headEnd type="none" w="med" len="med"/>
            <a:tailEnd type="none" w="med" len="med"/>
          </a:ln>
          <a:effectLst/>
        </p:spPr>
        <p:txBody>
          <a:bodyPr wrap="none" anchor="ctr"/>
          <a:lstStyle/>
          <a:p>
            <a:endParaRPr lang="en-GB" sz="800"/>
          </a:p>
        </p:txBody>
      </p:sp>
      <p:sp>
        <p:nvSpPr>
          <p:cNvPr id="39" name="TextBox 38">
            <a:extLst>
              <a:ext uri="{FF2B5EF4-FFF2-40B4-BE49-F238E27FC236}">
                <a16:creationId xmlns:a16="http://schemas.microsoft.com/office/drawing/2014/main" id="{220C57A1-39BD-4C24-A8E0-75A0DA686502}"/>
              </a:ext>
            </a:extLst>
          </p:cNvPr>
          <p:cNvSpPr txBox="1"/>
          <p:nvPr userDrawn="1"/>
        </p:nvSpPr>
        <p:spPr bwMode="auto">
          <a:xfrm>
            <a:off x="11255623" y="712343"/>
            <a:ext cx="409328" cy="428570"/>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solidFill>
                  <a:schemeClr val="tx1">
                    <a:lumMod val="75000"/>
                    <a:lumOff val="25000"/>
                  </a:schemeClr>
                </a:solidFill>
                <a:latin typeface="+mn-lt"/>
              </a:rPr>
              <a:t>1</a:t>
            </a:r>
          </a:p>
        </p:txBody>
      </p:sp>
      <p:sp>
        <p:nvSpPr>
          <p:cNvPr id="40" name="Title 3">
            <a:extLst>
              <a:ext uri="{FF2B5EF4-FFF2-40B4-BE49-F238E27FC236}">
                <a16:creationId xmlns:a16="http://schemas.microsoft.com/office/drawing/2014/main" id="{51A4584B-CDC7-4CF5-BDB2-6003D49FF1B5}"/>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41" name="Rectangle 40">
            <a:extLst>
              <a:ext uri="{FF2B5EF4-FFF2-40B4-BE49-F238E27FC236}">
                <a16:creationId xmlns:a16="http://schemas.microsoft.com/office/drawing/2014/main" id="{2844C827-1094-4965-A08D-7043FDCF77C6}"/>
              </a:ext>
            </a:extLst>
          </p:cNvPr>
          <p:cNvSpPr/>
          <p:nvPr userDrawn="1"/>
        </p:nvSpPr>
        <p:spPr>
          <a:xfrm>
            <a:off x="9468060" y="1709917"/>
            <a:ext cx="2196891" cy="515798"/>
          </a:xfrm>
          <a:prstGeom prst="rect">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qsqdsfqsdfdfds</a:t>
            </a:r>
            <a:endParaRPr lang="en-GB" sz="1200" b="1">
              <a:solidFill>
                <a:schemeClr val="tx1">
                  <a:lumMod val="75000"/>
                  <a:lumOff val="25000"/>
                </a:schemeClr>
              </a:solidFill>
            </a:endParaRPr>
          </a:p>
        </p:txBody>
      </p:sp>
      <p:sp>
        <p:nvSpPr>
          <p:cNvPr id="42" name="Rectangle 41">
            <a:extLst>
              <a:ext uri="{FF2B5EF4-FFF2-40B4-BE49-F238E27FC236}">
                <a16:creationId xmlns:a16="http://schemas.microsoft.com/office/drawing/2014/main" id="{B0DEE0CC-2847-425A-BB8C-3B7EE61C03D5}"/>
              </a:ext>
            </a:extLst>
          </p:cNvPr>
          <p:cNvSpPr/>
          <p:nvPr userDrawn="1"/>
        </p:nvSpPr>
        <p:spPr>
          <a:xfrm>
            <a:off x="6768075" y="1706386"/>
            <a:ext cx="2196891" cy="519329"/>
          </a:xfrm>
          <a:prstGeom prst="rect">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qsqdsfqsdfdfds</a:t>
            </a:r>
            <a:endParaRPr lang="en-GB" sz="1200" b="1">
              <a:solidFill>
                <a:schemeClr val="tx1">
                  <a:lumMod val="75000"/>
                  <a:lumOff val="25000"/>
                </a:schemeClr>
              </a:solidFill>
            </a:endParaRPr>
          </a:p>
        </p:txBody>
      </p:sp>
      <p:sp>
        <p:nvSpPr>
          <p:cNvPr id="43" name="Rectangle 42">
            <a:extLst>
              <a:ext uri="{FF2B5EF4-FFF2-40B4-BE49-F238E27FC236}">
                <a16:creationId xmlns:a16="http://schemas.microsoft.com/office/drawing/2014/main" id="{6520BE77-9389-4043-9A27-8BAC74A9B6D1}"/>
              </a:ext>
            </a:extLst>
          </p:cNvPr>
          <p:cNvSpPr/>
          <p:nvPr userDrawn="1"/>
        </p:nvSpPr>
        <p:spPr>
          <a:xfrm>
            <a:off x="4079776" y="1706386"/>
            <a:ext cx="2196891" cy="482648"/>
          </a:xfrm>
          <a:prstGeom prst="rect">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qsqdsfqsdfdfds</a:t>
            </a:r>
            <a:endParaRPr lang="en-GB" sz="1200" b="1">
              <a:solidFill>
                <a:schemeClr val="tx1">
                  <a:lumMod val="75000"/>
                  <a:lumOff val="25000"/>
                </a:schemeClr>
              </a:solidFill>
            </a:endParaRPr>
          </a:p>
        </p:txBody>
      </p:sp>
    </p:spTree>
    <p:extLst>
      <p:ext uri="{BB962C8B-B14F-4D97-AF65-F5344CB8AC3E}">
        <p14:creationId xmlns:p14="http://schemas.microsoft.com/office/powerpoint/2010/main" val="17314031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70DE23F-E95D-45F2-A7E4-256552A31859}"/>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ACFF76DD-DEAC-40E2-ADC5-E267785625C8}"/>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9B0AE287-29EC-4F28-B91E-8ADE793A8C71}"/>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Chevron 7">
            <a:extLst>
              <a:ext uri="{FF2B5EF4-FFF2-40B4-BE49-F238E27FC236}">
                <a16:creationId xmlns:a16="http://schemas.microsoft.com/office/drawing/2014/main" id="{93E52C32-4165-461A-8E10-DBE5155A65B9}"/>
              </a:ext>
            </a:extLst>
          </p:cNvPr>
          <p:cNvSpPr/>
          <p:nvPr userDrawn="1"/>
        </p:nvSpPr>
        <p:spPr>
          <a:xfrm>
            <a:off x="1295400" y="1700808"/>
            <a:ext cx="3367384" cy="598220"/>
          </a:xfrm>
          <a:prstGeom prst="chevron">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t>qsdqsfdqdfsfqsd</a:t>
            </a:r>
            <a:endParaRPr lang="en-GB" sz="1200" b="1"/>
          </a:p>
        </p:txBody>
      </p:sp>
      <p:sp>
        <p:nvSpPr>
          <p:cNvPr id="7" name="Rectangle 6">
            <a:extLst>
              <a:ext uri="{FF2B5EF4-FFF2-40B4-BE49-F238E27FC236}">
                <a16:creationId xmlns:a16="http://schemas.microsoft.com/office/drawing/2014/main" id="{BA37E69D-165B-47D2-A862-2A29B8C7741F}"/>
              </a:ext>
            </a:extLst>
          </p:cNvPr>
          <p:cNvSpPr/>
          <p:nvPr userDrawn="1"/>
        </p:nvSpPr>
        <p:spPr>
          <a:xfrm>
            <a:off x="1302344" y="2544858"/>
            <a:ext cx="3161475" cy="1329378"/>
          </a:xfrm>
          <a:prstGeom prst="rect">
            <a:avLst/>
          </a:prstGeom>
          <a:solidFill>
            <a:schemeClr val="accent4">
              <a:lumMod val="20000"/>
              <a:lumOff val="80000"/>
            </a:schemeClr>
          </a:solidFill>
          <a:ln>
            <a:solidFill>
              <a:schemeClr val="accent4">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265846" rIns="0" bIns="42203" numCol="1" spcCol="0" rtlCol="0" fromWordArt="0" anchor="t" anchorCtr="0" forceAA="0" compatLnSpc="1">
            <a:prstTxWarp prst="textNoShape">
              <a:avLst/>
            </a:prstTxWarp>
            <a:noAutofit/>
          </a:bodyPr>
          <a:lstStyle/>
          <a:p>
            <a:pPr marL="263776" indent="-263776">
              <a:spcAft>
                <a:spcPts val="1108"/>
              </a:spcAft>
              <a:buClr>
                <a:schemeClr val="accent2"/>
              </a:buClr>
              <a:buFont typeface="Arial" panose="020B0604020202020204" pitchFamily="34" charset="0"/>
              <a:buChar char="•"/>
            </a:pPr>
            <a:r>
              <a:rPr lang="en-GB" sz="1200" err="1">
                <a:solidFill>
                  <a:schemeClr val="tx1"/>
                </a:solidFill>
              </a:rPr>
              <a:t>Qsdfjsdffsdqljkfdsklfdsjklf</a:t>
            </a:r>
            <a:endParaRPr lang="en-GB" sz="1200">
              <a:solidFill>
                <a:schemeClr val="tx1"/>
              </a:solidFill>
            </a:endParaRPr>
          </a:p>
          <a:p>
            <a:pPr marL="263776" indent="-263776">
              <a:spcAft>
                <a:spcPts val="1108"/>
              </a:spcAft>
              <a:buClr>
                <a:schemeClr val="accent2"/>
              </a:buClr>
              <a:buFont typeface="Arial" panose="020B0604020202020204" pitchFamily="34" charset="0"/>
              <a:buChar char="•"/>
            </a:pPr>
            <a:r>
              <a:rPr lang="en-GB" sz="1200" err="1">
                <a:solidFill>
                  <a:schemeClr val="tx1"/>
                </a:solidFill>
              </a:rPr>
              <a:t>Dqkljmfsdqljkfsdqkljfsdkjl</a:t>
            </a:r>
            <a:endParaRPr lang="en-GB" sz="1200">
              <a:solidFill>
                <a:schemeClr val="tx1"/>
              </a:solidFill>
            </a:endParaRPr>
          </a:p>
          <a:p>
            <a:pPr marL="263776" indent="-263776">
              <a:spcAft>
                <a:spcPts val="1108"/>
              </a:spcAft>
              <a:buClr>
                <a:schemeClr val="accent2"/>
              </a:buClr>
              <a:buFont typeface="Arial" panose="020B0604020202020204" pitchFamily="34" charset="0"/>
              <a:buChar char="•"/>
            </a:pPr>
            <a:r>
              <a:rPr lang="en-GB" sz="1200" err="1">
                <a:solidFill>
                  <a:schemeClr val="tx1"/>
                </a:solidFill>
              </a:rPr>
              <a:t>xbskbqsksbksqbkqsbbbsj</a:t>
            </a:r>
            <a:endParaRPr lang="en-GB" sz="1200">
              <a:solidFill>
                <a:schemeClr val="tx1"/>
              </a:solidFill>
            </a:endParaRPr>
          </a:p>
        </p:txBody>
      </p:sp>
      <p:sp>
        <p:nvSpPr>
          <p:cNvPr id="8" name="Rectangle 7">
            <a:extLst>
              <a:ext uri="{FF2B5EF4-FFF2-40B4-BE49-F238E27FC236}">
                <a16:creationId xmlns:a16="http://schemas.microsoft.com/office/drawing/2014/main" id="{816C2D6E-8FBB-42F7-BA78-15E95545C250}"/>
              </a:ext>
            </a:extLst>
          </p:cNvPr>
          <p:cNvSpPr/>
          <p:nvPr userDrawn="1"/>
        </p:nvSpPr>
        <p:spPr>
          <a:xfrm>
            <a:off x="1295400" y="4120067"/>
            <a:ext cx="3168419" cy="332345"/>
          </a:xfrm>
          <a:prstGeom prst="rect">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42203" rIns="0" bIns="42203" numCol="1" spcCol="0" rtlCol="0" fromWordArt="0" anchor="ctr" anchorCtr="0" forceAA="0" compatLnSpc="1">
            <a:prstTxWarp prst="textNoShape">
              <a:avLst/>
            </a:prstTxWarp>
            <a:noAutofit/>
          </a:bodyPr>
          <a:lstStyle/>
          <a:p>
            <a:pPr algn="ctr"/>
            <a:r>
              <a:rPr lang="en-GB" sz="1200" err="1">
                <a:solidFill>
                  <a:schemeClr val="tx1"/>
                </a:solidFill>
              </a:rPr>
              <a:t>dqssqdjkqdsfkljfdqsj</a:t>
            </a:r>
            <a:endParaRPr lang="en-GB" sz="1200">
              <a:solidFill>
                <a:schemeClr val="tx1"/>
              </a:solidFill>
            </a:endParaRPr>
          </a:p>
        </p:txBody>
      </p:sp>
      <p:sp>
        <p:nvSpPr>
          <p:cNvPr id="9" name="Title 3">
            <a:extLst>
              <a:ext uri="{FF2B5EF4-FFF2-40B4-BE49-F238E27FC236}">
                <a16:creationId xmlns:a16="http://schemas.microsoft.com/office/drawing/2014/main" id="{62622094-E25C-4C8B-88E3-D0C95AE907B6}"/>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10" name="Chevron 14">
            <a:extLst>
              <a:ext uri="{FF2B5EF4-FFF2-40B4-BE49-F238E27FC236}">
                <a16:creationId xmlns:a16="http://schemas.microsoft.com/office/drawing/2014/main" id="{ABC1E5FB-07A4-430A-8D11-B391EAD4CB34}"/>
              </a:ext>
            </a:extLst>
          </p:cNvPr>
          <p:cNvSpPr/>
          <p:nvPr userDrawn="1"/>
        </p:nvSpPr>
        <p:spPr>
          <a:xfrm>
            <a:off x="4847861" y="1700808"/>
            <a:ext cx="3367384" cy="598220"/>
          </a:xfrm>
          <a:prstGeom prst="chevron">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t>qsdqsfdqdfsfqsd</a:t>
            </a:r>
            <a:endParaRPr lang="en-GB" sz="1200" b="1"/>
          </a:p>
        </p:txBody>
      </p:sp>
      <p:sp>
        <p:nvSpPr>
          <p:cNvPr id="11" name="Rectangle 10">
            <a:extLst>
              <a:ext uri="{FF2B5EF4-FFF2-40B4-BE49-F238E27FC236}">
                <a16:creationId xmlns:a16="http://schemas.microsoft.com/office/drawing/2014/main" id="{899F0B96-0C7A-475F-AE46-17CA4FA0CBC5}"/>
              </a:ext>
            </a:extLst>
          </p:cNvPr>
          <p:cNvSpPr/>
          <p:nvPr userDrawn="1"/>
        </p:nvSpPr>
        <p:spPr>
          <a:xfrm>
            <a:off x="4854805" y="2544858"/>
            <a:ext cx="3161475" cy="1329378"/>
          </a:xfrm>
          <a:prstGeom prst="rect">
            <a:avLst/>
          </a:prstGeom>
          <a:solidFill>
            <a:schemeClr val="accent4">
              <a:lumMod val="20000"/>
              <a:lumOff val="80000"/>
            </a:schemeClr>
          </a:solidFill>
          <a:ln>
            <a:solidFill>
              <a:schemeClr val="accent4">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265846" rIns="0" bIns="42203" numCol="1" spcCol="0" rtlCol="0" fromWordArt="0" anchor="t" anchorCtr="0" forceAA="0" compatLnSpc="1">
            <a:prstTxWarp prst="textNoShape">
              <a:avLst/>
            </a:prstTxWarp>
            <a:noAutofit/>
          </a:bodyPr>
          <a:lstStyle/>
          <a:p>
            <a:pPr marL="263776" indent="-263776">
              <a:spcAft>
                <a:spcPts val="1108"/>
              </a:spcAft>
              <a:buClr>
                <a:schemeClr val="accent2"/>
              </a:buClr>
              <a:buFont typeface="Arial" panose="020B0604020202020204" pitchFamily="34" charset="0"/>
              <a:buChar char="•"/>
            </a:pPr>
            <a:r>
              <a:rPr lang="en-GB" sz="1200" err="1">
                <a:solidFill>
                  <a:schemeClr val="tx1"/>
                </a:solidFill>
              </a:rPr>
              <a:t>Qsdfjsdffsdqljkfdsklfdsjklf</a:t>
            </a:r>
            <a:endParaRPr lang="en-GB" sz="1200">
              <a:solidFill>
                <a:schemeClr val="tx1"/>
              </a:solidFill>
            </a:endParaRPr>
          </a:p>
          <a:p>
            <a:pPr marL="263776" indent="-263776">
              <a:spcAft>
                <a:spcPts val="1108"/>
              </a:spcAft>
              <a:buClr>
                <a:schemeClr val="accent2"/>
              </a:buClr>
              <a:buFont typeface="Arial" panose="020B0604020202020204" pitchFamily="34" charset="0"/>
              <a:buChar char="•"/>
            </a:pPr>
            <a:r>
              <a:rPr lang="en-GB" sz="1200" err="1">
                <a:solidFill>
                  <a:schemeClr val="tx1"/>
                </a:solidFill>
              </a:rPr>
              <a:t>Dqkljmfsdqljkfsdqkljfsdkjl</a:t>
            </a:r>
            <a:endParaRPr lang="en-GB" sz="1200">
              <a:solidFill>
                <a:schemeClr val="tx1"/>
              </a:solidFill>
            </a:endParaRPr>
          </a:p>
          <a:p>
            <a:pPr marL="263776" indent="-263776">
              <a:spcAft>
                <a:spcPts val="1108"/>
              </a:spcAft>
              <a:buClr>
                <a:schemeClr val="accent2"/>
              </a:buClr>
              <a:buFont typeface="Arial" panose="020B0604020202020204" pitchFamily="34" charset="0"/>
              <a:buChar char="•"/>
            </a:pPr>
            <a:r>
              <a:rPr lang="en-GB" sz="1200" err="1">
                <a:solidFill>
                  <a:schemeClr val="tx1"/>
                </a:solidFill>
              </a:rPr>
              <a:t>xbskbqsksbksqbkqsbbbsj</a:t>
            </a:r>
            <a:endParaRPr lang="en-GB" sz="1200">
              <a:solidFill>
                <a:schemeClr val="tx1"/>
              </a:solidFill>
            </a:endParaRPr>
          </a:p>
        </p:txBody>
      </p:sp>
      <p:sp>
        <p:nvSpPr>
          <p:cNvPr id="12" name="Rectangle 11">
            <a:extLst>
              <a:ext uri="{FF2B5EF4-FFF2-40B4-BE49-F238E27FC236}">
                <a16:creationId xmlns:a16="http://schemas.microsoft.com/office/drawing/2014/main" id="{BA66366A-CF7E-426C-ACAE-2823A625CFA6}"/>
              </a:ext>
            </a:extLst>
          </p:cNvPr>
          <p:cNvSpPr/>
          <p:nvPr userDrawn="1"/>
        </p:nvSpPr>
        <p:spPr>
          <a:xfrm>
            <a:off x="4847861" y="4120066"/>
            <a:ext cx="3168419" cy="332345"/>
          </a:xfrm>
          <a:prstGeom prst="rect">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42203" rIns="0" bIns="42203" numCol="1" spcCol="0" rtlCol="0" fromWordArt="0" anchor="ctr" anchorCtr="0" forceAA="0" compatLnSpc="1">
            <a:prstTxWarp prst="textNoShape">
              <a:avLst/>
            </a:prstTxWarp>
            <a:noAutofit/>
          </a:bodyPr>
          <a:lstStyle/>
          <a:p>
            <a:pPr algn="ctr"/>
            <a:r>
              <a:rPr lang="en-GB" sz="1200" err="1">
                <a:solidFill>
                  <a:schemeClr val="tx1"/>
                </a:solidFill>
              </a:rPr>
              <a:t>dqssqdjkqdsfkljfdqsj</a:t>
            </a:r>
            <a:endParaRPr lang="en-GB" sz="1200">
              <a:solidFill>
                <a:schemeClr val="tx1"/>
              </a:solidFill>
            </a:endParaRPr>
          </a:p>
        </p:txBody>
      </p:sp>
      <p:sp>
        <p:nvSpPr>
          <p:cNvPr id="13" name="Chevron 17">
            <a:extLst>
              <a:ext uri="{FF2B5EF4-FFF2-40B4-BE49-F238E27FC236}">
                <a16:creationId xmlns:a16="http://schemas.microsoft.com/office/drawing/2014/main" id="{74FC3256-5033-42B5-8D20-344495C7E23A}"/>
              </a:ext>
            </a:extLst>
          </p:cNvPr>
          <p:cNvSpPr/>
          <p:nvPr userDrawn="1"/>
        </p:nvSpPr>
        <p:spPr>
          <a:xfrm>
            <a:off x="8307784" y="1708386"/>
            <a:ext cx="3367384" cy="598220"/>
          </a:xfrm>
          <a:prstGeom prst="chevron">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t>qsdqsfdqdfsfqsd</a:t>
            </a:r>
            <a:endParaRPr lang="en-GB" sz="1200" b="1"/>
          </a:p>
        </p:txBody>
      </p:sp>
      <p:sp>
        <p:nvSpPr>
          <p:cNvPr id="14" name="Rectangle 13">
            <a:extLst>
              <a:ext uri="{FF2B5EF4-FFF2-40B4-BE49-F238E27FC236}">
                <a16:creationId xmlns:a16="http://schemas.microsoft.com/office/drawing/2014/main" id="{F5AB02C0-28FC-4416-8ED2-21201A6E1915}"/>
              </a:ext>
            </a:extLst>
          </p:cNvPr>
          <p:cNvSpPr/>
          <p:nvPr userDrawn="1"/>
        </p:nvSpPr>
        <p:spPr>
          <a:xfrm>
            <a:off x="8414210" y="2539454"/>
            <a:ext cx="3250740" cy="1329378"/>
          </a:xfrm>
          <a:prstGeom prst="rect">
            <a:avLst/>
          </a:prstGeom>
          <a:solidFill>
            <a:schemeClr val="accent4">
              <a:lumMod val="20000"/>
              <a:lumOff val="80000"/>
            </a:schemeClr>
          </a:solidFill>
          <a:ln>
            <a:solidFill>
              <a:schemeClr val="accent4">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265846" rIns="0" bIns="42203" numCol="1" spcCol="0" rtlCol="0" fromWordArt="0" anchor="t" anchorCtr="0" forceAA="0" compatLnSpc="1">
            <a:prstTxWarp prst="textNoShape">
              <a:avLst/>
            </a:prstTxWarp>
            <a:noAutofit/>
          </a:bodyPr>
          <a:lstStyle/>
          <a:p>
            <a:pPr marL="263776" indent="-263776">
              <a:spcAft>
                <a:spcPts val="1108"/>
              </a:spcAft>
              <a:buClr>
                <a:schemeClr val="accent2"/>
              </a:buClr>
              <a:buFont typeface="Arial" panose="020B0604020202020204" pitchFamily="34" charset="0"/>
              <a:buChar char="•"/>
            </a:pPr>
            <a:r>
              <a:rPr lang="en-GB" sz="1200" err="1">
                <a:solidFill>
                  <a:schemeClr val="tx1"/>
                </a:solidFill>
              </a:rPr>
              <a:t>Qsdfjsdffsdqljkfdsklfdsjklf</a:t>
            </a:r>
            <a:endParaRPr lang="en-GB" sz="1200">
              <a:solidFill>
                <a:schemeClr val="tx1"/>
              </a:solidFill>
            </a:endParaRPr>
          </a:p>
          <a:p>
            <a:pPr marL="263776" indent="-263776">
              <a:spcAft>
                <a:spcPts val="1108"/>
              </a:spcAft>
              <a:buClr>
                <a:schemeClr val="accent2"/>
              </a:buClr>
              <a:buFont typeface="Arial" panose="020B0604020202020204" pitchFamily="34" charset="0"/>
              <a:buChar char="•"/>
            </a:pPr>
            <a:r>
              <a:rPr lang="en-GB" sz="1200" err="1">
                <a:solidFill>
                  <a:schemeClr val="tx1"/>
                </a:solidFill>
              </a:rPr>
              <a:t>Dqkljmfsdqljkfsdqkljfsdkjl</a:t>
            </a:r>
            <a:endParaRPr lang="en-GB" sz="1200">
              <a:solidFill>
                <a:schemeClr val="tx1"/>
              </a:solidFill>
            </a:endParaRPr>
          </a:p>
          <a:p>
            <a:pPr marL="263776" indent="-263776">
              <a:spcAft>
                <a:spcPts val="1108"/>
              </a:spcAft>
              <a:buClr>
                <a:schemeClr val="accent2"/>
              </a:buClr>
              <a:buFont typeface="Arial" panose="020B0604020202020204" pitchFamily="34" charset="0"/>
              <a:buChar char="•"/>
            </a:pPr>
            <a:r>
              <a:rPr lang="en-GB" sz="1200" err="1">
                <a:solidFill>
                  <a:schemeClr val="tx1"/>
                </a:solidFill>
              </a:rPr>
              <a:t>xbskbqsksbksqbkqsbbbsj</a:t>
            </a:r>
            <a:endParaRPr lang="en-GB" sz="1200">
              <a:solidFill>
                <a:schemeClr val="tx1"/>
              </a:solidFill>
            </a:endParaRPr>
          </a:p>
        </p:txBody>
      </p:sp>
      <p:sp>
        <p:nvSpPr>
          <p:cNvPr id="15" name="Rectangle 14">
            <a:extLst>
              <a:ext uri="{FF2B5EF4-FFF2-40B4-BE49-F238E27FC236}">
                <a16:creationId xmlns:a16="http://schemas.microsoft.com/office/drawing/2014/main" id="{DEF2280D-F304-4239-BD37-F5237A73828B}"/>
              </a:ext>
            </a:extLst>
          </p:cNvPr>
          <p:cNvSpPr/>
          <p:nvPr userDrawn="1"/>
        </p:nvSpPr>
        <p:spPr>
          <a:xfrm>
            <a:off x="8414211" y="4120067"/>
            <a:ext cx="3260957" cy="332345"/>
          </a:xfrm>
          <a:prstGeom prst="rect">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42203" rIns="0" bIns="42203" numCol="1" spcCol="0" rtlCol="0" fromWordArt="0" anchor="ctr" anchorCtr="0" forceAA="0" compatLnSpc="1">
            <a:prstTxWarp prst="textNoShape">
              <a:avLst/>
            </a:prstTxWarp>
            <a:noAutofit/>
          </a:bodyPr>
          <a:lstStyle/>
          <a:p>
            <a:pPr algn="ctr"/>
            <a:r>
              <a:rPr lang="en-GB" sz="1200" err="1">
                <a:solidFill>
                  <a:schemeClr val="tx1"/>
                </a:solidFill>
              </a:rPr>
              <a:t>dqssqdjkqdsfkljfdqsj</a:t>
            </a:r>
            <a:endParaRPr lang="en-GB" sz="1200">
              <a:solidFill>
                <a:schemeClr val="tx1"/>
              </a:solidFill>
            </a:endParaRPr>
          </a:p>
        </p:txBody>
      </p:sp>
      <p:sp>
        <p:nvSpPr>
          <p:cNvPr id="16" name="TextBox 15">
            <a:extLst>
              <a:ext uri="{FF2B5EF4-FFF2-40B4-BE49-F238E27FC236}">
                <a16:creationId xmlns:a16="http://schemas.microsoft.com/office/drawing/2014/main" id="{2CF26DEC-E017-4026-B21C-D8DF1F320955}"/>
              </a:ext>
            </a:extLst>
          </p:cNvPr>
          <p:cNvSpPr txBox="1"/>
          <p:nvPr userDrawn="1"/>
        </p:nvSpPr>
        <p:spPr bwMode="auto">
          <a:xfrm>
            <a:off x="11255623" y="712343"/>
            <a:ext cx="409328" cy="428570"/>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solidFill>
                  <a:schemeClr val="tx1">
                    <a:lumMod val="75000"/>
                    <a:lumOff val="25000"/>
                  </a:schemeClr>
                </a:solidFill>
                <a:latin typeface="+mn-lt"/>
              </a:rPr>
              <a:t>1</a:t>
            </a:r>
          </a:p>
        </p:txBody>
      </p:sp>
    </p:spTree>
    <p:extLst>
      <p:ext uri="{BB962C8B-B14F-4D97-AF65-F5344CB8AC3E}">
        <p14:creationId xmlns:p14="http://schemas.microsoft.com/office/powerpoint/2010/main" val="90169104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Aangepaste indeling">
    <p:bg>
      <p:bgPr>
        <a:solidFill>
          <a:srgbClr val="C62B37"/>
        </a:solidFill>
        <a:effectLst/>
      </p:bgPr>
    </p:bg>
    <p:spTree>
      <p:nvGrpSpPr>
        <p:cNvPr id="1" name=""/>
        <p:cNvGrpSpPr/>
        <p:nvPr/>
      </p:nvGrpSpPr>
      <p:grpSpPr>
        <a:xfrm>
          <a:off x="0" y="0"/>
          <a:ext cx="0" cy="0"/>
          <a:chOff x="0" y="0"/>
          <a:chExt cx="0" cy="0"/>
        </a:xfrm>
      </p:grpSpPr>
      <p:sp>
        <p:nvSpPr>
          <p:cNvPr id="7" name="Rechthoek 6"/>
          <p:cNvSpPr/>
          <p:nvPr userDrawn="1"/>
        </p:nvSpPr>
        <p:spPr>
          <a:xfrm>
            <a:off x="0" y="5429250"/>
            <a:ext cx="12192000" cy="142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Tekstvak 7"/>
          <p:cNvSpPr txBox="1"/>
          <p:nvPr userDrawn="1"/>
        </p:nvSpPr>
        <p:spPr>
          <a:xfrm>
            <a:off x="555786" y="6003410"/>
            <a:ext cx="3076483" cy="461665"/>
          </a:xfrm>
          <a:prstGeom prst="rect">
            <a:avLst/>
          </a:prstGeom>
          <a:noFill/>
        </p:spPr>
        <p:txBody>
          <a:bodyPr wrap="none" rtlCol="0">
            <a:spAutoFit/>
          </a:bodyPr>
          <a:lstStyle/>
          <a:p>
            <a:r>
              <a:rPr lang="en-GB" sz="800" b="1"/>
              <a:t>Federatie van de Belgische Elektriciteits- en Gasbedrijven </a:t>
            </a:r>
          </a:p>
          <a:p>
            <a:r>
              <a:rPr lang="en-GB" sz="800" b="1"/>
              <a:t>Fédération Belge des Entreprises Électriques et Gazières</a:t>
            </a:r>
          </a:p>
          <a:p>
            <a:r>
              <a:rPr lang="en-GB" sz="800" b="1"/>
              <a:t>Federation of Belgian Electricity and Gas Companies</a:t>
            </a:r>
          </a:p>
        </p:txBody>
      </p:sp>
      <p:pic>
        <p:nvPicPr>
          <p:cNvPr id="5" name="Picture 22" descr="C:\4PPS\2015\Typographics\Febeg 01\_USE\FEBEG_Q.png">
            <a:extLst>
              <a:ext uri="{FF2B5EF4-FFF2-40B4-BE49-F238E27FC236}">
                <a16:creationId xmlns:a16="http://schemas.microsoft.com/office/drawing/2014/main" id="{97FA4974-3AEB-436C-8C1A-F4B58987F16E}"/>
              </a:ext>
            </a:extLst>
          </p:cNvPr>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a:ext>
            </a:extLst>
          </a:blip>
          <a:srcRect l="62995" t="32777" b="6087"/>
          <a:stretch/>
        </p:blipFill>
        <p:spPr bwMode="auto">
          <a:xfrm>
            <a:off x="0" y="-1"/>
            <a:ext cx="8528640" cy="685800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31588262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Aangepaste indeling">
    <p:bg>
      <p:bgPr>
        <a:solidFill>
          <a:srgbClr val="C62B37"/>
        </a:solidFill>
        <a:effectLst/>
      </p:bgPr>
    </p:bg>
    <p:spTree>
      <p:nvGrpSpPr>
        <p:cNvPr id="1" name=""/>
        <p:cNvGrpSpPr/>
        <p:nvPr/>
      </p:nvGrpSpPr>
      <p:grpSpPr>
        <a:xfrm>
          <a:off x="0" y="0"/>
          <a:ext cx="0" cy="0"/>
          <a:chOff x="0" y="0"/>
          <a:chExt cx="0" cy="0"/>
        </a:xfrm>
      </p:grpSpPr>
      <p:sp>
        <p:nvSpPr>
          <p:cNvPr id="7" name="Rechthoek 6"/>
          <p:cNvSpPr/>
          <p:nvPr userDrawn="1"/>
        </p:nvSpPr>
        <p:spPr>
          <a:xfrm>
            <a:off x="0" y="5429250"/>
            <a:ext cx="12192000" cy="142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5" name="Picture 22" descr="C:\4PPS\2015\Typographics\Febeg 01\_USE\FEBEG_Q.png">
            <a:extLst>
              <a:ext uri="{FF2B5EF4-FFF2-40B4-BE49-F238E27FC236}">
                <a16:creationId xmlns:a16="http://schemas.microsoft.com/office/drawing/2014/main" id="{20A7C618-217D-4985-909A-8DAE2D250DAA}"/>
              </a:ext>
            </a:extLst>
          </p:cNvPr>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a:ext>
            </a:extLst>
          </a:blip>
          <a:srcRect l="90734" t="32777" b="6087"/>
          <a:stretch/>
        </p:blipFill>
        <p:spPr bwMode="auto">
          <a:xfrm>
            <a:off x="0" y="-1"/>
            <a:ext cx="2135460"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8" name="Tekstvak 7"/>
          <p:cNvSpPr txBox="1"/>
          <p:nvPr userDrawn="1"/>
        </p:nvSpPr>
        <p:spPr>
          <a:xfrm>
            <a:off x="555786" y="6003410"/>
            <a:ext cx="3076483" cy="461665"/>
          </a:xfrm>
          <a:prstGeom prst="rect">
            <a:avLst/>
          </a:prstGeom>
          <a:noFill/>
        </p:spPr>
        <p:txBody>
          <a:bodyPr wrap="none" rtlCol="0">
            <a:spAutoFit/>
          </a:bodyPr>
          <a:lstStyle/>
          <a:p>
            <a:r>
              <a:rPr lang="en-GB" sz="800" b="1"/>
              <a:t>Federatie van de Belgische Elektriciteits- en Gasbedrijven </a:t>
            </a:r>
          </a:p>
          <a:p>
            <a:r>
              <a:rPr lang="en-GB" sz="800" b="1"/>
              <a:t>Fédération Belge des Entreprises Électriques et Gazières</a:t>
            </a:r>
          </a:p>
          <a:p>
            <a:r>
              <a:rPr lang="en-GB" sz="800" b="1"/>
              <a:t>Federation of Belgian Electricity and Gas Companies</a:t>
            </a:r>
          </a:p>
        </p:txBody>
      </p:sp>
    </p:spTree>
    <p:extLst>
      <p:ext uri="{BB962C8B-B14F-4D97-AF65-F5344CB8AC3E}">
        <p14:creationId xmlns:p14="http://schemas.microsoft.com/office/powerpoint/2010/main" val="226359577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pic>
        <p:nvPicPr>
          <p:cNvPr id="2" name="Picture 70" descr="http://www.febeg.be/Objects/1/Images/LogoEneco.jpg">
            <a:hlinkClick r:id="rId2"/>
            <a:extLst>
              <a:ext uri="{FF2B5EF4-FFF2-40B4-BE49-F238E27FC236}">
                <a16:creationId xmlns:a16="http://schemas.microsoft.com/office/drawing/2014/main" id="{0C950285-C24A-EA42-73CB-66E57AED4B4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75433" y="2982592"/>
            <a:ext cx="1664526" cy="40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71">
            <a:extLst>
              <a:ext uri="{FF2B5EF4-FFF2-40B4-BE49-F238E27FC236}">
                <a16:creationId xmlns:a16="http://schemas.microsoft.com/office/drawing/2014/main" id="{0E801BAE-496E-1BD7-27D0-F401B49F11DB}"/>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764351" y="1936754"/>
            <a:ext cx="898642" cy="563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2">
            <a:extLst>
              <a:ext uri="{FF2B5EF4-FFF2-40B4-BE49-F238E27FC236}">
                <a16:creationId xmlns:a16="http://schemas.microsoft.com/office/drawing/2014/main" id="{A7E86D90-336A-D30C-1B66-AD4C11DA4CB3}"/>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767388" y="2792181"/>
            <a:ext cx="608140" cy="7550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73">
            <a:extLst>
              <a:ext uri="{FF2B5EF4-FFF2-40B4-BE49-F238E27FC236}">
                <a16:creationId xmlns:a16="http://schemas.microsoft.com/office/drawing/2014/main" id="{66BAA64C-66DF-7F87-67EE-58163D010CB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996624" y="4462874"/>
            <a:ext cx="1569860" cy="85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75">
            <a:extLst>
              <a:ext uri="{FF2B5EF4-FFF2-40B4-BE49-F238E27FC236}">
                <a16:creationId xmlns:a16="http://schemas.microsoft.com/office/drawing/2014/main" id="{BEBC8908-0DDE-805A-1450-8F60FBF6691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54230" y="3042393"/>
            <a:ext cx="993250" cy="604641"/>
          </a:xfrm>
          <a:prstGeom prst="rect">
            <a:avLst/>
          </a:prstGeom>
        </p:spPr>
      </p:pic>
      <p:pic>
        <p:nvPicPr>
          <p:cNvPr id="7" name="Picture 76">
            <a:extLst>
              <a:ext uri="{FF2B5EF4-FFF2-40B4-BE49-F238E27FC236}">
                <a16:creationId xmlns:a16="http://schemas.microsoft.com/office/drawing/2014/main" id="{C6566B1E-20EE-6180-B598-79DD9B2AB98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145174" y="1003677"/>
            <a:ext cx="1455613" cy="536534"/>
          </a:xfrm>
          <a:prstGeom prst="rect">
            <a:avLst/>
          </a:prstGeom>
        </p:spPr>
      </p:pic>
      <p:pic>
        <p:nvPicPr>
          <p:cNvPr id="8" name="Picture 77">
            <a:extLst>
              <a:ext uri="{FF2B5EF4-FFF2-40B4-BE49-F238E27FC236}">
                <a16:creationId xmlns:a16="http://schemas.microsoft.com/office/drawing/2014/main" id="{77620428-2F87-8A0B-DD80-ADE48273B171}"/>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317107" y="4054177"/>
            <a:ext cx="1391101" cy="231632"/>
          </a:xfrm>
          <a:prstGeom prst="rect">
            <a:avLst/>
          </a:prstGeom>
        </p:spPr>
      </p:pic>
      <p:pic>
        <p:nvPicPr>
          <p:cNvPr id="9" name="Picture 78">
            <a:extLst>
              <a:ext uri="{FF2B5EF4-FFF2-40B4-BE49-F238E27FC236}">
                <a16:creationId xmlns:a16="http://schemas.microsoft.com/office/drawing/2014/main" id="{668F48AB-72B6-0392-B1B3-635BD4FCFF0F}"/>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47368" y="4808404"/>
            <a:ext cx="1322227" cy="376882"/>
          </a:xfrm>
          <a:prstGeom prst="rect">
            <a:avLst/>
          </a:prstGeom>
        </p:spPr>
      </p:pic>
      <p:pic>
        <p:nvPicPr>
          <p:cNvPr id="10" name="Picture 79">
            <a:extLst>
              <a:ext uri="{FF2B5EF4-FFF2-40B4-BE49-F238E27FC236}">
                <a16:creationId xmlns:a16="http://schemas.microsoft.com/office/drawing/2014/main" id="{58DD002A-C9D4-9C29-6D9B-1ECDDBCD80D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5988930" y="924842"/>
            <a:ext cx="1317523" cy="696482"/>
          </a:xfrm>
          <a:prstGeom prst="rect">
            <a:avLst/>
          </a:prstGeom>
        </p:spPr>
      </p:pic>
      <p:pic>
        <p:nvPicPr>
          <p:cNvPr id="11" name="Picture 80">
            <a:extLst>
              <a:ext uri="{FF2B5EF4-FFF2-40B4-BE49-F238E27FC236}">
                <a16:creationId xmlns:a16="http://schemas.microsoft.com/office/drawing/2014/main" id="{320B9459-CB2A-9600-518C-3305FF4259FD}"/>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134021" y="2985960"/>
            <a:ext cx="1215602" cy="501314"/>
          </a:xfrm>
          <a:prstGeom prst="rect">
            <a:avLst/>
          </a:prstGeom>
        </p:spPr>
      </p:pic>
      <p:pic>
        <p:nvPicPr>
          <p:cNvPr id="12" name="Picture 82">
            <a:extLst>
              <a:ext uri="{FF2B5EF4-FFF2-40B4-BE49-F238E27FC236}">
                <a16:creationId xmlns:a16="http://schemas.microsoft.com/office/drawing/2014/main" id="{FED4DB88-43B8-85D6-EB13-500367851ED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766314" y="1084502"/>
            <a:ext cx="1419902" cy="377162"/>
          </a:xfrm>
          <a:prstGeom prst="rect">
            <a:avLst/>
          </a:prstGeom>
        </p:spPr>
      </p:pic>
      <p:pic>
        <p:nvPicPr>
          <p:cNvPr id="13" name="Picture 83">
            <a:extLst>
              <a:ext uri="{FF2B5EF4-FFF2-40B4-BE49-F238E27FC236}">
                <a16:creationId xmlns:a16="http://schemas.microsoft.com/office/drawing/2014/main" id="{ECE9A3C3-4929-C42B-1A34-A2A14D7535F3}"/>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722620" y="1108393"/>
            <a:ext cx="1652623" cy="446209"/>
          </a:xfrm>
          <a:prstGeom prst="rect">
            <a:avLst/>
          </a:prstGeom>
        </p:spPr>
      </p:pic>
      <p:pic>
        <p:nvPicPr>
          <p:cNvPr id="14" name="Picture 84">
            <a:extLst>
              <a:ext uri="{FF2B5EF4-FFF2-40B4-BE49-F238E27FC236}">
                <a16:creationId xmlns:a16="http://schemas.microsoft.com/office/drawing/2014/main" id="{C1886558-EA79-4FB2-C494-94E325BF047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378330" y="2711837"/>
            <a:ext cx="1606648" cy="972489"/>
          </a:xfrm>
          <a:prstGeom prst="rect">
            <a:avLst/>
          </a:prstGeom>
        </p:spPr>
      </p:pic>
      <p:pic>
        <p:nvPicPr>
          <p:cNvPr id="15" name="Picture 85">
            <a:extLst>
              <a:ext uri="{FF2B5EF4-FFF2-40B4-BE49-F238E27FC236}">
                <a16:creationId xmlns:a16="http://schemas.microsoft.com/office/drawing/2014/main" id="{29C5A23F-020E-41E7-E12A-63F3CC4328E6}"/>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436955" y="2711554"/>
            <a:ext cx="1607115" cy="972772"/>
          </a:xfrm>
          <a:prstGeom prst="rect">
            <a:avLst/>
          </a:prstGeom>
        </p:spPr>
      </p:pic>
      <p:pic>
        <p:nvPicPr>
          <p:cNvPr id="16" name="Picture 87">
            <a:extLst>
              <a:ext uri="{FF2B5EF4-FFF2-40B4-BE49-F238E27FC236}">
                <a16:creationId xmlns:a16="http://schemas.microsoft.com/office/drawing/2014/main" id="{00223AD2-3C4A-4B48-747E-5697F83A949C}"/>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996624" y="1719707"/>
            <a:ext cx="1249972" cy="883675"/>
          </a:xfrm>
          <a:prstGeom prst="rect">
            <a:avLst/>
          </a:prstGeom>
        </p:spPr>
      </p:pic>
      <p:pic>
        <p:nvPicPr>
          <p:cNvPr id="17" name="Picture 88">
            <a:extLst>
              <a:ext uri="{FF2B5EF4-FFF2-40B4-BE49-F238E27FC236}">
                <a16:creationId xmlns:a16="http://schemas.microsoft.com/office/drawing/2014/main" id="{A8B873F0-9E0C-5AC4-2A8F-48DCAFA2E67E}"/>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6493397" y="1899007"/>
            <a:ext cx="830168" cy="578792"/>
          </a:xfrm>
          <a:prstGeom prst="rect">
            <a:avLst/>
          </a:prstGeom>
        </p:spPr>
      </p:pic>
      <p:pic>
        <p:nvPicPr>
          <p:cNvPr id="18" name="Picture 89">
            <a:extLst>
              <a:ext uri="{FF2B5EF4-FFF2-40B4-BE49-F238E27FC236}">
                <a16:creationId xmlns:a16="http://schemas.microsoft.com/office/drawing/2014/main" id="{FCD60E52-31B3-E9B2-B936-06B28D54C6FF}"/>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4599845" y="3996443"/>
            <a:ext cx="1507344" cy="297223"/>
          </a:xfrm>
          <a:prstGeom prst="rect">
            <a:avLst/>
          </a:prstGeom>
        </p:spPr>
      </p:pic>
      <p:pic>
        <p:nvPicPr>
          <p:cNvPr id="19" name="Picture 90">
            <a:extLst>
              <a:ext uri="{FF2B5EF4-FFF2-40B4-BE49-F238E27FC236}">
                <a16:creationId xmlns:a16="http://schemas.microsoft.com/office/drawing/2014/main" id="{40920434-B84E-333C-50B4-356562DC8003}"/>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885023" y="3513227"/>
            <a:ext cx="1222927" cy="1066888"/>
          </a:xfrm>
          <a:prstGeom prst="rect">
            <a:avLst/>
          </a:prstGeom>
        </p:spPr>
      </p:pic>
      <p:pic>
        <p:nvPicPr>
          <p:cNvPr id="20" name="Picture 91">
            <a:extLst>
              <a:ext uri="{FF2B5EF4-FFF2-40B4-BE49-F238E27FC236}">
                <a16:creationId xmlns:a16="http://schemas.microsoft.com/office/drawing/2014/main" id="{68447A1E-353E-E529-E2D8-07A12F09868A}"/>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4252703" y="4736333"/>
            <a:ext cx="1465179" cy="478057"/>
          </a:xfrm>
          <a:prstGeom prst="rect">
            <a:avLst/>
          </a:prstGeom>
        </p:spPr>
      </p:pic>
      <p:pic>
        <p:nvPicPr>
          <p:cNvPr id="21" name="Picture 92">
            <a:extLst>
              <a:ext uri="{FF2B5EF4-FFF2-40B4-BE49-F238E27FC236}">
                <a16:creationId xmlns:a16="http://schemas.microsoft.com/office/drawing/2014/main" id="{1FD2D056-A226-B08D-4EBC-834EE2A3B96D}"/>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9789927" y="4708980"/>
            <a:ext cx="1558072" cy="505321"/>
          </a:xfrm>
          <a:prstGeom prst="rect">
            <a:avLst/>
          </a:prstGeom>
        </p:spPr>
      </p:pic>
      <p:pic>
        <p:nvPicPr>
          <p:cNvPr id="22" name="Picture 93">
            <a:extLst>
              <a:ext uri="{FF2B5EF4-FFF2-40B4-BE49-F238E27FC236}">
                <a16:creationId xmlns:a16="http://schemas.microsoft.com/office/drawing/2014/main" id="{E1AE378D-7F9B-07CB-CB6D-D550C5AD8804}"/>
              </a:ext>
            </a:extLst>
          </p:cNvPr>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9586732" y="5557947"/>
            <a:ext cx="2153360" cy="52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94">
            <a:extLst>
              <a:ext uri="{FF2B5EF4-FFF2-40B4-BE49-F238E27FC236}">
                <a16:creationId xmlns:a16="http://schemas.microsoft.com/office/drawing/2014/main" id="{1D241588-D0A3-7B4A-38FF-27A511FE311C}"/>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8297268" y="5103368"/>
            <a:ext cx="1448159" cy="1448159"/>
          </a:xfrm>
          <a:prstGeom prst="rect">
            <a:avLst/>
          </a:prstGeom>
        </p:spPr>
      </p:pic>
      <p:pic>
        <p:nvPicPr>
          <p:cNvPr id="24" name="Picture 95">
            <a:extLst>
              <a:ext uri="{FF2B5EF4-FFF2-40B4-BE49-F238E27FC236}">
                <a16:creationId xmlns:a16="http://schemas.microsoft.com/office/drawing/2014/main" id="{459E9A74-6598-8125-6E04-884DE201DF6F}"/>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6647692" y="5670899"/>
            <a:ext cx="1420029" cy="344864"/>
          </a:xfrm>
          <a:prstGeom prst="rect">
            <a:avLst/>
          </a:prstGeom>
        </p:spPr>
      </p:pic>
      <p:pic>
        <p:nvPicPr>
          <p:cNvPr id="25" name="Picture 96">
            <a:extLst>
              <a:ext uri="{FF2B5EF4-FFF2-40B4-BE49-F238E27FC236}">
                <a16:creationId xmlns:a16="http://schemas.microsoft.com/office/drawing/2014/main" id="{8CD3FE64-3402-E686-FE4C-AC0EF933DF57}"/>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4252703" y="5597860"/>
            <a:ext cx="1733233" cy="530804"/>
          </a:xfrm>
          <a:prstGeom prst="rect">
            <a:avLst/>
          </a:prstGeom>
        </p:spPr>
      </p:pic>
      <p:pic>
        <p:nvPicPr>
          <p:cNvPr id="26" name="Picture 97" descr="A close up of a logo&#10;&#10;Description automatically generated">
            <a:extLst>
              <a:ext uri="{FF2B5EF4-FFF2-40B4-BE49-F238E27FC236}">
                <a16:creationId xmlns:a16="http://schemas.microsoft.com/office/drawing/2014/main" id="{718691D1-32D1-17D5-CBE1-5329AA5A3BA1}"/>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985266" y="5752870"/>
            <a:ext cx="982816" cy="239561"/>
          </a:xfrm>
          <a:prstGeom prst="rect">
            <a:avLst/>
          </a:prstGeom>
        </p:spPr>
      </p:pic>
      <p:pic>
        <p:nvPicPr>
          <p:cNvPr id="27" name="Picture 98" descr="Logo, company name&#10;&#10;Description automatically generated">
            <a:extLst>
              <a:ext uri="{FF2B5EF4-FFF2-40B4-BE49-F238E27FC236}">
                <a16:creationId xmlns:a16="http://schemas.microsoft.com/office/drawing/2014/main" id="{26B5220F-E170-9030-0061-2BE21FBDE798}"/>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9862204" y="3937251"/>
            <a:ext cx="1228122" cy="377884"/>
          </a:xfrm>
          <a:prstGeom prst="rect">
            <a:avLst/>
          </a:prstGeom>
        </p:spPr>
      </p:pic>
      <p:pic>
        <p:nvPicPr>
          <p:cNvPr id="28" name="Picture 99" descr="A green and white sign&#10;&#10;Description automatically generated with low confidence">
            <a:extLst>
              <a:ext uri="{FF2B5EF4-FFF2-40B4-BE49-F238E27FC236}">
                <a16:creationId xmlns:a16="http://schemas.microsoft.com/office/drawing/2014/main" id="{9CF3E773-F7DE-D9A2-57C4-FB4728ED5529}"/>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9949005" y="1951020"/>
            <a:ext cx="1198475" cy="535034"/>
          </a:xfrm>
          <a:prstGeom prst="rect">
            <a:avLst/>
          </a:prstGeom>
        </p:spPr>
      </p:pic>
      <p:pic>
        <p:nvPicPr>
          <p:cNvPr id="29" name="Picture 100" descr="Logo&#10;&#10;Description automatically generated">
            <a:extLst>
              <a:ext uri="{FF2B5EF4-FFF2-40B4-BE49-F238E27FC236}">
                <a16:creationId xmlns:a16="http://schemas.microsoft.com/office/drawing/2014/main" id="{75B3BDB8-0EDF-CBCD-9DF0-F1E91EB02256}"/>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2616455" y="5363771"/>
            <a:ext cx="1014586" cy="720587"/>
          </a:xfrm>
          <a:prstGeom prst="rect">
            <a:avLst/>
          </a:prstGeom>
        </p:spPr>
      </p:pic>
      <p:pic>
        <p:nvPicPr>
          <p:cNvPr id="30" name="Picture 101" descr="A picture containing text&#10;&#10;Description automatically generated">
            <a:extLst>
              <a:ext uri="{FF2B5EF4-FFF2-40B4-BE49-F238E27FC236}">
                <a16:creationId xmlns:a16="http://schemas.microsoft.com/office/drawing/2014/main" id="{04B19DA2-DC7B-7BD5-1E3F-377EA3FE5444}"/>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024566" y="1912606"/>
            <a:ext cx="1205994" cy="678373"/>
          </a:xfrm>
          <a:prstGeom prst="rect">
            <a:avLst/>
          </a:prstGeom>
        </p:spPr>
      </p:pic>
      <p:pic>
        <p:nvPicPr>
          <p:cNvPr id="31" name="Picture 102" descr="A green and white sign&#10;&#10;Description automatically generated with medium confidence">
            <a:extLst>
              <a:ext uri="{FF2B5EF4-FFF2-40B4-BE49-F238E27FC236}">
                <a16:creationId xmlns:a16="http://schemas.microsoft.com/office/drawing/2014/main" id="{E4E80DEE-12F7-AD80-9892-7B2EFDC0070B}"/>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4138330" y="1968181"/>
            <a:ext cx="1455612" cy="440445"/>
          </a:xfrm>
          <a:prstGeom prst="rect">
            <a:avLst/>
          </a:prstGeom>
        </p:spPr>
      </p:pic>
      <p:pic>
        <p:nvPicPr>
          <p:cNvPr id="32" name="Picture 2" descr="A picture containing text, clipart&#10;&#10;Description automatically generated">
            <a:extLst>
              <a:ext uri="{FF2B5EF4-FFF2-40B4-BE49-F238E27FC236}">
                <a16:creationId xmlns:a16="http://schemas.microsoft.com/office/drawing/2014/main" id="{BF857567-90EB-3D01-3DDE-B4CAE95B3D0E}"/>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8134021" y="3916432"/>
            <a:ext cx="1295067" cy="507121"/>
          </a:xfrm>
          <a:prstGeom prst="rect">
            <a:avLst/>
          </a:prstGeom>
        </p:spPr>
      </p:pic>
      <p:pic>
        <p:nvPicPr>
          <p:cNvPr id="33" name="Picture 4" descr="Logo&#10;&#10;Description automatically generated">
            <a:extLst>
              <a:ext uri="{FF2B5EF4-FFF2-40B4-BE49-F238E27FC236}">
                <a16:creationId xmlns:a16="http://schemas.microsoft.com/office/drawing/2014/main" id="{3E86D127-D348-7DE8-1CB4-29E5B1F2093D}"/>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974055" y="1000586"/>
            <a:ext cx="1295512" cy="586791"/>
          </a:xfrm>
          <a:prstGeom prst="rect">
            <a:avLst/>
          </a:prstGeom>
        </p:spPr>
      </p:pic>
      <p:pic>
        <p:nvPicPr>
          <p:cNvPr id="34" name="Picture 1" descr="Logo, company name&#10;&#10;Description automatically generated">
            <a:extLst>
              <a:ext uri="{FF2B5EF4-FFF2-40B4-BE49-F238E27FC236}">
                <a16:creationId xmlns:a16="http://schemas.microsoft.com/office/drawing/2014/main" id="{4190A226-9658-264B-3A06-1559BA781379}"/>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885023" y="4501244"/>
            <a:ext cx="995263" cy="1066889"/>
          </a:xfrm>
          <a:prstGeom prst="rect">
            <a:avLst/>
          </a:prstGeom>
        </p:spPr>
      </p:pic>
      <p:pic>
        <p:nvPicPr>
          <p:cNvPr id="35" name="Picture 3" descr="Logo, company name&#10;&#10;Description automatically generated">
            <a:extLst>
              <a:ext uri="{FF2B5EF4-FFF2-40B4-BE49-F238E27FC236}">
                <a16:creationId xmlns:a16="http://schemas.microsoft.com/office/drawing/2014/main" id="{33ED0F5C-CDEB-DE0D-31BF-3D4CBEE55585}"/>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2578631" y="4462874"/>
            <a:ext cx="976593" cy="842551"/>
          </a:xfrm>
          <a:prstGeom prst="rect">
            <a:avLst/>
          </a:prstGeom>
        </p:spPr>
      </p:pic>
      <p:pic>
        <p:nvPicPr>
          <p:cNvPr id="37" name="Picture 5" descr="Logo, company name&#10;&#10;Description automatically generated">
            <a:extLst>
              <a:ext uri="{FF2B5EF4-FFF2-40B4-BE49-F238E27FC236}">
                <a16:creationId xmlns:a16="http://schemas.microsoft.com/office/drawing/2014/main" id="{4D7A1D20-3987-37A1-DA46-A8286E7F1288}"/>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2638293" y="3747587"/>
            <a:ext cx="1295511" cy="723586"/>
          </a:xfrm>
          <a:prstGeom prst="rect">
            <a:avLst/>
          </a:prstGeom>
        </p:spPr>
      </p:pic>
      <p:pic>
        <p:nvPicPr>
          <p:cNvPr id="69" name="Picture 7" descr="Logo&#10;&#10;Description automatically generated">
            <a:extLst>
              <a:ext uri="{FF2B5EF4-FFF2-40B4-BE49-F238E27FC236}">
                <a16:creationId xmlns:a16="http://schemas.microsoft.com/office/drawing/2014/main" id="{74EA197C-984A-564C-B0B1-8D580719CC5F}"/>
              </a:ext>
            </a:extLst>
          </p:cNvPr>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2378330" y="919763"/>
            <a:ext cx="1317523" cy="823467"/>
          </a:xfrm>
          <a:prstGeom prst="rect">
            <a:avLst/>
          </a:prstGeom>
        </p:spPr>
      </p:pic>
    </p:spTree>
    <p:extLst>
      <p:ext uri="{BB962C8B-B14F-4D97-AF65-F5344CB8AC3E}">
        <p14:creationId xmlns:p14="http://schemas.microsoft.com/office/powerpoint/2010/main" val="20138144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partners">
    <p:spTree>
      <p:nvGrpSpPr>
        <p:cNvPr id="1" name=""/>
        <p:cNvGrpSpPr/>
        <p:nvPr/>
      </p:nvGrpSpPr>
      <p:grpSpPr>
        <a:xfrm>
          <a:off x="0" y="0"/>
          <a:ext cx="0" cy="0"/>
          <a:chOff x="0" y="0"/>
          <a:chExt cx="0" cy="0"/>
        </a:xfrm>
      </p:grpSpPr>
      <p:sp>
        <p:nvSpPr>
          <p:cNvPr id="2" name="Tekstvak 1"/>
          <p:cNvSpPr txBox="1"/>
          <p:nvPr userDrawn="1"/>
        </p:nvSpPr>
        <p:spPr>
          <a:xfrm>
            <a:off x="6671734" y="6762750"/>
            <a:ext cx="184731" cy="369332"/>
          </a:xfrm>
          <a:prstGeom prst="rect">
            <a:avLst/>
          </a:prstGeom>
          <a:noFill/>
        </p:spPr>
        <p:txBody>
          <a:bodyPr wrap="none" rtlCol="0">
            <a:spAutoFit/>
          </a:bodyPr>
          <a:lstStyle/>
          <a:p>
            <a:endParaRPr lang="nl-NL" sz="1800"/>
          </a:p>
        </p:txBody>
      </p:sp>
      <p:pic>
        <p:nvPicPr>
          <p:cNvPr id="4" name="Afbeelding 2">
            <a:extLst>
              <a:ext uri="{FF2B5EF4-FFF2-40B4-BE49-F238E27FC236}">
                <a16:creationId xmlns:a16="http://schemas.microsoft.com/office/drawing/2014/main" id="{1D421EB7-6EB9-4C0C-976C-BCE3197F09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1205" y="2636912"/>
            <a:ext cx="8149590" cy="3589020"/>
          </a:xfrm>
          <a:prstGeom prst="rect">
            <a:avLst/>
          </a:prstGeom>
          <a:solidFill>
            <a:schemeClr val="bg1"/>
          </a:solidFill>
        </p:spPr>
      </p:pic>
    </p:spTree>
    <p:extLst>
      <p:ext uri="{BB962C8B-B14F-4D97-AF65-F5344CB8AC3E}">
        <p14:creationId xmlns:p14="http://schemas.microsoft.com/office/powerpoint/2010/main" val="286305348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partners">
    <p:bg>
      <p:bgPr>
        <a:solidFill>
          <a:schemeClr val="accent1"/>
        </a:solidFill>
        <a:effectLst/>
      </p:bgPr>
    </p:bg>
    <p:spTree>
      <p:nvGrpSpPr>
        <p:cNvPr id="1" name=""/>
        <p:cNvGrpSpPr/>
        <p:nvPr/>
      </p:nvGrpSpPr>
      <p:grpSpPr>
        <a:xfrm>
          <a:off x="0" y="0"/>
          <a:ext cx="0" cy="0"/>
          <a:chOff x="0" y="0"/>
          <a:chExt cx="0" cy="0"/>
        </a:xfrm>
      </p:grpSpPr>
      <p:pic>
        <p:nvPicPr>
          <p:cNvPr id="3" name="Afbeelding 4" descr="LOGO_LINES.eps">
            <a:extLst>
              <a:ext uri="{FF2B5EF4-FFF2-40B4-BE49-F238E27FC236}">
                <a16:creationId xmlns:a16="http://schemas.microsoft.com/office/drawing/2014/main" id="{BAD6A92A-0DFF-4BC7-93D4-D345929B07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1205" y="2636912"/>
            <a:ext cx="8149590" cy="3589020"/>
          </a:xfrm>
          <a:prstGeom prst="rect">
            <a:avLst/>
          </a:prstGeom>
        </p:spPr>
      </p:pic>
    </p:spTree>
    <p:extLst>
      <p:ext uri="{BB962C8B-B14F-4D97-AF65-F5344CB8AC3E}">
        <p14:creationId xmlns:p14="http://schemas.microsoft.com/office/powerpoint/2010/main" val="37541762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9" name="Picture 8" descr="A child in a field of flowers&#10;&#10;Description automatically generated with medium confidence">
            <a:extLst>
              <a:ext uri="{FF2B5EF4-FFF2-40B4-BE49-F238E27FC236}">
                <a16:creationId xmlns:a16="http://schemas.microsoft.com/office/drawing/2014/main" id="{B6768249-84BB-436E-95A3-3A281D9F4E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0644" r="9926"/>
          <a:stretch/>
        </p:blipFill>
        <p:spPr>
          <a:xfrm>
            <a:off x="-1" y="0"/>
            <a:ext cx="12192001"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dirty="0"/>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00329868"/>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eldia">
    <p:bg>
      <p:bgPr>
        <a:solidFill>
          <a:srgbClr val="C62B37"/>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bg1"/>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bg1"/>
                </a:solidFill>
              </a:defRPr>
            </a:lvl1pPr>
          </a:lstStyle>
          <a:p>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bg1"/>
                </a:solidFill>
              </a:defRPr>
            </a:lvl1pPr>
          </a:lstStyle>
          <a:p>
            <a:endParaRPr lang="nl-BE" dirty="0"/>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bg1"/>
                </a:solidFill>
              </a:defRPr>
            </a:lvl1pPr>
          </a:lstStyle>
          <a:p>
            <a:fld id="{9BE375CD-4755-4D83-B134-E6AD5007676A}" type="slidenum">
              <a:rPr lang="nl-BE" smtClean="0"/>
              <a:pPr/>
              <a:t>‹nr.›</a:t>
            </a:fld>
            <a:endParaRPr lang="nl-BE" dirty="0"/>
          </a:p>
        </p:txBody>
      </p:sp>
      <p:grpSp>
        <p:nvGrpSpPr>
          <p:cNvPr id="7" name="Group 7"/>
          <p:cNvGrpSpPr>
            <a:grpSpLocks noChangeAspect="1"/>
          </p:cNvGrpSpPr>
          <p:nvPr userDrawn="1"/>
        </p:nvGrpSpPr>
        <p:grpSpPr bwMode="auto">
          <a:xfrm>
            <a:off x="11064875" y="6416042"/>
            <a:ext cx="600076" cy="258577"/>
            <a:chOff x="4371" y="191"/>
            <a:chExt cx="5592" cy="2723"/>
          </a:xfrm>
        </p:grpSpPr>
        <p:sp>
          <p:nvSpPr>
            <p:cNvPr id="8" name="Freeform 9"/>
            <p:cNvSpPr>
              <a:spLocks/>
            </p:cNvSpPr>
            <p:nvPr/>
          </p:nvSpPr>
          <p:spPr bwMode="auto">
            <a:xfrm>
              <a:off x="4649" y="1284"/>
              <a:ext cx="1811" cy="920"/>
            </a:xfrm>
            <a:custGeom>
              <a:avLst/>
              <a:gdLst>
                <a:gd name="T0" fmla="*/ 68 w 1811"/>
                <a:gd name="T1" fmla="*/ 0 h 920"/>
                <a:gd name="T2" fmla="*/ 611 w 1811"/>
                <a:gd name="T3" fmla="*/ 58 h 920"/>
                <a:gd name="T4" fmla="*/ 581 w 1811"/>
                <a:gd name="T5" fmla="*/ 189 h 920"/>
                <a:gd name="T6" fmla="*/ 582 w 1811"/>
                <a:gd name="T7" fmla="*/ 330 h 920"/>
                <a:gd name="T8" fmla="*/ 616 w 1811"/>
                <a:gd name="T9" fmla="*/ 454 h 920"/>
                <a:gd name="T10" fmla="*/ 686 w 1811"/>
                <a:gd name="T11" fmla="*/ 564 h 920"/>
                <a:gd name="T12" fmla="*/ 786 w 1811"/>
                <a:gd name="T13" fmla="*/ 657 h 920"/>
                <a:gd name="T14" fmla="*/ 903 w 1811"/>
                <a:gd name="T15" fmla="*/ 722 h 920"/>
                <a:gd name="T16" fmla="*/ 1032 w 1811"/>
                <a:gd name="T17" fmla="*/ 754 h 920"/>
                <a:gd name="T18" fmla="*/ 1641 w 1811"/>
                <a:gd name="T19" fmla="*/ 757 h 920"/>
                <a:gd name="T20" fmla="*/ 1657 w 1811"/>
                <a:gd name="T21" fmla="*/ 776 h 920"/>
                <a:gd name="T22" fmla="*/ 1672 w 1811"/>
                <a:gd name="T23" fmla="*/ 795 h 920"/>
                <a:gd name="T24" fmla="*/ 1689 w 1811"/>
                <a:gd name="T25" fmla="*/ 813 h 920"/>
                <a:gd name="T26" fmla="*/ 1758 w 1811"/>
                <a:gd name="T27" fmla="*/ 880 h 920"/>
                <a:gd name="T28" fmla="*/ 1102 w 1811"/>
                <a:gd name="T29" fmla="*/ 920 h 920"/>
                <a:gd name="T30" fmla="*/ 951 w 1811"/>
                <a:gd name="T31" fmla="*/ 905 h 920"/>
                <a:gd name="T32" fmla="*/ 811 w 1811"/>
                <a:gd name="T33" fmla="*/ 858 h 920"/>
                <a:gd name="T34" fmla="*/ 682 w 1811"/>
                <a:gd name="T35" fmla="*/ 780 h 920"/>
                <a:gd name="T36" fmla="*/ 569 w 1811"/>
                <a:gd name="T37" fmla="*/ 671 h 920"/>
                <a:gd name="T38" fmla="*/ 486 w 1811"/>
                <a:gd name="T39" fmla="*/ 549 h 920"/>
                <a:gd name="T40" fmla="*/ 435 w 1811"/>
                <a:gd name="T41" fmla="*/ 413 h 920"/>
                <a:gd name="T42" fmla="*/ 418 w 1811"/>
                <a:gd name="T43" fmla="*/ 263 h 920"/>
                <a:gd name="T44" fmla="*/ 426 w 1811"/>
                <a:gd name="T45" fmla="*/ 146 h 920"/>
                <a:gd name="T46" fmla="*/ 153 w 1811"/>
                <a:gd name="T47" fmla="*/ 839 h 920"/>
                <a:gd name="T48" fmla="*/ 150 w 1811"/>
                <a:gd name="T49" fmla="*/ 868 h 920"/>
                <a:gd name="T50" fmla="*/ 122 w 1811"/>
                <a:gd name="T51" fmla="*/ 905 h 920"/>
                <a:gd name="T52" fmla="*/ 77 w 1811"/>
                <a:gd name="T53" fmla="*/ 920 h 920"/>
                <a:gd name="T54" fmla="*/ 33 w 1811"/>
                <a:gd name="T55" fmla="*/ 905 h 920"/>
                <a:gd name="T56" fmla="*/ 5 w 1811"/>
                <a:gd name="T57" fmla="*/ 868 h 920"/>
                <a:gd name="T58" fmla="*/ 2 w 1811"/>
                <a:gd name="T59" fmla="*/ 842 h 920"/>
                <a:gd name="T60" fmla="*/ 0 w 1811"/>
                <a:gd name="T61" fmla="*/ 70 h 920"/>
                <a:gd name="T62" fmla="*/ 2 w 1811"/>
                <a:gd name="T63" fmla="*/ 60 h 920"/>
                <a:gd name="T64" fmla="*/ 9 w 1811"/>
                <a:gd name="T65" fmla="*/ 36 h 920"/>
                <a:gd name="T66" fmla="*/ 27 w 1811"/>
                <a:gd name="T67" fmla="*/ 11 h 920"/>
                <a:gd name="T68" fmla="*/ 68 w 1811"/>
                <a:gd name="T69"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1" h="920">
                  <a:moveTo>
                    <a:pt x="68" y="0"/>
                  </a:moveTo>
                  <a:lnTo>
                    <a:pt x="68" y="0"/>
                  </a:lnTo>
                  <a:lnTo>
                    <a:pt x="637" y="0"/>
                  </a:lnTo>
                  <a:lnTo>
                    <a:pt x="611" y="58"/>
                  </a:lnTo>
                  <a:lnTo>
                    <a:pt x="593" y="121"/>
                  </a:lnTo>
                  <a:lnTo>
                    <a:pt x="581" y="189"/>
                  </a:lnTo>
                  <a:lnTo>
                    <a:pt x="577" y="263"/>
                  </a:lnTo>
                  <a:lnTo>
                    <a:pt x="582" y="330"/>
                  </a:lnTo>
                  <a:lnTo>
                    <a:pt x="594" y="392"/>
                  </a:lnTo>
                  <a:lnTo>
                    <a:pt x="616" y="454"/>
                  </a:lnTo>
                  <a:lnTo>
                    <a:pt x="647" y="510"/>
                  </a:lnTo>
                  <a:lnTo>
                    <a:pt x="686" y="564"/>
                  </a:lnTo>
                  <a:lnTo>
                    <a:pt x="733" y="613"/>
                  </a:lnTo>
                  <a:lnTo>
                    <a:pt x="786" y="657"/>
                  </a:lnTo>
                  <a:lnTo>
                    <a:pt x="844" y="693"/>
                  </a:lnTo>
                  <a:lnTo>
                    <a:pt x="903" y="722"/>
                  </a:lnTo>
                  <a:lnTo>
                    <a:pt x="966" y="742"/>
                  </a:lnTo>
                  <a:lnTo>
                    <a:pt x="1032" y="754"/>
                  </a:lnTo>
                  <a:lnTo>
                    <a:pt x="1102" y="757"/>
                  </a:lnTo>
                  <a:lnTo>
                    <a:pt x="1641" y="757"/>
                  </a:lnTo>
                  <a:lnTo>
                    <a:pt x="1641" y="757"/>
                  </a:lnTo>
                  <a:lnTo>
                    <a:pt x="1657" y="776"/>
                  </a:lnTo>
                  <a:lnTo>
                    <a:pt x="1658" y="778"/>
                  </a:lnTo>
                  <a:lnTo>
                    <a:pt x="1672" y="795"/>
                  </a:lnTo>
                  <a:lnTo>
                    <a:pt x="1677" y="802"/>
                  </a:lnTo>
                  <a:lnTo>
                    <a:pt x="1689" y="813"/>
                  </a:lnTo>
                  <a:lnTo>
                    <a:pt x="1707" y="832"/>
                  </a:lnTo>
                  <a:lnTo>
                    <a:pt x="1758" y="880"/>
                  </a:lnTo>
                  <a:lnTo>
                    <a:pt x="1811" y="920"/>
                  </a:lnTo>
                  <a:lnTo>
                    <a:pt x="1102" y="920"/>
                  </a:lnTo>
                  <a:lnTo>
                    <a:pt x="1025" y="917"/>
                  </a:lnTo>
                  <a:lnTo>
                    <a:pt x="951" y="905"/>
                  </a:lnTo>
                  <a:lnTo>
                    <a:pt x="879" y="885"/>
                  </a:lnTo>
                  <a:lnTo>
                    <a:pt x="811" y="858"/>
                  </a:lnTo>
                  <a:lnTo>
                    <a:pt x="745" y="822"/>
                  </a:lnTo>
                  <a:lnTo>
                    <a:pt x="682" y="780"/>
                  </a:lnTo>
                  <a:lnTo>
                    <a:pt x="623" y="729"/>
                  </a:lnTo>
                  <a:lnTo>
                    <a:pt x="569" y="671"/>
                  </a:lnTo>
                  <a:lnTo>
                    <a:pt x="523" y="611"/>
                  </a:lnTo>
                  <a:lnTo>
                    <a:pt x="486" y="549"/>
                  </a:lnTo>
                  <a:lnTo>
                    <a:pt x="457" y="482"/>
                  </a:lnTo>
                  <a:lnTo>
                    <a:pt x="435" y="413"/>
                  </a:lnTo>
                  <a:lnTo>
                    <a:pt x="423" y="340"/>
                  </a:lnTo>
                  <a:lnTo>
                    <a:pt x="418" y="263"/>
                  </a:lnTo>
                  <a:lnTo>
                    <a:pt x="421" y="204"/>
                  </a:lnTo>
                  <a:lnTo>
                    <a:pt x="426" y="146"/>
                  </a:lnTo>
                  <a:lnTo>
                    <a:pt x="153" y="146"/>
                  </a:lnTo>
                  <a:lnTo>
                    <a:pt x="153" y="839"/>
                  </a:lnTo>
                  <a:lnTo>
                    <a:pt x="153" y="844"/>
                  </a:lnTo>
                  <a:lnTo>
                    <a:pt x="150" y="868"/>
                  </a:lnTo>
                  <a:lnTo>
                    <a:pt x="138" y="890"/>
                  </a:lnTo>
                  <a:lnTo>
                    <a:pt x="122" y="905"/>
                  </a:lnTo>
                  <a:lnTo>
                    <a:pt x="100" y="917"/>
                  </a:lnTo>
                  <a:lnTo>
                    <a:pt x="77" y="920"/>
                  </a:lnTo>
                  <a:lnTo>
                    <a:pt x="53" y="917"/>
                  </a:lnTo>
                  <a:lnTo>
                    <a:pt x="33" y="905"/>
                  </a:lnTo>
                  <a:lnTo>
                    <a:pt x="16" y="890"/>
                  </a:lnTo>
                  <a:lnTo>
                    <a:pt x="5" y="868"/>
                  </a:lnTo>
                  <a:lnTo>
                    <a:pt x="0" y="844"/>
                  </a:lnTo>
                  <a:lnTo>
                    <a:pt x="2" y="842"/>
                  </a:lnTo>
                  <a:lnTo>
                    <a:pt x="0" y="842"/>
                  </a:lnTo>
                  <a:lnTo>
                    <a:pt x="0" y="70"/>
                  </a:lnTo>
                  <a:lnTo>
                    <a:pt x="0" y="68"/>
                  </a:lnTo>
                  <a:lnTo>
                    <a:pt x="2" y="60"/>
                  </a:lnTo>
                  <a:lnTo>
                    <a:pt x="4" y="48"/>
                  </a:lnTo>
                  <a:lnTo>
                    <a:pt x="9" y="36"/>
                  </a:lnTo>
                  <a:lnTo>
                    <a:pt x="16" y="22"/>
                  </a:lnTo>
                  <a:lnTo>
                    <a:pt x="27" y="11"/>
                  </a:lnTo>
                  <a:lnTo>
                    <a:pt x="44" y="4"/>
                  </a:lnTo>
                  <a:lnTo>
                    <a:pt x="6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9" name="Freeform 10"/>
            <p:cNvSpPr>
              <a:spLocks noEditPoints="1"/>
            </p:cNvSpPr>
            <p:nvPr/>
          </p:nvSpPr>
          <p:spPr bwMode="auto">
            <a:xfrm>
              <a:off x="6528" y="1152"/>
              <a:ext cx="784" cy="789"/>
            </a:xfrm>
            <a:custGeom>
              <a:avLst/>
              <a:gdLst>
                <a:gd name="T0" fmla="*/ 341 w 784"/>
                <a:gd name="T1" fmla="*/ 166 h 789"/>
                <a:gd name="T2" fmla="*/ 259 w 784"/>
                <a:gd name="T3" fmla="*/ 200 h 789"/>
                <a:gd name="T4" fmla="*/ 195 w 784"/>
                <a:gd name="T5" fmla="*/ 266 h 789"/>
                <a:gd name="T6" fmla="*/ 163 w 784"/>
                <a:gd name="T7" fmla="*/ 351 h 789"/>
                <a:gd name="T8" fmla="*/ 163 w 784"/>
                <a:gd name="T9" fmla="*/ 445 h 789"/>
                <a:gd name="T10" fmla="*/ 197 w 784"/>
                <a:gd name="T11" fmla="*/ 526 h 789"/>
                <a:gd name="T12" fmla="*/ 261 w 784"/>
                <a:gd name="T13" fmla="*/ 591 h 789"/>
                <a:gd name="T14" fmla="*/ 343 w 784"/>
                <a:gd name="T15" fmla="*/ 623 h 789"/>
                <a:gd name="T16" fmla="*/ 436 w 784"/>
                <a:gd name="T17" fmla="*/ 623 h 789"/>
                <a:gd name="T18" fmla="*/ 519 w 784"/>
                <a:gd name="T19" fmla="*/ 591 h 789"/>
                <a:gd name="T20" fmla="*/ 585 w 784"/>
                <a:gd name="T21" fmla="*/ 526 h 789"/>
                <a:gd name="T22" fmla="*/ 621 w 784"/>
                <a:gd name="T23" fmla="*/ 445 h 789"/>
                <a:gd name="T24" fmla="*/ 621 w 784"/>
                <a:gd name="T25" fmla="*/ 351 h 789"/>
                <a:gd name="T26" fmla="*/ 587 w 784"/>
                <a:gd name="T27" fmla="*/ 266 h 789"/>
                <a:gd name="T28" fmla="*/ 521 w 784"/>
                <a:gd name="T29" fmla="*/ 200 h 789"/>
                <a:gd name="T30" fmla="*/ 436 w 784"/>
                <a:gd name="T31" fmla="*/ 166 h 789"/>
                <a:gd name="T32" fmla="*/ 388 w 784"/>
                <a:gd name="T33" fmla="*/ 0 h 789"/>
                <a:gd name="T34" fmla="*/ 512 w 784"/>
                <a:gd name="T35" fmla="*/ 19 h 789"/>
                <a:gd name="T36" fmla="*/ 621 w 784"/>
                <a:gd name="T37" fmla="*/ 75 h 789"/>
                <a:gd name="T38" fmla="*/ 711 w 784"/>
                <a:gd name="T39" fmla="*/ 166 h 789"/>
                <a:gd name="T40" fmla="*/ 765 w 784"/>
                <a:gd name="T41" fmla="*/ 275 h 789"/>
                <a:gd name="T42" fmla="*/ 784 w 784"/>
                <a:gd name="T43" fmla="*/ 399 h 789"/>
                <a:gd name="T44" fmla="*/ 765 w 784"/>
                <a:gd name="T45" fmla="*/ 519 h 789"/>
                <a:gd name="T46" fmla="*/ 709 w 784"/>
                <a:gd name="T47" fmla="*/ 626 h 789"/>
                <a:gd name="T48" fmla="*/ 619 w 784"/>
                <a:gd name="T49" fmla="*/ 716 h 789"/>
                <a:gd name="T50" fmla="*/ 512 w 784"/>
                <a:gd name="T51" fmla="*/ 772 h 789"/>
                <a:gd name="T52" fmla="*/ 388 w 784"/>
                <a:gd name="T53" fmla="*/ 789 h 789"/>
                <a:gd name="T54" fmla="*/ 266 w 784"/>
                <a:gd name="T55" fmla="*/ 772 h 789"/>
                <a:gd name="T56" fmla="*/ 159 w 784"/>
                <a:gd name="T57" fmla="*/ 718 h 789"/>
                <a:gd name="T58" fmla="*/ 73 w 784"/>
                <a:gd name="T59" fmla="*/ 630 h 789"/>
                <a:gd name="T60" fmla="*/ 19 w 784"/>
                <a:gd name="T61" fmla="*/ 523 h 789"/>
                <a:gd name="T62" fmla="*/ 0 w 784"/>
                <a:gd name="T63" fmla="*/ 399 h 789"/>
                <a:gd name="T64" fmla="*/ 19 w 784"/>
                <a:gd name="T65" fmla="*/ 275 h 789"/>
                <a:gd name="T66" fmla="*/ 73 w 784"/>
                <a:gd name="T67" fmla="*/ 166 h 789"/>
                <a:gd name="T68" fmla="*/ 163 w 784"/>
                <a:gd name="T69" fmla="*/ 75 h 789"/>
                <a:gd name="T70" fmla="*/ 268 w 784"/>
                <a:gd name="T71" fmla="*/ 19 h 789"/>
                <a:gd name="T72" fmla="*/ 388 w 784"/>
                <a:gd name="T7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4" h="789">
                  <a:moveTo>
                    <a:pt x="388" y="161"/>
                  </a:moveTo>
                  <a:lnTo>
                    <a:pt x="341" y="166"/>
                  </a:lnTo>
                  <a:lnTo>
                    <a:pt x="299" y="178"/>
                  </a:lnTo>
                  <a:lnTo>
                    <a:pt x="259" y="200"/>
                  </a:lnTo>
                  <a:lnTo>
                    <a:pt x="224" y="229"/>
                  </a:lnTo>
                  <a:lnTo>
                    <a:pt x="195" y="266"/>
                  </a:lnTo>
                  <a:lnTo>
                    <a:pt x="175" y="305"/>
                  </a:lnTo>
                  <a:lnTo>
                    <a:pt x="163" y="351"/>
                  </a:lnTo>
                  <a:lnTo>
                    <a:pt x="159" y="399"/>
                  </a:lnTo>
                  <a:lnTo>
                    <a:pt x="163" y="445"/>
                  </a:lnTo>
                  <a:lnTo>
                    <a:pt x="175" y="487"/>
                  </a:lnTo>
                  <a:lnTo>
                    <a:pt x="197" y="526"/>
                  </a:lnTo>
                  <a:lnTo>
                    <a:pt x="226" y="562"/>
                  </a:lnTo>
                  <a:lnTo>
                    <a:pt x="261" y="591"/>
                  </a:lnTo>
                  <a:lnTo>
                    <a:pt x="300" y="611"/>
                  </a:lnTo>
                  <a:lnTo>
                    <a:pt x="343" y="623"/>
                  </a:lnTo>
                  <a:lnTo>
                    <a:pt x="388" y="628"/>
                  </a:lnTo>
                  <a:lnTo>
                    <a:pt x="436" y="623"/>
                  </a:lnTo>
                  <a:lnTo>
                    <a:pt x="478" y="611"/>
                  </a:lnTo>
                  <a:lnTo>
                    <a:pt x="519" y="591"/>
                  </a:lnTo>
                  <a:lnTo>
                    <a:pt x="555" y="562"/>
                  </a:lnTo>
                  <a:lnTo>
                    <a:pt x="585" y="526"/>
                  </a:lnTo>
                  <a:lnTo>
                    <a:pt x="607" y="487"/>
                  </a:lnTo>
                  <a:lnTo>
                    <a:pt x="621" y="445"/>
                  </a:lnTo>
                  <a:lnTo>
                    <a:pt x="624" y="399"/>
                  </a:lnTo>
                  <a:lnTo>
                    <a:pt x="621" y="351"/>
                  </a:lnTo>
                  <a:lnTo>
                    <a:pt x="607" y="305"/>
                  </a:lnTo>
                  <a:lnTo>
                    <a:pt x="587" y="266"/>
                  </a:lnTo>
                  <a:lnTo>
                    <a:pt x="556" y="229"/>
                  </a:lnTo>
                  <a:lnTo>
                    <a:pt x="521" y="200"/>
                  </a:lnTo>
                  <a:lnTo>
                    <a:pt x="480" y="178"/>
                  </a:lnTo>
                  <a:lnTo>
                    <a:pt x="436" y="166"/>
                  </a:lnTo>
                  <a:lnTo>
                    <a:pt x="388" y="161"/>
                  </a:lnTo>
                  <a:close/>
                  <a:moveTo>
                    <a:pt x="388" y="0"/>
                  </a:moveTo>
                  <a:lnTo>
                    <a:pt x="453" y="5"/>
                  </a:lnTo>
                  <a:lnTo>
                    <a:pt x="512" y="19"/>
                  </a:lnTo>
                  <a:lnTo>
                    <a:pt x="570" y="42"/>
                  </a:lnTo>
                  <a:lnTo>
                    <a:pt x="621" y="75"/>
                  </a:lnTo>
                  <a:lnTo>
                    <a:pt x="668" y="117"/>
                  </a:lnTo>
                  <a:lnTo>
                    <a:pt x="711" y="166"/>
                  </a:lnTo>
                  <a:lnTo>
                    <a:pt x="743" y="219"/>
                  </a:lnTo>
                  <a:lnTo>
                    <a:pt x="765" y="275"/>
                  </a:lnTo>
                  <a:lnTo>
                    <a:pt x="779" y="334"/>
                  </a:lnTo>
                  <a:lnTo>
                    <a:pt x="784" y="399"/>
                  </a:lnTo>
                  <a:lnTo>
                    <a:pt x="779" y="462"/>
                  </a:lnTo>
                  <a:lnTo>
                    <a:pt x="765" y="519"/>
                  </a:lnTo>
                  <a:lnTo>
                    <a:pt x="741" y="575"/>
                  </a:lnTo>
                  <a:lnTo>
                    <a:pt x="709" y="626"/>
                  </a:lnTo>
                  <a:lnTo>
                    <a:pt x="668" y="674"/>
                  </a:lnTo>
                  <a:lnTo>
                    <a:pt x="619" y="716"/>
                  </a:lnTo>
                  <a:lnTo>
                    <a:pt x="567" y="749"/>
                  </a:lnTo>
                  <a:lnTo>
                    <a:pt x="512" y="772"/>
                  </a:lnTo>
                  <a:lnTo>
                    <a:pt x="451" y="786"/>
                  </a:lnTo>
                  <a:lnTo>
                    <a:pt x="388" y="789"/>
                  </a:lnTo>
                  <a:lnTo>
                    <a:pt x="326" y="786"/>
                  </a:lnTo>
                  <a:lnTo>
                    <a:pt x="266" y="772"/>
                  </a:lnTo>
                  <a:lnTo>
                    <a:pt x="212" y="750"/>
                  </a:lnTo>
                  <a:lnTo>
                    <a:pt x="159" y="718"/>
                  </a:lnTo>
                  <a:lnTo>
                    <a:pt x="114" y="677"/>
                  </a:lnTo>
                  <a:lnTo>
                    <a:pt x="73" y="630"/>
                  </a:lnTo>
                  <a:lnTo>
                    <a:pt x="41" y="579"/>
                  </a:lnTo>
                  <a:lnTo>
                    <a:pt x="19" y="523"/>
                  </a:lnTo>
                  <a:lnTo>
                    <a:pt x="5" y="463"/>
                  </a:lnTo>
                  <a:lnTo>
                    <a:pt x="0" y="399"/>
                  </a:lnTo>
                  <a:lnTo>
                    <a:pt x="5" y="334"/>
                  </a:lnTo>
                  <a:lnTo>
                    <a:pt x="19" y="275"/>
                  </a:lnTo>
                  <a:lnTo>
                    <a:pt x="41" y="219"/>
                  </a:lnTo>
                  <a:lnTo>
                    <a:pt x="73" y="166"/>
                  </a:lnTo>
                  <a:lnTo>
                    <a:pt x="114" y="117"/>
                  </a:lnTo>
                  <a:lnTo>
                    <a:pt x="163" y="75"/>
                  </a:lnTo>
                  <a:lnTo>
                    <a:pt x="214" y="42"/>
                  </a:lnTo>
                  <a:lnTo>
                    <a:pt x="268" y="19"/>
                  </a:lnTo>
                  <a:lnTo>
                    <a:pt x="327" y="5"/>
                  </a:lnTo>
                  <a:lnTo>
                    <a:pt x="3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0" name="Freeform 11"/>
            <p:cNvSpPr>
              <a:spLocks/>
            </p:cNvSpPr>
            <p:nvPr/>
          </p:nvSpPr>
          <p:spPr bwMode="auto">
            <a:xfrm>
              <a:off x="4371" y="191"/>
              <a:ext cx="5327" cy="2450"/>
            </a:xfrm>
            <a:custGeom>
              <a:avLst/>
              <a:gdLst>
                <a:gd name="T0" fmla="*/ 2282 w 5327"/>
                <a:gd name="T1" fmla="*/ 127 h 2450"/>
                <a:gd name="T2" fmla="*/ 2342 w 5327"/>
                <a:gd name="T3" fmla="*/ 739 h 2450"/>
                <a:gd name="T4" fmla="*/ 2773 w 5327"/>
                <a:gd name="T5" fmla="*/ 737 h 2450"/>
                <a:gd name="T6" fmla="*/ 3136 w 5327"/>
                <a:gd name="T7" fmla="*/ 1061 h 2450"/>
                <a:gd name="T8" fmla="*/ 3448 w 5327"/>
                <a:gd name="T9" fmla="*/ 749 h 2450"/>
                <a:gd name="T10" fmla="*/ 3968 w 5327"/>
                <a:gd name="T11" fmla="*/ 720 h 2450"/>
                <a:gd name="T12" fmla="*/ 4337 w 5327"/>
                <a:gd name="T13" fmla="*/ 1017 h 2450"/>
                <a:gd name="T14" fmla="*/ 4422 w 5327"/>
                <a:gd name="T15" fmla="*/ 1353 h 2450"/>
                <a:gd name="T16" fmla="*/ 4617 w 5327"/>
                <a:gd name="T17" fmla="*/ 1767 h 2450"/>
                <a:gd name="T18" fmla="*/ 5060 w 5327"/>
                <a:gd name="T19" fmla="*/ 1852 h 2450"/>
                <a:gd name="T20" fmla="*/ 5322 w 5327"/>
                <a:gd name="T21" fmla="*/ 2129 h 2450"/>
                <a:gd name="T22" fmla="*/ 5089 w 5327"/>
                <a:gd name="T23" fmla="*/ 2433 h 2450"/>
                <a:gd name="T24" fmla="*/ 4826 w 5327"/>
                <a:gd name="T25" fmla="*/ 2419 h 2450"/>
                <a:gd name="T26" fmla="*/ 4813 w 5327"/>
                <a:gd name="T27" fmla="*/ 2283 h 2450"/>
                <a:gd name="T28" fmla="*/ 4886 w 5327"/>
                <a:gd name="T29" fmla="*/ 2273 h 2450"/>
                <a:gd name="T30" fmla="*/ 5062 w 5327"/>
                <a:gd name="T31" fmla="*/ 2278 h 2450"/>
                <a:gd name="T32" fmla="*/ 5179 w 5327"/>
                <a:gd name="T33" fmla="*/ 2007 h 2450"/>
                <a:gd name="T34" fmla="*/ 4852 w 5327"/>
                <a:gd name="T35" fmla="*/ 2003 h 2450"/>
                <a:gd name="T36" fmla="*/ 4417 w 5327"/>
                <a:gd name="T37" fmla="*/ 1755 h 2450"/>
                <a:gd name="T38" fmla="*/ 4271 w 5327"/>
                <a:gd name="T39" fmla="*/ 1312 h 2450"/>
                <a:gd name="T40" fmla="*/ 4096 w 5327"/>
                <a:gd name="T41" fmla="*/ 961 h 2450"/>
                <a:gd name="T42" fmla="*/ 3679 w 5327"/>
                <a:gd name="T43" fmla="*/ 847 h 2450"/>
                <a:gd name="T44" fmla="*/ 3312 w 5327"/>
                <a:gd name="T45" fmla="*/ 1064 h 2450"/>
                <a:gd name="T46" fmla="*/ 3255 w 5327"/>
                <a:gd name="T47" fmla="*/ 1485 h 2450"/>
                <a:gd name="T48" fmla="*/ 3562 w 5327"/>
                <a:gd name="T49" fmla="*/ 1815 h 2450"/>
                <a:gd name="T50" fmla="*/ 4424 w 5327"/>
                <a:gd name="T51" fmla="*/ 1973 h 2450"/>
                <a:gd name="T52" fmla="*/ 3406 w 5327"/>
                <a:gd name="T53" fmla="*/ 1915 h 2450"/>
                <a:gd name="T54" fmla="*/ 3066 w 5327"/>
                <a:gd name="T55" fmla="*/ 1767 h 2450"/>
                <a:gd name="T56" fmla="*/ 2627 w 5327"/>
                <a:gd name="T57" fmla="*/ 2010 h 2450"/>
                <a:gd name="T58" fmla="*/ 2140 w 5327"/>
                <a:gd name="T59" fmla="*/ 1878 h 2450"/>
                <a:gd name="T60" fmla="*/ 1896 w 5327"/>
                <a:gd name="T61" fmla="*/ 1446 h 2450"/>
                <a:gd name="T62" fmla="*/ 1794 w 5327"/>
                <a:gd name="T63" fmla="*/ 1047 h 2450"/>
                <a:gd name="T64" fmla="*/ 1436 w 5327"/>
                <a:gd name="T65" fmla="*/ 847 h 2450"/>
                <a:gd name="T66" fmla="*/ 348 w 5327"/>
                <a:gd name="T67" fmla="*/ 947 h 2450"/>
                <a:gd name="T68" fmla="*/ 280 w 5327"/>
                <a:gd name="T69" fmla="*/ 888 h 2450"/>
                <a:gd name="T70" fmla="*/ 319 w 5327"/>
                <a:gd name="T71" fmla="*/ 465 h 2450"/>
                <a:gd name="T72" fmla="*/ 555 w 5327"/>
                <a:gd name="T73" fmla="*/ 333 h 2450"/>
                <a:gd name="T74" fmla="*/ 1081 w 5327"/>
                <a:gd name="T75" fmla="*/ 268 h 2450"/>
                <a:gd name="T76" fmla="*/ 531 w 5327"/>
                <a:gd name="T77" fmla="*/ 197 h 2450"/>
                <a:gd name="T78" fmla="*/ 251 w 5327"/>
                <a:gd name="T79" fmla="*/ 324 h 2450"/>
                <a:gd name="T80" fmla="*/ 151 w 5327"/>
                <a:gd name="T81" fmla="*/ 1940 h 2450"/>
                <a:gd name="T82" fmla="*/ 32 w 5327"/>
                <a:gd name="T83" fmla="*/ 2000 h 2450"/>
                <a:gd name="T84" fmla="*/ 10 w 5327"/>
                <a:gd name="T85" fmla="*/ 484 h 2450"/>
                <a:gd name="T86" fmla="*/ 243 w 5327"/>
                <a:gd name="T87" fmla="*/ 136 h 2450"/>
                <a:gd name="T88" fmla="*/ 1032 w 5327"/>
                <a:gd name="T89" fmla="*/ 44 h 2450"/>
                <a:gd name="T90" fmla="*/ 1224 w 5327"/>
                <a:gd name="T91" fmla="*/ 214 h 2450"/>
                <a:gd name="T92" fmla="*/ 1108 w 5327"/>
                <a:gd name="T93" fmla="*/ 452 h 2450"/>
                <a:gd name="T94" fmla="*/ 572 w 5327"/>
                <a:gd name="T95" fmla="*/ 474 h 2450"/>
                <a:gd name="T96" fmla="*/ 416 w 5327"/>
                <a:gd name="T97" fmla="*/ 635 h 2450"/>
                <a:gd name="T98" fmla="*/ 1290 w 5327"/>
                <a:gd name="T99" fmla="*/ 693 h 2450"/>
                <a:gd name="T100" fmla="*/ 1768 w 5327"/>
                <a:gd name="T101" fmla="*/ 808 h 2450"/>
                <a:gd name="T102" fmla="*/ 2028 w 5327"/>
                <a:gd name="T103" fmla="*/ 1226 h 2450"/>
                <a:gd name="T104" fmla="*/ 2147 w 5327"/>
                <a:gd name="T105" fmla="*/ 1660 h 2450"/>
                <a:gd name="T106" fmla="*/ 2554 w 5327"/>
                <a:gd name="T107" fmla="*/ 1852 h 2450"/>
                <a:gd name="T108" fmla="*/ 2954 w 5327"/>
                <a:gd name="T109" fmla="*/ 1662 h 2450"/>
                <a:gd name="T110" fmla="*/ 3041 w 5327"/>
                <a:gd name="T111" fmla="*/ 1226 h 2450"/>
                <a:gd name="T112" fmla="*/ 2751 w 5327"/>
                <a:gd name="T113" fmla="*/ 874 h 2450"/>
                <a:gd name="T114" fmla="*/ 2277 w 5327"/>
                <a:gd name="T115" fmla="*/ 918 h 2450"/>
                <a:gd name="T116" fmla="*/ 2136 w 5327"/>
                <a:gd name="T117" fmla="*/ 165 h 2450"/>
                <a:gd name="T118" fmla="*/ 2021 w 5327"/>
                <a:gd name="T119" fmla="*/ 195 h 2450"/>
                <a:gd name="T120" fmla="*/ 1896 w 5327"/>
                <a:gd name="T121" fmla="*/ 769 h 2450"/>
                <a:gd name="T122" fmla="*/ 1906 w 5327"/>
                <a:gd name="T123" fmla="*/ 93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7" h="2450">
                  <a:moveTo>
                    <a:pt x="2087" y="0"/>
                  </a:moveTo>
                  <a:lnTo>
                    <a:pt x="2130" y="3"/>
                  </a:lnTo>
                  <a:lnTo>
                    <a:pt x="2170" y="15"/>
                  </a:lnTo>
                  <a:lnTo>
                    <a:pt x="2206" y="36"/>
                  </a:lnTo>
                  <a:lnTo>
                    <a:pt x="2237" y="61"/>
                  </a:lnTo>
                  <a:lnTo>
                    <a:pt x="2264" y="92"/>
                  </a:lnTo>
                  <a:lnTo>
                    <a:pt x="2282" y="127"/>
                  </a:lnTo>
                  <a:lnTo>
                    <a:pt x="2296" y="168"/>
                  </a:lnTo>
                  <a:lnTo>
                    <a:pt x="2299" y="212"/>
                  </a:lnTo>
                  <a:lnTo>
                    <a:pt x="2299" y="212"/>
                  </a:lnTo>
                  <a:lnTo>
                    <a:pt x="2301" y="222"/>
                  </a:lnTo>
                  <a:lnTo>
                    <a:pt x="2301" y="233"/>
                  </a:lnTo>
                  <a:lnTo>
                    <a:pt x="2301" y="756"/>
                  </a:lnTo>
                  <a:lnTo>
                    <a:pt x="2342" y="739"/>
                  </a:lnTo>
                  <a:lnTo>
                    <a:pt x="2374" y="727"/>
                  </a:lnTo>
                  <a:lnTo>
                    <a:pt x="2433" y="711"/>
                  </a:lnTo>
                  <a:lnTo>
                    <a:pt x="2495" y="703"/>
                  </a:lnTo>
                  <a:lnTo>
                    <a:pt x="2556" y="699"/>
                  </a:lnTo>
                  <a:lnTo>
                    <a:pt x="2632" y="705"/>
                  </a:lnTo>
                  <a:lnTo>
                    <a:pt x="2703" y="716"/>
                  </a:lnTo>
                  <a:lnTo>
                    <a:pt x="2773" y="737"/>
                  </a:lnTo>
                  <a:lnTo>
                    <a:pt x="2837" y="764"/>
                  </a:lnTo>
                  <a:lnTo>
                    <a:pt x="2900" y="800"/>
                  </a:lnTo>
                  <a:lnTo>
                    <a:pt x="2960" y="844"/>
                  </a:lnTo>
                  <a:lnTo>
                    <a:pt x="3016" y="896"/>
                  </a:lnTo>
                  <a:lnTo>
                    <a:pt x="3063" y="949"/>
                  </a:lnTo>
                  <a:lnTo>
                    <a:pt x="3102" y="1003"/>
                  </a:lnTo>
                  <a:lnTo>
                    <a:pt x="3136" y="1061"/>
                  </a:lnTo>
                  <a:lnTo>
                    <a:pt x="3161" y="1008"/>
                  </a:lnTo>
                  <a:lnTo>
                    <a:pt x="3192" y="959"/>
                  </a:lnTo>
                  <a:lnTo>
                    <a:pt x="3228" y="913"/>
                  </a:lnTo>
                  <a:lnTo>
                    <a:pt x="3267" y="871"/>
                  </a:lnTo>
                  <a:lnTo>
                    <a:pt x="3324" y="822"/>
                  </a:lnTo>
                  <a:lnTo>
                    <a:pt x="3384" y="783"/>
                  </a:lnTo>
                  <a:lnTo>
                    <a:pt x="3448" y="749"/>
                  </a:lnTo>
                  <a:lnTo>
                    <a:pt x="3518" y="723"/>
                  </a:lnTo>
                  <a:lnTo>
                    <a:pt x="3591" y="705"/>
                  </a:lnTo>
                  <a:lnTo>
                    <a:pt x="3667" y="693"/>
                  </a:lnTo>
                  <a:lnTo>
                    <a:pt x="3749" y="689"/>
                  </a:lnTo>
                  <a:lnTo>
                    <a:pt x="3825" y="693"/>
                  </a:lnTo>
                  <a:lnTo>
                    <a:pt x="3898" y="703"/>
                  </a:lnTo>
                  <a:lnTo>
                    <a:pt x="3968" y="720"/>
                  </a:lnTo>
                  <a:lnTo>
                    <a:pt x="4032" y="742"/>
                  </a:lnTo>
                  <a:lnTo>
                    <a:pt x="4093" y="772"/>
                  </a:lnTo>
                  <a:lnTo>
                    <a:pt x="4151" y="808"/>
                  </a:lnTo>
                  <a:lnTo>
                    <a:pt x="4203" y="852"/>
                  </a:lnTo>
                  <a:lnTo>
                    <a:pt x="4253" y="902"/>
                  </a:lnTo>
                  <a:lnTo>
                    <a:pt x="4298" y="958"/>
                  </a:lnTo>
                  <a:lnTo>
                    <a:pt x="4337" y="1017"/>
                  </a:lnTo>
                  <a:lnTo>
                    <a:pt x="4368" y="1078"/>
                  </a:lnTo>
                  <a:lnTo>
                    <a:pt x="4393" y="1141"/>
                  </a:lnTo>
                  <a:lnTo>
                    <a:pt x="4410" y="1207"/>
                  </a:lnTo>
                  <a:lnTo>
                    <a:pt x="4421" y="1277"/>
                  </a:lnTo>
                  <a:lnTo>
                    <a:pt x="4424" y="1348"/>
                  </a:lnTo>
                  <a:lnTo>
                    <a:pt x="4422" y="1350"/>
                  </a:lnTo>
                  <a:lnTo>
                    <a:pt x="4422" y="1353"/>
                  </a:lnTo>
                  <a:lnTo>
                    <a:pt x="4427" y="1423"/>
                  </a:lnTo>
                  <a:lnTo>
                    <a:pt x="4439" y="1489"/>
                  </a:lnTo>
                  <a:lnTo>
                    <a:pt x="4460" y="1552"/>
                  </a:lnTo>
                  <a:lnTo>
                    <a:pt x="4487" y="1611"/>
                  </a:lnTo>
                  <a:lnTo>
                    <a:pt x="4524" y="1667"/>
                  </a:lnTo>
                  <a:lnTo>
                    <a:pt x="4568" y="1721"/>
                  </a:lnTo>
                  <a:lnTo>
                    <a:pt x="4617" y="1767"/>
                  </a:lnTo>
                  <a:lnTo>
                    <a:pt x="4672" y="1806"/>
                  </a:lnTo>
                  <a:lnTo>
                    <a:pt x="4729" y="1835"/>
                  </a:lnTo>
                  <a:lnTo>
                    <a:pt x="4791" y="1857"/>
                  </a:lnTo>
                  <a:lnTo>
                    <a:pt x="4857" y="1869"/>
                  </a:lnTo>
                  <a:lnTo>
                    <a:pt x="4926" y="1874"/>
                  </a:lnTo>
                  <a:lnTo>
                    <a:pt x="4992" y="1869"/>
                  </a:lnTo>
                  <a:lnTo>
                    <a:pt x="5060" y="1852"/>
                  </a:lnTo>
                  <a:lnTo>
                    <a:pt x="5132" y="1827"/>
                  </a:lnTo>
                  <a:lnTo>
                    <a:pt x="5205" y="1789"/>
                  </a:lnTo>
                  <a:lnTo>
                    <a:pt x="5240" y="1767"/>
                  </a:lnTo>
                  <a:lnTo>
                    <a:pt x="5281" y="1738"/>
                  </a:lnTo>
                  <a:lnTo>
                    <a:pt x="5327" y="1703"/>
                  </a:lnTo>
                  <a:lnTo>
                    <a:pt x="5327" y="2068"/>
                  </a:lnTo>
                  <a:lnTo>
                    <a:pt x="5322" y="2129"/>
                  </a:lnTo>
                  <a:lnTo>
                    <a:pt x="5310" y="2185"/>
                  </a:lnTo>
                  <a:lnTo>
                    <a:pt x="5289" y="2237"/>
                  </a:lnTo>
                  <a:lnTo>
                    <a:pt x="5261" y="2288"/>
                  </a:lnTo>
                  <a:lnTo>
                    <a:pt x="5223" y="2336"/>
                  </a:lnTo>
                  <a:lnTo>
                    <a:pt x="5181" y="2377"/>
                  </a:lnTo>
                  <a:lnTo>
                    <a:pt x="5137" y="2409"/>
                  </a:lnTo>
                  <a:lnTo>
                    <a:pt x="5089" y="2433"/>
                  </a:lnTo>
                  <a:lnTo>
                    <a:pt x="5042" y="2446"/>
                  </a:lnTo>
                  <a:lnTo>
                    <a:pt x="4991" y="2450"/>
                  </a:lnTo>
                  <a:lnTo>
                    <a:pt x="4935" y="2448"/>
                  </a:lnTo>
                  <a:lnTo>
                    <a:pt x="4886" y="2440"/>
                  </a:lnTo>
                  <a:lnTo>
                    <a:pt x="4841" y="2426"/>
                  </a:lnTo>
                  <a:lnTo>
                    <a:pt x="4833" y="2423"/>
                  </a:lnTo>
                  <a:lnTo>
                    <a:pt x="4826" y="2419"/>
                  </a:lnTo>
                  <a:lnTo>
                    <a:pt x="4808" y="2407"/>
                  </a:lnTo>
                  <a:lnTo>
                    <a:pt x="4794" y="2390"/>
                  </a:lnTo>
                  <a:lnTo>
                    <a:pt x="4784" y="2370"/>
                  </a:lnTo>
                  <a:lnTo>
                    <a:pt x="4780" y="2348"/>
                  </a:lnTo>
                  <a:lnTo>
                    <a:pt x="4785" y="2322"/>
                  </a:lnTo>
                  <a:lnTo>
                    <a:pt x="4796" y="2300"/>
                  </a:lnTo>
                  <a:lnTo>
                    <a:pt x="4813" y="2283"/>
                  </a:lnTo>
                  <a:lnTo>
                    <a:pt x="4835" y="2273"/>
                  </a:lnTo>
                  <a:lnTo>
                    <a:pt x="4860" y="2268"/>
                  </a:lnTo>
                  <a:lnTo>
                    <a:pt x="4867" y="2268"/>
                  </a:lnTo>
                  <a:lnTo>
                    <a:pt x="4875" y="2270"/>
                  </a:lnTo>
                  <a:lnTo>
                    <a:pt x="4875" y="2270"/>
                  </a:lnTo>
                  <a:lnTo>
                    <a:pt x="4875" y="2270"/>
                  </a:lnTo>
                  <a:lnTo>
                    <a:pt x="4886" y="2273"/>
                  </a:lnTo>
                  <a:lnTo>
                    <a:pt x="4903" y="2277"/>
                  </a:lnTo>
                  <a:lnTo>
                    <a:pt x="4925" y="2282"/>
                  </a:lnTo>
                  <a:lnTo>
                    <a:pt x="4952" y="2285"/>
                  </a:lnTo>
                  <a:lnTo>
                    <a:pt x="4981" y="2288"/>
                  </a:lnTo>
                  <a:lnTo>
                    <a:pt x="5009" y="2288"/>
                  </a:lnTo>
                  <a:lnTo>
                    <a:pt x="5038" y="2287"/>
                  </a:lnTo>
                  <a:lnTo>
                    <a:pt x="5062" y="2278"/>
                  </a:lnTo>
                  <a:lnTo>
                    <a:pt x="5093" y="2260"/>
                  </a:lnTo>
                  <a:lnTo>
                    <a:pt x="5118" y="2236"/>
                  </a:lnTo>
                  <a:lnTo>
                    <a:pt x="5140" y="2205"/>
                  </a:lnTo>
                  <a:lnTo>
                    <a:pt x="5157" y="2166"/>
                  </a:lnTo>
                  <a:lnTo>
                    <a:pt x="5169" y="2120"/>
                  </a:lnTo>
                  <a:lnTo>
                    <a:pt x="5176" y="2068"/>
                  </a:lnTo>
                  <a:lnTo>
                    <a:pt x="5179" y="2007"/>
                  </a:lnTo>
                  <a:lnTo>
                    <a:pt x="5179" y="1952"/>
                  </a:lnTo>
                  <a:lnTo>
                    <a:pt x="5140" y="1968"/>
                  </a:lnTo>
                  <a:lnTo>
                    <a:pt x="5110" y="1978"/>
                  </a:lnTo>
                  <a:lnTo>
                    <a:pt x="5047" y="1995"/>
                  </a:lnTo>
                  <a:lnTo>
                    <a:pt x="4986" y="2005"/>
                  </a:lnTo>
                  <a:lnTo>
                    <a:pt x="4926" y="2007"/>
                  </a:lnTo>
                  <a:lnTo>
                    <a:pt x="4852" y="2003"/>
                  </a:lnTo>
                  <a:lnTo>
                    <a:pt x="4780" y="1991"/>
                  </a:lnTo>
                  <a:lnTo>
                    <a:pt x="4711" y="1971"/>
                  </a:lnTo>
                  <a:lnTo>
                    <a:pt x="4646" y="1944"/>
                  </a:lnTo>
                  <a:lnTo>
                    <a:pt x="4584" y="1906"/>
                  </a:lnTo>
                  <a:lnTo>
                    <a:pt x="4522" y="1862"/>
                  </a:lnTo>
                  <a:lnTo>
                    <a:pt x="4466" y="1810"/>
                  </a:lnTo>
                  <a:lnTo>
                    <a:pt x="4417" y="1755"/>
                  </a:lnTo>
                  <a:lnTo>
                    <a:pt x="4375" y="1698"/>
                  </a:lnTo>
                  <a:lnTo>
                    <a:pt x="4339" y="1638"/>
                  </a:lnTo>
                  <a:lnTo>
                    <a:pt x="4312" y="1577"/>
                  </a:lnTo>
                  <a:lnTo>
                    <a:pt x="4292" y="1511"/>
                  </a:lnTo>
                  <a:lnTo>
                    <a:pt x="4280" y="1443"/>
                  </a:lnTo>
                  <a:lnTo>
                    <a:pt x="4273" y="1370"/>
                  </a:lnTo>
                  <a:lnTo>
                    <a:pt x="4271" y="1312"/>
                  </a:lnTo>
                  <a:lnTo>
                    <a:pt x="4263" y="1256"/>
                  </a:lnTo>
                  <a:lnTo>
                    <a:pt x="4249" y="1200"/>
                  </a:lnTo>
                  <a:lnTo>
                    <a:pt x="4229" y="1146"/>
                  </a:lnTo>
                  <a:lnTo>
                    <a:pt x="4205" y="1095"/>
                  </a:lnTo>
                  <a:lnTo>
                    <a:pt x="4175" y="1047"/>
                  </a:lnTo>
                  <a:lnTo>
                    <a:pt x="4141" y="1003"/>
                  </a:lnTo>
                  <a:lnTo>
                    <a:pt x="4096" y="961"/>
                  </a:lnTo>
                  <a:lnTo>
                    <a:pt x="4049" y="925"/>
                  </a:lnTo>
                  <a:lnTo>
                    <a:pt x="3998" y="896"/>
                  </a:lnTo>
                  <a:lnTo>
                    <a:pt x="3942" y="873"/>
                  </a:lnTo>
                  <a:lnTo>
                    <a:pt x="3881" y="856"/>
                  </a:lnTo>
                  <a:lnTo>
                    <a:pt x="3818" y="847"/>
                  </a:lnTo>
                  <a:lnTo>
                    <a:pt x="3749" y="844"/>
                  </a:lnTo>
                  <a:lnTo>
                    <a:pt x="3679" y="847"/>
                  </a:lnTo>
                  <a:lnTo>
                    <a:pt x="3613" y="859"/>
                  </a:lnTo>
                  <a:lnTo>
                    <a:pt x="3550" y="878"/>
                  </a:lnTo>
                  <a:lnTo>
                    <a:pt x="3491" y="903"/>
                  </a:lnTo>
                  <a:lnTo>
                    <a:pt x="3436" y="937"/>
                  </a:lnTo>
                  <a:lnTo>
                    <a:pt x="3385" y="978"/>
                  </a:lnTo>
                  <a:lnTo>
                    <a:pt x="3345" y="1019"/>
                  </a:lnTo>
                  <a:lnTo>
                    <a:pt x="3312" y="1064"/>
                  </a:lnTo>
                  <a:lnTo>
                    <a:pt x="3285" y="1114"/>
                  </a:lnTo>
                  <a:lnTo>
                    <a:pt x="3265" y="1168"/>
                  </a:lnTo>
                  <a:lnTo>
                    <a:pt x="3250" y="1226"/>
                  </a:lnTo>
                  <a:lnTo>
                    <a:pt x="3240" y="1289"/>
                  </a:lnTo>
                  <a:lnTo>
                    <a:pt x="3238" y="1356"/>
                  </a:lnTo>
                  <a:lnTo>
                    <a:pt x="3241" y="1423"/>
                  </a:lnTo>
                  <a:lnTo>
                    <a:pt x="3255" y="1485"/>
                  </a:lnTo>
                  <a:lnTo>
                    <a:pt x="3275" y="1547"/>
                  </a:lnTo>
                  <a:lnTo>
                    <a:pt x="3306" y="1603"/>
                  </a:lnTo>
                  <a:lnTo>
                    <a:pt x="3345" y="1657"/>
                  </a:lnTo>
                  <a:lnTo>
                    <a:pt x="3392" y="1706"/>
                  </a:lnTo>
                  <a:lnTo>
                    <a:pt x="3447" y="1750"/>
                  </a:lnTo>
                  <a:lnTo>
                    <a:pt x="3503" y="1786"/>
                  </a:lnTo>
                  <a:lnTo>
                    <a:pt x="3562" y="1815"/>
                  </a:lnTo>
                  <a:lnTo>
                    <a:pt x="3625" y="1835"/>
                  </a:lnTo>
                  <a:lnTo>
                    <a:pt x="3691" y="1847"/>
                  </a:lnTo>
                  <a:lnTo>
                    <a:pt x="3760" y="1850"/>
                  </a:lnTo>
                  <a:lnTo>
                    <a:pt x="4307" y="1850"/>
                  </a:lnTo>
                  <a:lnTo>
                    <a:pt x="4339" y="1889"/>
                  </a:lnTo>
                  <a:lnTo>
                    <a:pt x="4375" y="1925"/>
                  </a:lnTo>
                  <a:lnTo>
                    <a:pt x="4424" y="1973"/>
                  </a:lnTo>
                  <a:lnTo>
                    <a:pt x="4477" y="2013"/>
                  </a:lnTo>
                  <a:lnTo>
                    <a:pt x="3760" y="2013"/>
                  </a:lnTo>
                  <a:lnTo>
                    <a:pt x="3684" y="2010"/>
                  </a:lnTo>
                  <a:lnTo>
                    <a:pt x="3611" y="1998"/>
                  </a:lnTo>
                  <a:lnTo>
                    <a:pt x="3540" y="1978"/>
                  </a:lnTo>
                  <a:lnTo>
                    <a:pt x="3470" y="1951"/>
                  </a:lnTo>
                  <a:lnTo>
                    <a:pt x="3406" y="1915"/>
                  </a:lnTo>
                  <a:lnTo>
                    <a:pt x="3343" y="1873"/>
                  </a:lnTo>
                  <a:lnTo>
                    <a:pt x="3284" y="1822"/>
                  </a:lnTo>
                  <a:lnTo>
                    <a:pt x="3229" y="1766"/>
                  </a:lnTo>
                  <a:lnTo>
                    <a:pt x="3184" y="1706"/>
                  </a:lnTo>
                  <a:lnTo>
                    <a:pt x="3146" y="1643"/>
                  </a:lnTo>
                  <a:lnTo>
                    <a:pt x="3111" y="1708"/>
                  </a:lnTo>
                  <a:lnTo>
                    <a:pt x="3066" y="1767"/>
                  </a:lnTo>
                  <a:lnTo>
                    <a:pt x="3016" y="1825"/>
                  </a:lnTo>
                  <a:lnTo>
                    <a:pt x="2958" y="1876"/>
                  </a:lnTo>
                  <a:lnTo>
                    <a:pt x="2898" y="1918"/>
                  </a:lnTo>
                  <a:lnTo>
                    <a:pt x="2836" y="1952"/>
                  </a:lnTo>
                  <a:lnTo>
                    <a:pt x="2769" y="1979"/>
                  </a:lnTo>
                  <a:lnTo>
                    <a:pt x="2700" y="2000"/>
                  </a:lnTo>
                  <a:lnTo>
                    <a:pt x="2627" y="2010"/>
                  </a:lnTo>
                  <a:lnTo>
                    <a:pt x="2551" y="2015"/>
                  </a:lnTo>
                  <a:lnTo>
                    <a:pt x="2472" y="2010"/>
                  </a:lnTo>
                  <a:lnTo>
                    <a:pt x="2400" y="2000"/>
                  </a:lnTo>
                  <a:lnTo>
                    <a:pt x="2330" y="1979"/>
                  </a:lnTo>
                  <a:lnTo>
                    <a:pt x="2262" y="1954"/>
                  </a:lnTo>
                  <a:lnTo>
                    <a:pt x="2199" y="1918"/>
                  </a:lnTo>
                  <a:lnTo>
                    <a:pt x="2140" y="1878"/>
                  </a:lnTo>
                  <a:lnTo>
                    <a:pt x="2082" y="1828"/>
                  </a:lnTo>
                  <a:lnTo>
                    <a:pt x="2033" y="1772"/>
                  </a:lnTo>
                  <a:lnTo>
                    <a:pt x="1989" y="1715"/>
                  </a:lnTo>
                  <a:lnTo>
                    <a:pt x="1955" y="1654"/>
                  </a:lnTo>
                  <a:lnTo>
                    <a:pt x="1926" y="1587"/>
                  </a:lnTo>
                  <a:lnTo>
                    <a:pt x="1907" y="1519"/>
                  </a:lnTo>
                  <a:lnTo>
                    <a:pt x="1896" y="1446"/>
                  </a:lnTo>
                  <a:lnTo>
                    <a:pt x="1890" y="1370"/>
                  </a:lnTo>
                  <a:lnTo>
                    <a:pt x="1889" y="1312"/>
                  </a:lnTo>
                  <a:lnTo>
                    <a:pt x="1880" y="1256"/>
                  </a:lnTo>
                  <a:lnTo>
                    <a:pt x="1867" y="1200"/>
                  </a:lnTo>
                  <a:lnTo>
                    <a:pt x="1848" y="1146"/>
                  </a:lnTo>
                  <a:lnTo>
                    <a:pt x="1823" y="1095"/>
                  </a:lnTo>
                  <a:lnTo>
                    <a:pt x="1794" y="1047"/>
                  </a:lnTo>
                  <a:lnTo>
                    <a:pt x="1758" y="1003"/>
                  </a:lnTo>
                  <a:lnTo>
                    <a:pt x="1716" y="961"/>
                  </a:lnTo>
                  <a:lnTo>
                    <a:pt x="1668" y="925"/>
                  </a:lnTo>
                  <a:lnTo>
                    <a:pt x="1616" y="896"/>
                  </a:lnTo>
                  <a:lnTo>
                    <a:pt x="1560" y="873"/>
                  </a:lnTo>
                  <a:lnTo>
                    <a:pt x="1500" y="856"/>
                  </a:lnTo>
                  <a:lnTo>
                    <a:pt x="1436" y="847"/>
                  </a:lnTo>
                  <a:lnTo>
                    <a:pt x="1368" y="844"/>
                  </a:lnTo>
                  <a:lnTo>
                    <a:pt x="1295" y="847"/>
                  </a:lnTo>
                  <a:lnTo>
                    <a:pt x="1224" y="859"/>
                  </a:lnTo>
                  <a:lnTo>
                    <a:pt x="1159" y="881"/>
                  </a:lnTo>
                  <a:lnTo>
                    <a:pt x="1098" y="910"/>
                  </a:lnTo>
                  <a:lnTo>
                    <a:pt x="1040" y="947"/>
                  </a:lnTo>
                  <a:lnTo>
                    <a:pt x="348" y="947"/>
                  </a:lnTo>
                  <a:lnTo>
                    <a:pt x="346" y="947"/>
                  </a:lnTo>
                  <a:lnTo>
                    <a:pt x="322" y="944"/>
                  </a:lnTo>
                  <a:lnTo>
                    <a:pt x="305" y="935"/>
                  </a:lnTo>
                  <a:lnTo>
                    <a:pt x="294" y="925"/>
                  </a:lnTo>
                  <a:lnTo>
                    <a:pt x="287" y="912"/>
                  </a:lnTo>
                  <a:lnTo>
                    <a:pt x="282" y="898"/>
                  </a:lnTo>
                  <a:lnTo>
                    <a:pt x="280" y="888"/>
                  </a:lnTo>
                  <a:lnTo>
                    <a:pt x="278" y="879"/>
                  </a:lnTo>
                  <a:lnTo>
                    <a:pt x="278" y="876"/>
                  </a:lnTo>
                  <a:lnTo>
                    <a:pt x="278" y="621"/>
                  </a:lnTo>
                  <a:lnTo>
                    <a:pt x="282" y="582"/>
                  </a:lnTo>
                  <a:lnTo>
                    <a:pt x="288" y="543"/>
                  </a:lnTo>
                  <a:lnTo>
                    <a:pt x="302" y="504"/>
                  </a:lnTo>
                  <a:lnTo>
                    <a:pt x="319" y="465"/>
                  </a:lnTo>
                  <a:lnTo>
                    <a:pt x="343" y="430"/>
                  </a:lnTo>
                  <a:lnTo>
                    <a:pt x="370" y="399"/>
                  </a:lnTo>
                  <a:lnTo>
                    <a:pt x="402" y="374"/>
                  </a:lnTo>
                  <a:lnTo>
                    <a:pt x="436" y="355"/>
                  </a:lnTo>
                  <a:lnTo>
                    <a:pt x="473" y="343"/>
                  </a:lnTo>
                  <a:lnTo>
                    <a:pt x="512" y="336"/>
                  </a:lnTo>
                  <a:lnTo>
                    <a:pt x="555" y="333"/>
                  </a:lnTo>
                  <a:lnTo>
                    <a:pt x="599" y="331"/>
                  </a:lnTo>
                  <a:lnTo>
                    <a:pt x="1018" y="331"/>
                  </a:lnTo>
                  <a:lnTo>
                    <a:pt x="1039" y="328"/>
                  </a:lnTo>
                  <a:lnTo>
                    <a:pt x="1056" y="319"/>
                  </a:lnTo>
                  <a:lnTo>
                    <a:pt x="1069" y="304"/>
                  </a:lnTo>
                  <a:lnTo>
                    <a:pt x="1078" y="287"/>
                  </a:lnTo>
                  <a:lnTo>
                    <a:pt x="1081" y="268"/>
                  </a:lnTo>
                  <a:lnTo>
                    <a:pt x="1079" y="250"/>
                  </a:lnTo>
                  <a:lnTo>
                    <a:pt x="1071" y="228"/>
                  </a:lnTo>
                  <a:lnTo>
                    <a:pt x="1059" y="211"/>
                  </a:lnTo>
                  <a:lnTo>
                    <a:pt x="1044" y="200"/>
                  </a:lnTo>
                  <a:lnTo>
                    <a:pt x="1027" y="195"/>
                  </a:lnTo>
                  <a:lnTo>
                    <a:pt x="570" y="195"/>
                  </a:lnTo>
                  <a:lnTo>
                    <a:pt x="531" y="197"/>
                  </a:lnTo>
                  <a:lnTo>
                    <a:pt x="490" y="200"/>
                  </a:lnTo>
                  <a:lnTo>
                    <a:pt x="450" y="205"/>
                  </a:lnTo>
                  <a:lnTo>
                    <a:pt x="407" y="217"/>
                  </a:lnTo>
                  <a:lnTo>
                    <a:pt x="367" y="233"/>
                  </a:lnTo>
                  <a:lnTo>
                    <a:pt x="326" y="256"/>
                  </a:lnTo>
                  <a:lnTo>
                    <a:pt x="287" y="287"/>
                  </a:lnTo>
                  <a:lnTo>
                    <a:pt x="251" y="324"/>
                  </a:lnTo>
                  <a:lnTo>
                    <a:pt x="214" y="375"/>
                  </a:lnTo>
                  <a:lnTo>
                    <a:pt x="187" y="430"/>
                  </a:lnTo>
                  <a:lnTo>
                    <a:pt x="166" y="486"/>
                  </a:lnTo>
                  <a:lnTo>
                    <a:pt x="156" y="547"/>
                  </a:lnTo>
                  <a:lnTo>
                    <a:pt x="151" y="610"/>
                  </a:lnTo>
                  <a:lnTo>
                    <a:pt x="151" y="1940"/>
                  </a:lnTo>
                  <a:lnTo>
                    <a:pt x="151" y="1940"/>
                  </a:lnTo>
                  <a:lnTo>
                    <a:pt x="148" y="1964"/>
                  </a:lnTo>
                  <a:lnTo>
                    <a:pt x="136" y="1983"/>
                  </a:lnTo>
                  <a:lnTo>
                    <a:pt x="119" y="2000"/>
                  </a:lnTo>
                  <a:lnTo>
                    <a:pt x="98" y="2010"/>
                  </a:lnTo>
                  <a:lnTo>
                    <a:pt x="76" y="2013"/>
                  </a:lnTo>
                  <a:lnTo>
                    <a:pt x="53" y="2010"/>
                  </a:lnTo>
                  <a:lnTo>
                    <a:pt x="32" y="2000"/>
                  </a:lnTo>
                  <a:lnTo>
                    <a:pt x="15" y="1983"/>
                  </a:lnTo>
                  <a:lnTo>
                    <a:pt x="5" y="1964"/>
                  </a:lnTo>
                  <a:lnTo>
                    <a:pt x="0" y="1940"/>
                  </a:lnTo>
                  <a:lnTo>
                    <a:pt x="0" y="1940"/>
                  </a:lnTo>
                  <a:lnTo>
                    <a:pt x="0" y="611"/>
                  </a:lnTo>
                  <a:lnTo>
                    <a:pt x="3" y="545"/>
                  </a:lnTo>
                  <a:lnTo>
                    <a:pt x="10" y="484"/>
                  </a:lnTo>
                  <a:lnTo>
                    <a:pt x="24" y="426"/>
                  </a:lnTo>
                  <a:lnTo>
                    <a:pt x="44" y="374"/>
                  </a:lnTo>
                  <a:lnTo>
                    <a:pt x="70" y="321"/>
                  </a:lnTo>
                  <a:lnTo>
                    <a:pt x="104" y="272"/>
                  </a:lnTo>
                  <a:lnTo>
                    <a:pt x="143" y="222"/>
                  </a:lnTo>
                  <a:lnTo>
                    <a:pt x="190" y="177"/>
                  </a:lnTo>
                  <a:lnTo>
                    <a:pt x="243" y="136"/>
                  </a:lnTo>
                  <a:lnTo>
                    <a:pt x="299" y="104"/>
                  </a:lnTo>
                  <a:lnTo>
                    <a:pt x="361" y="78"/>
                  </a:lnTo>
                  <a:lnTo>
                    <a:pt x="426" y="60"/>
                  </a:lnTo>
                  <a:lnTo>
                    <a:pt x="496" y="48"/>
                  </a:lnTo>
                  <a:lnTo>
                    <a:pt x="570" y="44"/>
                  </a:lnTo>
                  <a:lnTo>
                    <a:pt x="1023" y="44"/>
                  </a:lnTo>
                  <a:lnTo>
                    <a:pt x="1032" y="44"/>
                  </a:lnTo>
                  <a:lnTo>
                    <a:pt x="1050" y="46"/>
                  </a:lnTo>
                  <a:lnTo>
                    <a:pt x="1093" y="58"/>
                  </a:lnTo>
                  <a:lnTo>
                    <a:pt x="1130" y="76"/>
                  </a:lnTo>
                  <a:lnTo>
                    <a:pt x="1162" y="104"/>
                  </a:lnTo>
                  <a:lnTo>
                    <a:pt x="1190" y="136"/>
                  </a:lnTo>
                  <a:lnTo>
                    <a:pt x="1210" y="173"/>
                  </a:lnTo>
                  <a:lnTo>
                    <a:pt x="1224" y="214"/>
                  </a:lnTo>
                  <a:lnTo>
                    <a:pt x="1229" y="258"/>
                  </a:lnTo>
                  <a:lnTo>
                    <a:pt x="1224" y="299"/>
                  </a:lnTo>
                  <a:lnTo>
                    <a:pt x="1213" y="338"/>
                  </a:lnTo>
                  <a:lnTo>
                    <a:pt x="1195" y="374"/>
                  </a:lnTo>
                  <a:lnTo>
                    <a:pt x="1171" y="404"/>
                  </a:lnTo>
                  <a:lnTo>
                    <a:pt x="1142" y="430"/>
                  </a:lnTo>
                  <a:lnTo>
                    <a:pt x="1108" y="452"/>
                  </a:lnTo>
                  <a:lnTo>
                    <a:pt x="1081" y="460"/>
                  </a:lnTo>
                  <a:lnTo>
                    <a:pt x="1056" y="467"/>
                  </a:lnTo>
                  <a:lnTo>
                    <a:pt x="1037" y="470"/>
                  </a:lnTo>
                  <a:lnTo>
                    <a:pt x="1022" y="472"/>
                  </a:lnTo>
                  <a:lnTo>
                    <a:pt x="1016" y="472"/>
                  </a:lnTo>
                  <a:lnTo>
                    <a:pt x="623" y="472"/>
                  </a:lnTo>
                  <a:lnTo>
                    <a:pt x="572" y="474"/>
                  </a:lnTo>
                  <a:lnTo>
                    <a:pt x="529" y="481"/>
                  </a:lnTo>
                  <a:lnTo>
                    <a:pt x="494" y="491"/>
                  </a:lnTo>
                  <a:lnTo>
                    <a:pt x="467" y="506"/>
                  </a:lnTo>
                  <a:lnTo>
                    <a:pt x="445" y="528"/>
                  </a:lnTo>
                  <a:lnTo>
                    <a:pt x="429" y="557"/>
                  </a:lnTo>
                  <a:lnTo>
                    <a:pt x="419" y="593"/>
                  </a:lnTo>
                  <a:lnTo>
                    <a:pt x="416" y="635"/>
                  </a:lnTo>
                  <a:lnTo>
                    <a:pt x="416" y="815"/>
                  </a:lnTo>
                  <a:lnTo>
                    <a:pt x="954" y="815"/>
                  </a:lnTo>
                  <a:lnTo>
                    <a:pt x="1013" y="778"/>
                  </a:lnTo>
                  <a:lnTo>
                    <a:pt x="1076" y="745"/>
                  </a:lnTo>
                  <a:lnTo>
                    <a:pt x="1142" y="722"/>
                  </a:lnTo>
                  <a:lnTo>
                    <a:pt x="1213" y="705"/>
                  </a:lnTo>
                  <a:lnTo>
                    <a:pt x="1290" y="693"/>
                  </a:lnTo>
                  <a:lnTo>
                    <a:pt x="1368" y="689"/>
                  </a:lnTo>
                  <a:lnTo>
                    <a:pt x="1444" y="693"/>
                  </a:lnTo>
                  <a:lnTo>
                    <a:pt x="1517" y="703"/>
                  </a:lnTo>
                  <a:lnTo>
                    <a:pt x="1585" y="720"/>
                  </a:lnTo>
                  <a:lnTo>
                    <a:pt x="1649" y="742"/>
                  </a:lnTo>
                  <a:lnTo>
                    <a:pt x="1711" y="772"/>
                  </a:lnTo>
                  <a:lnTo>
                    <a:pt x="1768" y="808"/>
                  </a:lnTo>
                  <a:lnTo>
                    <a:pt x="1823" y="852"/>
                  </a:lnTo>
                  <a:lnTo>
                    <a:pt x="1872" y="902"/>
                  </a:lnTo>
                  <a:lnTo>
                    <a:pt x="1918" y="959"/>
                  </a:lnTo>
                  <a:lnTo>
                    <a:pt x="1957" y="1020"/>
                  </a:lnTo>
                  <a:lnTo>
                    <a:pt x="1987" y="1087"/>
                  </a:lnTo>
                  <a:lnTo>
                    <a:pt x="2011" y="1154"/>
                  </a:lnTo>
                  <a:lnTo>
                    <a:pt x="2028" y="1226"/>
                  </a:lnTo>
                  <a:lnTo>
                    <a:pt x="2038" y="1297"/>
                  </a:lnTo>
                  <a:lnTo>
                    <a:pt x="2041" y="1370"/>
                  </a:lnTo>
                  <a:lnTo>
                    <a:pt x="2047" y="1435"/>
                  </a:lnTo>
                  <a:lnTo>
                    <a:pt x="2060" y="1496"/>
                  </a:lnTo>
                  <a:lnTo>
                    <a:pt x="2080" y="1555"/>
                  </a:lnTo>
                  <a:lnTo>
                    <a:pt x="2111" y="1609"/>
                  </a:lnTo>
                  <a:lnTo>
                    <a:pt x="2147" y="1660"/>
                  </a:lnTo>
                  <a:lnTo>
                    <a:pt x="2192" y="1710"/>
                  </a:lnTo>
                  <a:lnTo>
                    <a:pt x="2245" y="1754"/>
                  </a:lnTo>
                  <a:lnTo>
                    <a:pt x="2301" y="1789"/>
                  </a:lnTo>
                  <a:lnTo>
                    <a:pt x="2359" y="1816"/>
                  </a:lnTo>
                  <a:lnTo>
                    <a:pt x="2420" y="1837"/>
                  </a:lnTo>
                  <a:lnTo>
                    <a:pt x="2484" y="1849"/>
                  </a:lnTo>
                  <a:lnTo>
                    <a:pt x="2554" y="1852"/>
                  </a:lnTo>
                  <a:lnTo>
                    <a:pt x="2620" y="1849"/>
                  </a:lnTo>
                  <a:lnTo>
                    <a:pt x="2685" y="1837"/>
                  </a:lnTo>
                  <a:lnTo>
                    <a:pt x="2746" y="1816"/>
                  </a:lnTo>
                  <a:lnTo>
                    <a:pt x="2803" y="1789"/>
                  </a:lnTo>
                  <a:lnTo>
                    <a:pt x="2858" y="1754"/>
                  </a:lnTo>
                  <a:lnTo>
                    <a:pt x="2909" y="1711"/>
                  </a:lnTo>
                  <a:lnTo>
                    <a:pt x="2954" y="1662"/>
                  </a:lnTo>
                  <a:lnTo>
                    <a:pt x="2992" y="1609"/>
                  </a:lnTo>
                  <a:lnTo>
                    <a:pt x="3021" y="1553"/>
                  </a:lnTo>
                  <a:lnTo>
                    <a:pt x="3041" y="1494"/>
                  </a:lnTo>
                  <a:lnTo>
                    <a:pt x="3053" y="1429"/>
                  </a:lnTo>
                  <a:lnTo>
                    <a:pt x="3056" y="1363"/>
                  </a:lnTo>
                  <a:lnTo>
                    <a:pt x="3053" y="1292"/>
                  </a:lnTo>
                  <a:lnTo>
                    <a:pt x="3041" y="1226"/>
                  </a:lnTo>
                  <a:lnTo>
                    <a:pt x="3021" y="1163"/>
                  </a:lnTo>
                  <a:lnTo>
                    <a:pt x="2992" y="1102"/>
                  </a:lnTo>
                  <a:lnTo>
                    <a:pt x="2956" y="1046"/>
                  </a:lnTo>
                  <a:lnTo>
                    <a:pt x="2912" y="991"/>
                  </a:lnTo>
                  <a:lnTo>
                    <a:pt x="2861" y="944"/>
                  </a:lnTo>
                  <a:lnTo>
                    <a:pt x="2808" y="905"/>
                  </a:lnTo>
                  <a:lnTo>
                    <a:pt x="2751" y="874"/>
                  </a:lnTo>
                  <a:lnTo>
                    <a:pt x="2690" y="854"/>
                  </a:lnTo>
                  <a:lnTo>
                    <a:pt x="2625" y="840"/>
                  </a:lnTo>
                  <a:lnTo>
                    <a:pt x="2556" y="835"/>
                  </a:lnTo>
                  <a:lnTo>
                    <a:pt x="2489" y="840"/>
                  </a:lnTo>
                  <a:lnTo>
                    <a:pt x="2420" y="857"/>
                  </a:lnTo>
                  <a:lnTo>
                    <a:pt x="2350" y="883"/>
                  </a:lnTo>
                  <a:lnTo>
                    <a:pt x="2277" y="918"/>
                  </a:lnTo>
                  <a:lnTo>
                    <a:pt x="2243" y="939"/>
                  </a:lnTo>
                  <a:lnTo>
                    <a:pt x="2203" y="968"/>
                  </a:lnTo>
                  <a:lnTo>
                    <a:pt x="2157" y="1003"/>
                  </a:lnTo>
                  <a:lnTo>
                    <a:pt x="2157" y="212"/>
                  </a:lnTo>
                  <a:lnTo>
                    <a:pt x="2153" y="192"/>
                  </a:lnTo>
                  <a:lnTo>
                    <a:pt x="2147" y="177"/>
                  </a:lnTo>
                  <a:lnTo>
                    <a:pt x="2136" y="165"/>
                  </a:lnTo>
                  <a:lnTo>
                    <a:pt x="2121" y="156"/>
                  </a:lnTo>
                  <a:lnTo>
                    <a:pt x="2106" y="153"/>
                  </a:lnTo>
                  <a:lnTo>
                    <a:pt x="2087" y="151"/>
                  </a:lnTo>
                  <a:lnTo>
                    <a:pt x="2065" y="155"/>
                  </a:lnTo>
                  <a:lnTo>
                    <a:pt x="2047" y="163"/>
                  </a:lnTo>
                  <a:lnTo>
                    <a:pt x="2031" y="178"/>
                  </a:lnTo>
                  <a:lnTo>
                    <a:pt x="2021" y="195"/>
                  </a:lnTo>
                  <a:lnTo>
                    <a:pt x="2018" y="212"/>
                  </a:lnTo>
                  <a:lnTo>
                    <a:pt x="2016" y="216"/>
                  </a:lnTo>
                  <a:lnTo>
                    <a:pt x="2016" y="915"/>
                  </a:lnTo>
                  <a:lnTo>
                    <a:pt x="1991" y="874"/>
                  </a:lnTo>
                  <a:lnTo>
                    <a:pt x="1960" y="837"/>
                  </a:lnTo>
                  <a:lnTo>
                    <a:pt x="1928" y="801"/>
                  </a:lnTo>
                  <a:lnTo>
                    <a:pt x="1896" y="769"/>
                  </a:lnTo>
                  <a:lnTo>
                    <a:pt x="1867" y="744"/>
                  </a:lnTo>
                  <a:lnTo>
                    <a:pt x="1867" y="216"/>
                  </a:lnTo>
                  <a:lnTo>
                    <a:pt x="1867" y="212"/>
                  </a:lnTo>
                  <a:lnTo>
                    <a:pt x="1867" y="212"/>
                  </a:lnTo>
                  <a:lnTo>
                    <a:pt x="1870" y="168"/>
                  </a:lnTo>
                  <a:lnTo>
                    <a:pt x="1884" y="129"/>
                  </a:lnTo>
                  <a:lnTo>
                    <a:pt x="1906" y="93"/>
                  </a:lnTo>
                  <a:lnTo>
                    <a:pt x="1933" y="61"/>
                  </a:lnTo>
                  <a:lnTo>
                    <a:pt x="1967" y="36"/>
                  </a:lnTo>
                  <a:lnTo>
                    <a:pt x="2004" y="15"/>
                  </a:lnTo>
                  <a:lnTo>
                    <a:pt x="2045" y="3"/>
                  </a:lnTo>
                  <a:lnTo>
                    <a:pt x="208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1" name="Freeform 12"/>
            <p:cNvSpPr>
              <a:spLocks noEditPoints="1"/>
            </p:cNvSpPr>
            <p:nvPr/>
          </p:nvSpPr>
          <p:spPr bwMode="auto">
            <a:xfrm>
              <a:off x="5354" y="1162"/>
              <a:ext cx="860" cy="761"/>
            </a:xfrm>
            <a:custGeom>
              <a:avLst/>
              <a:gdLst>
                <a:gd name="T0" fmla="*/ 344 w 860"/>
                <a:gd name="T1" fmla="*/ 151 h 761"/>
                <a:gd name="T2" fmla="*/ 264 w 860"/>
                <a:gd name="T3" fmla="*/ 185 h 761"/>
                <a:gd name="T4" fmla="*/ 205 w 860"/>
                <a:gd name="T5" fmla="*/ 245 h 761"/>
                <a:gd name="T6" fmla="*/ 169 w 860"/>
                <a:gd name="T7" fmla="*/ 324 h 761"/>
                <a:gd name="T8" fmla="*/ 593 w 860"/>
                <a:gd name="T9" fmla="*/ 282 h 761"/>
                <a:gd name="T10" fmla="*/ 544 w 860"/>
                <a:gd name="T11" fmla="*/ 211 h 761"/>
                <a:gd name="T12" fmla="*/ 475 w 860"/>
                <a:gd name="T13" fmla="*/ 165 h 761"/>
                <a:gd name="T14" fmla="*/ 388 w 860"/>
                <a:gd name="T15" fmla="*/ 146 h 761"/>
                <a:gd name="T16" fmla="*/ 449 w 860"/>
                <a:gd name="T17" fmla="*/ 3 h 761"/>
                <a:gd name="T18" fmla="*/ 548 w 860"/>
                <a:gd name="T19" fmla="*/ 29 h 761"/>
                <a:gd name="T20" fmla="*/ 631 w 860"/>
                <a:gd name="T21" fmla="*/ 82 h 761"/>
                <a:gd name="T22" fmla="*/ 697 w 860"/>
                <a:gd name="T23" fmla="*/ 161 h 761"/>
                <a:gd name="T24" fmla="*/ 755 w 860"/>
                <a:gd name="T25" fmla="*/ 280 h 761"/>
                <a:gd name="T26" fmla="*/ 773 w 860"/>
                <a:gd name="T27" fmla="*/ 399 h 761"/>
                <a:gd name="T28" fmla="*/ 760 w 860"/>
                <a:gd name="T29" fmla="*/ 452 h 761"/>
                <a:gd name="T30" fmla="*/ 722 w 860"/>
                <a:gd name="T31" fmla="*/ 477 h 761"/>
                <a:gd name="T32" fmla="*/ 195 w 860"/>
                <a:gd name="T33" fmla="*/ 481 h 761"/>
                <a:gd name="T34" fmla="*/ 247 w 860"/>
                <a:gd name="T35" fmla="*/ 543 h 761"/>
                <a:gd name="T36" fmla="*/ 319 w 860"/>
                <a:gd name="T37" fmla="*/ 586 h 761"/>
                <a:gd name="T38" fmla="*/ 405 w 860"/>
                <a:gd name="T39" fmla="*/ 599 h 761"/>
                <a:gd name="T40" fmla="*/ 814 w 860"/>
                <a:gd name="T41" fmla="*/ 655 h 761"/>
                <a:gd name="T42" fmla="*/ 860 w 860"/>
                <a:gd name="T43" fmla="*/ 761 h 761"/>
                <a:gd name="T44" fmla="*/ 341 w 860"/>
                <a:gd name="T45" fmla="*/ 757 h 761"/>
                <a:gd name="T46" fmla="*/ 222 w 860"/>
                <a:gd name="T47" fmla="*/ 720 h 761"/>
                <a:gd name="T48" fmla="*/ 118 w 860"/>
                <a:gd name="T49" fmla="*/ 645 h 761"/>
                <a:gd name="T50" fmla="*/ 52 w 860"/>
                <a:gd name="T51" fmla="*/ 562 h 761"/>
                <a:gd name="T52" fmla="*/ 13 w 860"/>
                <a:gd name="T53" fmla="*/ 467 h 761"/>
                <a:gd name="T54" fmla="*/ 0 w 860"/>
                <a:gd name="T55" fmla="*/ 357 h 761"/>
                <a:gd name="T56" fmla="*/ 13 w 860"/>
                <a:gd name="T57" fmla="*/ 258 h 761"/>
                <a:gd name="T58" fmla="*/ 52 w 860"/>
                <a:gd name="T59" fmla="*/ 172 h 761"/>
                <a:gd name="T60" fmla="*/ 117 w 860"/>
                <a:gd name="T61" fmla="*/ 99 h 761"/>
                <a:gd name="T62" fmla="*/ 218 w 860"/>
                <a:gd name="T63" fmla="*/ 36 h 761"/>
                <a:gd name="T64" fmla="*/ 332 w 860"/>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0" h="761">
                  <a:moveTo>
                    <a:pt x="388" y="146"/>
                  </a:moveTo>
                  <a:lnTo>
                    <a:pt x="344" y="151"/>
                  </a:lnTo>
                  <a:lnTo>
                    <a:pt x="303" y="165"/>
                  </a:lnTo>
                  <a:lnTo>
                    <a:pt x="264" y="185"/>
                  </a:lnTo>
                  <a:lnTo>
                    <a:pt x="232" y="211"/>
                  </a:lnTo>
                  <a:lnTo>
                    <a:pt x="205" y="245"/>
                  </a:lnTo>
                  <a:lnTo>
                    <a:pt x="183" y="282"/>
                  </a:lnTo>
                  <a:lnTo>
                    <a:pt x="169" y="324"/>
                  </a:lnTo>
                  <a:lnTo>
                    <a:pt x="609" y="324"/>
                  </a:lnTo>
                  <a:lnTo>
                    <a:pt x="593" y="282"/>
                  </a:lnTo>
                  <a:lnTo>
                    <a:pt x="571" y="245"/>
                  </a:lnTo>
                  <a:lnTo>
                    <a:pt x="544" y="211"/>
                  </a:lnTo>
                  <a:lnTo>
                    <a:pt x="512" y="185"/>
                  </a:lnTo>
                  <a:lnTo>
                    <a:pt x="475" y="165"/>
                  </a:lnTo>
                  <a:lnTo>
                    <a:pt x="432" y="151"/>
                  </a:lnTo>
                  <a:lnTo>
                    <a:pt x="388" y="146"/>
                  </a:lnTo>
                  <a:close/>
                  <a:moveTo>
                    <a:pt x="393" y="0"/>
                  </a:moveTo>
                  <a:lnTo>
                    <a:pt x="449" y="3"/>
                  </a:lnTo>
                  <a:lnTo>
                    <a:pt x="500" y="14"/>
                  </a:lnTo>
                  <a:lnTo>
                    <a:pt x="548" y="29"/>
                  </a:lnTo>
                  <a:lnTo>
                    <a:pt x="590" y="53"/>
                  </a:lnTo>
                  <a:lnTo>
                    <a:pt x="631" y="82"/>
                  </a:lnTo>
                  <a:lnTo>
                    <a:pt x="666" y="119"/>
                  </a:lnTo>
                  <a:lnTo>
                    <a:pt x="697" y="161"/>
                  </a:lnTo>
                  <a:lnTo>
                    <a:pt x="731" y="221"/>
                  </a:lnTo>
                  <a:lnTo>
                    <a:pt x="755" y="280"/>
                  </a:lnTo>
                  <a:lnTo>
                    <a:pt x="768" y="340"/>
                  </a:lnTo>
                  <a:lnTo>
                    <a:pt x="773" y="399"/>
                  </a:lnTo>
                  <a:lnTo>
                    <a:pt x="770" y="428"/>
                  </a:lnTo>
                  <a:lnTo>
                    <a:pt x="760" y="452"/>
                  </a:lnTo>
                  <a:lnTo>
                    <a:pt x="745" y="467"/>
                  </a:lnTo>
                  <a:lnTo>
                    <a:pt x="722" y="477"/>
                  </a:lnTo>
                  <a:lnTo>
                    <a:pt x="695" y="481"/>
                  </a:lnTo>
                  <a:lnTo>
                    <a:pt x="195" y="481"/>
                  </a:lnTo>
                  <a:lnTo>
                    <a:pt x="218" y="514"/>
                  </a:lnTo>
                  <a:lnTo>
                    <a:pt x="247" y="543"/>
                  </a:lnTo>
                  <a:lnTo>
                    <a:pt x="281" y="567"/>
                  </a:lnTo>
                  <a:lnTo>
                    <a:pt x="319" y="586"/>
                  </a:lnTo>
                  <a:lnTo>
                    <a:pt x="361" y="596"/>
                  </a:lnTo>
                  <a:lnTo>
                    <a:pt x="405" y="599"/>
                  </a:lnTo>
                  <a:lnTo>
                    <a:pt x="799" y="599"/>
                  </a:lnTo>
                  <a:lnTo>
                    <a:pt x="814" y="655"/>
                  </a:lnTo>
                  <a:lnTo>
                    <a:pt x="834" y="710"/>
                  </a:lnTo>
                  <a:lnTo>
                    <a:pt x="860" y="761"/>
                  </a:lnTo>
                  <a:lnTo>
                    <a:pt x="405" y="761"/>
                  </a:lnTo>
                  <a:lnTo>
                    <a:pt x="341" y="757"/>
                  </a:lnTo>
                  <a:lnTo>
                    <a:pt x="280" y="744"/>
                  </a:lnTo>
                  <a:lnTo>
                    <a:pt x="222" y="720"/>
                  </a:lnTo>
                  <a:lnTo>
                    <a:pt x="168" y="688"/>
                  </a:lnTo>
                  <a:lnTo>
                    <a:pt x="118" y="645"/>
                  </a:lnTo>
                  <a:lnTo>
                    <a:pt x="83" y="606"/>
                  </a:lnTo>
                  <a:lnTo>
                    <a:pt x="52" y="562"/>
                  </a:lnTo>
                  <a:lnTo>
                    <a:pt x="30" y="516"/>
                  </a:lnTo>
                  <a:lnTo>
                    <a:pt x="13" y="467"/>
                  </a:lnTo>
                  <a:lnTo>
                    <a:pt x="3" y="414"/>
                  </a:lnTo>
                  <a:lnTo>
                    <a:pt x="0" y="357"/>
                  </a:lnTo>
                  <a:lnTo>
                    <a:pt x="3" y="306"/>
                  </a:lnTo>
                  <a:lnTo>
                    <a:pt x="13" y="258"/>
                  </a:lnTo>
                  <a:lnTo>
                    <a:pt x="30" y="214"/>
                  </a:lnTo>
                  <a:lnTo>
                    <a:pt x="52" y="172"/>
                  </a:lnTo>
                  <a:lnTo>
                    <a:pt x="81" y="134"/>
                  </a:lnTo>
                  <a:lnTo>
                    <a:pt x="117" y="99"/>
                  </a:lnTo>
                  <a:lnTo>
                    <a:pt x="166" y="63"/>
                  </a:lnTo>
                  <a:lnTo>
                    <a:pt x="218" y="36"/>
                  </a:lnTo>
                  <a:lnTo>
                    <a:pt x="273" y="15"/>
                  </a:lnTo>
                  <a:lnTo>
                    <a:pt x="332" y="3"/>
                  </a:lnTo>
                  <a:lnTo>
                    <a:pt x="39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2" name="Freeform 13"/>
            <p:cNvSpPr>
              <a:spLocks/>
            </p:cNvSpPr>
            <p:nvPr/>
          </p:nvSpPr>
          <p:spPr bwMode="auto">
            <a:xfrm>
              <a:off x="8809" y="880"/>
              <a:ext cx="1154" cy="2034"/>
            </a:xfrm>
            <a:custGeom>
              <a:avLst/>
              <a:gdLst>
                <a:gd name="T0" fmla="*/ 571 w 1154"/>
                <a:gd name="T1" fmla="*/ 5 h 2034"/>
                <a:gd name="T2" fmla="*/ 716 w 1154"/>
                <a:gd name="T3" fmla="*/ 36 h 2034"/>
                <a:gd name="T4" fmla="*/ 846 w 1154"/>
                <a:gd name="T5" fmla="*/ 97 h 2034"/>
                <a:gd name="T6" fmla="*/ 963 w 1154"/>
                <a:gd name="T7" fmla="*/ 189 h 2034"/>
                <a:gd name="T8" fmla="*/ 1057 w 1154"/>
                <a:gd name="T9" fmla="*/ 304 h 2034"/>
                <a:gd name="T10" fmla="*/ 1120 w 1154"/>
                <a:gd name="T11" fmla="*/ 433 h 2034"/>
                <a:gd name="T12" fmla="*/ 1150 w 1154"/>
                <a:gd name="T13" fmla="*/ 577 h 2034"/>
                <a:gd name="T14" fmla="*/ 1154 w 1154"/>
                <a:gd name="T15" fmla="*/ 1431 h 2034"/>
                <a:gd name="T16" fmla="*/ 1138 w 1154"/>
                <a:gd name="T17" fmla="*/ 1576 h 2034"/>
                <a:gd name="T18" fmla="*/ 1091 w 1154"/>
                <a:gd name="T19" fmla="*/ 1705 h 2034"/>
                <a:gd name="T20" fmla="*/ 1011 w 1154"/>
                <a:gd name="T21" fmla="*/ 1820 h 2034"/>
                <a:gd name="T22" fmla="*/ 897 w 1154"/>
                <a:gd name="T23" fmla="*/ 1920 h 2034"/>
                <a:gd name="T24" fmla="*/ 762 w 1154"/>
                <a:gd name="T25" fmla="*/ 1993 h 2034"/>
                <a:gd name="T26" fmla="*/ 610 w 1154"/>
                <a:gd name="T27" fmla="*/ 2029 h 2034"/>
                <a:gd name="T28" fmla="*/ 463 w 1154"/>
                <a:gd name="T29" fmla="*/ 2031 h 2034"/>
                <a:gd name="T30" fmla="*/ 339 w 1154"/>
                <a:gd name="T31" fmla="*/ 2010 h 2034"/>
                <a:gd name="T32" fmla="*/ 246 w 1154"/>
                <a:gd name="T33" fmla="*/ 1976 h 2034"/>
                <a:gd name="T34" fmla="*/ 193 w 1154"/>
                <a:gd name="T35" fmla="*/ 1941 h 2034"/>
                <a:gd name="T36" fmla="*/ 191 w 1154"/>
                <a:gd name="T37" fmla="*/ 1939 h 2034"/>
                <a:gd name="T38" fmla="*/ 186 w 1154"/>
                <a:gd name="T39" fmla="*/ 1932 h 2034"/>
                <a:gd name="T40" fmla="*/ 173 w 1154"/>
                <a:gd name="T41" fmla="*/ 1908 h 2034"/>
                <a:gd name="T42" fmla="*/ 171 w 1154"/>
                <a:gd name="T43" fmla="*/ 1883 h 2034"/>
                <a:gd name="T44" fmla="*/ 173 w 1154"/>
                <a:gd name="T45" fmla="*/ 1868 h 2034"/>
                <a:gd name="T46" fmla="*/ 186 w 1154"/>
                <a:gd name="T47" fmla="*/ 1842 h 2034"/>
                <a:gd name="T48" fmla="*/ 222 w 1154"/>
                <a:gd name="T49" fmla="*/ 1820 h 2034"/>
                <a:gd name="T50" fmla="*/ 273 w 1154"/>
                <a:gd name="T51" fmla="*/ 1825 h 2034"/>
                <a:gd name="T52" fmla="*/ 273 w 1154"/>
                <a:gd name="T53" fmla="*/ 1825 h 2034"/>
                <a:gd name="T54" fmla="*/ 288 w 1154"/>
                <a:gd name="T55" fmla="*/ 1830 h 2034"/>
                <a:gd name="T56" fmla="*/ 307 w 1154"/>
                <a:gd name="T57" fmla="*/ 1840 h 2034"/>
                <a:gd name="T58" fmla="*/ 398 w 1154"/>
                <a:gd name="T59" fmla="*/ 1874 h 2034"/>
                <a:gd name="T60" fmla="*/ 405 w 1154"/>
                <a:gd name="T61" fmla="*/ 1876 h 2034"/>
                <a:gd name="T62" fmla="*/ 427 w 1154"/>
                <a:gd name="T63" fmla="*/ 1881 h 2034"/>
                <a:gd name="T64" fmla="*/ 521 w 1154"/>
                <a:gd name="T65" fmla="*/ 1886 h 2034"/>
                <a:gd name="T66" fmla="*/ 646 w 1154"/>
                <a:gd name="T67" fmla="*/ 1871 h 2034"/>
                <a:gd name="T68" fmla="*/ 760 w 1154"/>
                <a:gd name="T69" fmla="*/ 1827 h 2034"/>
                <a:gd name="T70" fmla="*/ 860 w 1154"/>
                <a:gd name="T71" fmla="*/ 1754 h 2034"/>
                <a:gd name="T72" fmla="*/ 940 w 1154"/>
                <a:gd name="T73" fmla="*/ 1661 h 2034"/>
                <a:gd name="T74" fmla="*/ 987 w 1154"/>
                <a:gd name="T75" fmla="*/ 1552 h 2034"/>
                <a:gd name="T76" fmla="*/ 1004 w 1154"/>
                <a:gd name="T77" fmla="*/ 1431 h 2034"/>
                <a:gd name="T78" fmla="*/ 999 w 1154"/>
                <a:gd name="T79" fmla="*/ 594 h 2034"/>
                <a:gd name="T80" fmla="*/ 965 w 1154"/>
                <a:gd name="T81" fmla="*/ 467 h 2034"/>
                <a:gd name="T82" fmla="*/ 899 w 1154"/>
                <a:gd name="T83" fmla="*/ 355 h 2034"/>
                <a:gd name="T84" fmla="*/ 799 w 1154"/>
                <a:gd name="T85" fmla="*/ 262 h 2034"/>
                <a:gd name="T86" fmla="*/ 685 w 1154"/>
                <a:gd name="T87" fmla="*/ 199 h 2034"/>
                <a:gd name="T88" fmla="*/ 560 w 1154"/>
                <a:gd name="T89" fmla="*/ 167 h 2034"/>
                <a:gd name="T90" fmla="*/ 424 w 1154"/>
                <a:gd name="T91" fmla="*/ 167 h 2034"/>
                <a:gd name="T92" fmla="*/ 298 w 1154"/>
                <a:gd name="T93" fmla="*/ 199 h 2034"/>
                <a:gd name="T94" fmla="*/ 185 w 1154"/>
                <a:gd name="T95" fmla="*/ 265 h 2034"/>
                <a:gd name="T96" fmla="*/ 108 w 1154"/>
                <a:gd name="T97" fmla="*/ 338 h 2034"/>
                <a:gd name="T98" fmla="*/ 45 w 1154"/>
                <a:gd name="T99" fmla="*/ 297 h 2034"/>
                <a:gd name="T100" fmla="*/ 6 w 1154"/>
                <a:gd name="T101" fmla="*/ 214 h 2034"/>
                <a:gd name="T102" fmla="*/ 17 w 1154"/>
                <a:gd name="T103" fmla="*/ 202 h 2034"/>
                <a:gd name="T104" fmla="*/ 22 w 1154"/>
                <a:gd name="T105" fmla="*/ 196 h 2034"/>
                <a:gd name="T106" fmla="*/ 28 w 1154"/>
                <a:gd name="T107" fmla="*/ 189 h 2034"/>
                <a:gd name="T108" fmla="*/ 146 w 1154"/>
                <a:gd name="T109" fmla="*/ 97 h 2034"/>
                <a:gd name="T110" fmla="*/ 276 w 1154"/>
                <a:gd name="T111" fmla="*/ 36 h 2034"/>
                <a:gd name="T112" fmla="*/ 419 w 1154"/>
                <a:gd name="T113" fmla="*/ 5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4" h="2034">
                  <a:moveTo>
                    <a:pt x="495" y="0"/>
                  </a:moveTo>
                  <a:lnTo>
                    <a:pt x="571" y="5"/>
                  </a:lnTo>
                  <a:lnTo>
                    <a:pt x="646" y="16"/>
                  </a:lnTo>
                  <a:lnTo>
                    <a:pt x="716" y="36"/>
                  </a:lnTo>
                  <a:lnTo>
                    <a:pt x="784" y="63"/>
                  </a:lnTo>
                  <a:lnTo>
                    <a:pt x="846" y="97"/>
                  </a:lnTo>
                  <a:lnTo>
                    <a:pt x="907" y="140"/>
                  </a:lnTo>
                  <a:lnTo>
                    <a:pt x="963" y="189"/>
                  </a:lnTo>
                  <a:lnTo>
                    <a:pt x="1014" y="245"/>
                  </a:lnTo>
                  <a:lnTo>
                    <a:pt x="1057" y="304"/>
                  </a:lnTo>
                  <a:lnTo>
                    <a:pt x="1092" y="367"/>
                  </a:lnTo>
                  <a:lnTo>
                    <a:pt x="1120" y="433"/>
                  </a:lnTo>
                  <a:lnTo>
                    <a:pt x="1138" y="504"/>
                  </a:lnTo>
                  <a:lnTo>
                    <a:pt x="1150" y="577"/>
                  </a:lnTo>
                  <a:lnTo>
                    <a:pt x="1154" y="656"/>
                  </a:lnTo>
                  <a:lnTo>
                    <a:pt x="1154" y="1431"/>
                  </a:lnTo>
                  <a:lnTo>
                    <a:pt x="1150" y="1506"/>
                  </a:lnTo>
                  <a:lnTo>
                    <a:pt x="1138" y="1576"/>
                  </a:lnTo>
                  <a:lnTo>
                    <a:pt x="1118" y="1642"/>
                  </a:lnTo>
                  <a:lnTo>
                    <a:pt x="1091" y="1705"/>
                  </a:lnTo>
                  <a:lnTo>
                    <a:pt x="1055" y="1764"/>
                  </a:lnTo>
                  <a:lnTo>
                    <a:pt x="1011" y="1820"/>
                  </a:lnTo>
                  <a:lnTo>
                    <a:pt x="960" y="1871"/>
                  </a:lnTo>
                  <a:lnTo>
                    <a:pt x="897" y="1920"/>
                  </a:lnTo>
                  <a:lnTo>
                    <a:pt x="831" y="1961"/>
                  </a:lnTo>
                  <a:lnTo>
                    <a:pt x="762" y="1993"/>
                  </a:lnTo>
                  <a:lnTo>
                    <a:pt x="687" y="2015"/>
                  </a:lnTo>
                  <a:lnTo>
                    <a:pt x="610" y="2029"/>
                  </a:lnTo>
                  <a:lnTo>
                    <a:pt x="529" y="2034"/>
                  </a:lnTo>
                  <a:lnTo>
                    <a:pt x="463" y="2031"/>
                  </a:lnTo>
                  <a:lnTo>
                    <a:pt x="398" y="2024"/>
                  </a:lnTo>
                  <a:lnTo>
                    <a:pt x="339" y="2010"/>
                  </a:lnTo>
                  <a:lnTo>
                    <a:pt x="281" y="1992"/>
                  </a:lnTo>
                  <a:lnTo>
                    <a:pt x="246" y="1976"/>
                  </a:lnTo>
                  <a:lnTo>
                    <a:pt x="215" y="1959"/>
                  </a:lnTo>
                  <a:lnTo>
                    <a:pt x="193" y="1941"/>
                  </a:lnTo>
                  <a:lnTo>
                    <a:pt x="191" y="1939"/>
                  </a:lnTo>
                  <a:lnTo>
                    <a:pt x="191" y="1939"/>
                  </a:lnTo>
                  <a:lnTo>
                    <a:pt x="186" y="1932"/>
                  </a:lnTo>
                  <a:lnTo>
                    <a:pt x="186" y="1932"/>
                  </a:lnTo>
                  <a:lnTo>
                    <a:pt x="183" y="1927"/>
                  </a:lnTo>
                  <a:lnTo>
                    <a:pt x="173" y="1908"/>
                  </a:lnTo>
                  <a:lnTo>
                    <a:pt x="169" y="1888"/>
                  </a:lnTo>
                  <a:lnTo>
                    <a:pt x="171" y="1883"/>
                  </a:lnTo>
                  <a:lnTo>
                    <a:pt x="171" y="1876"/>
                  </a:lnTo>
                  <a:lnTo>
                    <a:pt x="173" y="1868"/>
                  </a:lnTo>
                  <a:lnTo>
                    <a:pt x="176" y="1861"/>
                  </a:lnTo>
                  <a:lnTo>
                    <a:pt x="186" y="1842"/>
                  </a:lnTo>
                  <a:lnTo>
                    <a:pt x="202" y="1829"/>
                  </a:lnTo>
                  <a:lnTo>
                    <a:pt x="222" y="1820"/>
                  </a:lnTo>
                  <a:lnTo>
                    <a:pt x="244" y="1818"/>
                  </a:lnTo>
                  <a:lnTo>
                    <a:pt x="273" y="1825"/>
                  </a:lnTo>
                  <a:lnTo>
                    <a:pt x="273" y="1825"/>
                  </a:lnTo>
                  <a:lnTo>
                    <a:pt x="273" y="1825"/>
                  </a:lnTo>
                  <a:lnTo>
                    <a:pt x="274" y="1825"/>
                  </a:lnTo>
                  <a:lnTo>
                    <a:pt x="288" y="1830"/>
                  </a:lnTo>
                  <a:lnTo>
                    <a:pt x="303" y="1839"/>
                  </a:lnTo>
                  <a:lnTo>
                    <a:pt x="307" y="1840"/>
                  </a:lnTo>
                  <a:lnTo>
                    <a:pt x="353" y="1863"/>
                  </a:lnTo>
                  <a:lnTo>
                    <a:pt x="398" y="1874"/>
                  </a:lnTo>
                  <a:lnTo>
                    <a:pt x="400" y="1876"/>
                  </a:lnTo>
                  <a:lnTo>
                    <a:pt x="405" y="1876"/>
                  </a:lnTo>
                  <a:lnTo>
                    <a:pt x="417" y="1880"/>
                  </a:lnTo>
                  <a:lnTo>
                    <a:pt x="427" y="1881"/>
                  </a:lnTo>
                  <a:lnTo>
                    <a:pt x="471" y="1885"/>
                  </a:lnTo>
                  <a:lnTo>
                    <a:pt x="521" y="1886"/>
                  </a:lnTo>
                  <a:lnTo>
                    <a:pt x="585" y="1883"/>
                  </a:lnTo>
                  <a:lnTo>
                    <a:pt x="646" y="1871"/>
                  </a:lnTo>
                  <a:lnTo>
                    <a:pt x="704" y="1852"/>
                  </a:lnTo>
                  <a:lnTo>
                    <a:pt x="760" y="1827"/>
                  </a:lnTo>
                  <a:lnTo>
                    <a:pt x="811" y="1795"/>
                  </a:lnTo>
                  <a:lnTo>
                    <a:pt x="860" y="1754"/>
                  </a:lnTo>
                  <a:lnTo>
                    <a:pt x="904" y="1708"/>
                  </a:lnTo>
                  <a:lnTo>
                    <a:pt x="940" y="1661"/>
                  </a:lnTo>
                  <a:lnTo>
                    <a:pt x="969" y="1608"/>
                  </a:lnTo>
                  <a:lnTo>
                    <a:pt x="987" y="1552"/>
                  </a:lnTo>
                  <a:lnTo>
                    <a:pt x="999" y="1494"/>
                  </a:lnTo>
                  <a:lnTo>
                    <a:pt x="1004" y="1431"/>
                  </a:lnTo>
                  <a:lnTo>
                    <a:pt x="1004" y="662"/>
                  </a:lnTo>
                  <a:lnTo>
                    <a:pt x="999" y="594"/>
                  </a:lnTo>
                  <a:lnTo>
                    <a:pt x="987" y="528"/>
                  </a:lnTo>
                  <a:lnTo>
                    <a:pt x="965" y="467"/>
                  </a:lnTo>
                  <a:lnTo>
                    <a:pt x="936" y="409"/>
                  </a:lnTo>
                  <a:lnTo>
                    <a:pt x="899" y="355"/>
                  </a:lnTo>
                  <a:lnTo>
                    <a:pt x="851" y="306"/>
                  </a:lnTo>
                  <a:lnTo>
                    <a:pt x="799" y="262"/>
                  </a:lnTo>
                  <a:lnTo>
                    <a:pt x="745" y="226"/>
                  </a:lnTo>
                  <a:lnTo>
                    <a:pt x="685" y="199"/>
                  </a:lnTo>
                  <a:lnTo>
                    <a:pt x="624" y="179"/>
                  </a:lnTo>
                  <a:lnTo>
                    <a:pt x="560" y="167"/>
                  </a:lnTo>
                  <a:lnTo>
                    <a:pt x="492" y="163"/>
                  </a:lnTo>
                  <a:lnTo>
                    <a:pt x="424" y="167"/>
                  </a:lnTo>
                  <a:lnTo>
                    <a:pt x="359" y="179"/>
                  </a:lnTo>
                  <a:lnTo>
                    <a:pt x="298" y="199"/>
                  </a:lnTo>
                  <a:lnTo>
                    <a:pt x="241" y="228"/>
                  </a:lnTo>
                  <a:lnTo>
                    <a:pt x="185" y="265"/>
                  </a:lnTo>
                  <a:lnTo>
                    <a:pt x="134" y="309"/>
                  </a:lnTo>
                  <a:lnTo>
                    <a:pt x="108" y="338"/>
                  </a:lnTo>
                  <a:lnTo>
                    <a:pt x="83" y="377"/>
                  </a:lnTo>
                  <a:lnTo>
                    <a:pt x="45" y="297"/>
                  </a:lnTo>
                  <a:lnTo>
                    <a:pt x="0" y="221"/>
                  </a:lnTo>
                  <a:lnTo>
                    <a:pt x="6" y="214"/>
                  </a:lnTo>
                  <a:lnTo>
                    <a:pt x="11" y="207"/>
                  </a:lnTo>
                  <a:lnTo>
                    <a:pt x="17" y="202"/>
                  </a:lnTo>
                  <a:lnTo>
                    <a:pt x="20" y="199"/>
                  </a:lnTo>
                  <a:lnTo>
                    <a:pt x="22" y="196"/>
                  </a:lnTo>
                  <a:lnTo>
                    <a:pt x="22" y="196"/>
                  </a:lnTo>
                  <a:lnTo>
                    <a:pt x="28" y="189"/>
                  </a:lnTo>
                  <a:lnTo>
                    <a:pt x="84" y="140"/>
                  </a:lnTo>
                  <a:lnTo>
                    <a:pt x="146" y="97"/>
                  </a:lnTo>
                  <a:lnTo>
                    <a:pt x="208" y="63"/>
                  </a:lnTo>
                  <a:lnTo>
                    <a:pt x="276" y="36"/>
                  </a:lnTo>
                  <a:lnTo>
                    <a:pt x="346" y="16"/>
                  </a:lnTo>
                  <a:lnTo>
                    <a:pt x="419" y="5"/>
                  </a:lnTo>
                  <a:lnTo>
                    <a:pt x="4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3" name="Freeform 14"/>
            <p:cNvSpPr>
              <a:spLocks noEditPoints="1"/>
            </p:cNvSpPr>
            <p:nvPr/>
          </p:nvSpPr>
          <p:spPr bwMode="auto">
            <a:xfrm>
              <a:off x="7736" y="1162"/>
              <a:ext cx="866" cy="761"/>
            </a:xfrm>
            <a:custGeom>
              <a:avLst/>
              <a:gdLst>
                <a:gd name="T0" fmla="*/ 346 w 866"/>
                <a:gd name="T1" fmla="*/ 151 h 761"/>
                <a:gd name="T2" fmla="*/ 268 w 866"/>
                <a:gd name="T3" fmla="*/ 185 h 761"/>
                <a:gd name="T4" fmla="*/ 207 w 866"/>
                <a:gd name="T5" fmla="*/ 245 h 761"/>
                <a:gd name="T6" fmla="*/ 171 w 866"/>
                <a:gd name="T7" fmla="*/ 324 h 761"/>
                <a:gd name="T8" fmla="*/ 597 w 866"/>
                <a:gd name="T9" fmla="*/ 282 h 761"/>
                <a:gd name="T10" fmla="*/ 548 w 866"/>
                <a:gd name="T11" fmla="*/ 211 h 761"/>
                <a:gd name="T12" fmla="*/ 477 w 866"/>
                <a:gd name="T13" fmla="*/ 165 h 761"/>
                <a:gd name="T14" fmla="*/ 392 w 866"/>
                <a:gd name="T15" fmla="*/ 146 h 761"/>
                <a:gd name="T16" fmla="*/ 448 w 866"/>
                <a:gd name="T17" fmla="*/ 3 h 761"/>
                <a:gd name="T18" fmla="*/ 547 w 866"/>
                <a:gd name="T19" fmla="*/ 29 h 761"/>
                <a:gd name="T20" fmla="*/ 630 w 866"/>
                <a:gd name="T21" fmla="*/ 82 h 761"/>
                <a:gd name="T22" fmla="*/ 698 w 866"/>
                <a:gd name="T23" fmla="*/ 161 h 761"/>
                <a:gd name="T24" fmla="*/ 754 w 866"/>
                <a:gd name="T25" fmla="*/ 280 h 761"/>
                <a:gd name="T26" fmla="*/ 772 w 866"/>
                <a:gd name="T27" fmla="*/ 399 h 761"/>
                <a:gd name="T28" fmla="*/ 760 w 866"/>
                <a:gd name="T29" fmla="*/ 452 h 761"/>
                <a:gd name="T30" fmla="*/ 723 w 866"/>
                <a:gd name="T31" fmla="*/ 477 h 761"/>
                <a:gd name="T32" fmla="*/ 194 w 866"/>
                <a:gd name="T33" fmla="*/ 481 h 761"/>
                <a:gd name="T34" fmla="*/ 246 w 866"/>
                <a:gd name="T35" fmla="*/ 543 h 761"/>
                <a:gd name="T36" fmla="*/ 319 w 866"/>
                <a:gd name="T37" fmla="*/ 586 h 761"/>
                <a:gd name="T38" fmla="*/ 404 w 866"/>
                <a:gd name="T39" fmla="*/ 599 h 761"/>
                <a:gd name="T40" fmla="*/ 821 w 866"/>
                <a:gd name="T41" fmla="*/ 655 h 761"/>
                <a:gd name="T42" fmla="*/ 866 w 866"/>
                <a:gd name="T43" fmla="*/ 761 h 761"/>
                <a:gd name="T44" fmla="*/ 339 w 866"/>
                <a:gd name="T45" fmla="*/ 757 h 761"/>
                <a:gd name="T46" fmla="*/ 221 w 866"/>
                <a:gd name="T47" fmla="*/ 720 h 761"/>
                <a:gd name="T48" fmla="*/ 119 w 866"/>
                <a:gd name="T49" fmla="*/ 645 h 761"/>
                <a:gd name="T50" fmla="*/ 53 w 866"/>
                <a:gd name="T51" fmla="*/ 562 h 761"/>
                <a:gd name="T52" fmla="*/ 12 w 866"/>
                <a:gd name="T53" fmla="*/ 467 h 761"/>
                <a:gd name="T54" fmla="*/ 0 w 866"/>
                <a:gd name="T55" fmla="*/ 357 h 761"/>
                <a:gd name="T56" fmla="*/ 12 w 866"/>
                <a:gd name="T57" fmla="*/ 258 h 761"/>
                <a:gd name="T58" fmla="*/ 51 w 866"/>
                <a:gd name="T59" fmla="*/ 172 h 761"/>
                <a:gd name="T60" fmla="*/ 117 w 866"/>
                <a:gd name="T61" fmla="*/ 99 h 761"/>
                <a:gd name="T62" fmla="*/ 217 w 866"/>
                <a:gd name="T63" fmla="*/ 36 h 761"/>
                <a:gd name="T64" fmla="*/ 331 w 866"/>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6" h="761">
                  <a:moveTo>
                    <a:pt x="392" y="146"/>
                  </a:moveTo>
                  <a:lnTo>
                    <a:pt x="346" y="151"/>
                  </a:lnTo>
                  <a:lnTo>
                    <a:pt x="306" y="165"/>
                  </a:lnTo>
                  <a:lnTo>
                    <a:pt x="268" y="185"/>
                  </a:lnTo>
                  <a:lnTo>
                    <a:pt x="234" y="211"/>
                  </a:lnTo>
                  <a:lnTo>
                    <a:pt x="207" y="245"/>
                  </a:lnTo>
                  <a:lnTo>
                    <a:pt x="187" y="282"/>
                  </a:lnTo>
                  <a:lnTo>
                    <a:pt x="171" y="324"/>
                  </a:lnTo>
                  <a:lnTo>
                    <a:pt x="611" y="324"/>
                  </a:lnTo>
                  <a:lnTo>
                    <a:pt x="597" y="282"/>
                  </a:lnTo>
                  <a:lnTo>
                    <a:pt x="575" y="245"/>
                  </a:lnTo>
                  <a:lnTo>
                    <a:pt x="548" y="211"/>
                  </a:lnTo>
                  <a:lnTo>
                    <a:pt x="514" y="185"/>
                  </a:lnTo>
                  <a:lnTo>
                    <a:pt x="477" y="165"/>
                  </a:lnTo>
                  <a:lnTo>
                    <a:pt x="436" y="151"/>
                  </a:lnTo>
                  <a:lnTo>
                    <a:pt x="392" y="146"/>
                  </a:lnTo>
                  <a:close/>
                  <a:moveTo>
                    <a:pt x="394" y="0"/>
                  </a:moveTo>
                  <a:lnTo>
                    <a:pt x="448" y="3"/>
                  </a:lnTo>
                  <a:lnTo>
                    <a:pt x="499" y="14"/>
                  </a:lnTo>
                  <a:lnTo>
                    <a:pt x="547" y="29"/>
                  </a:lnTo>
                  <a:lnTo>
                    <a:pt x="591" y="53"/>
                  </a:lnTo>
                  <a:lnTo>
                    <a:pt x="630" y="82"/>
                  </a:lnTo>
                  <a:lnTo>
                    <a:pt x="665" y="119"/>
                  </a:lnTo>
                  <a:lnTo>
                    <a:pt x="698" y="161"/>
                  </a:lnTo>
                  <a:lnTo>
                    <a:pt x="730" y="221"/>
                  </a:lnTo>
                  <a:lnTo>
                    <a:pt x="754" y="280"/>
                  </a:lnTo>
                  <a:lnTo>
                    <a:pt x="767" y="340"/>
                  </a:lnTo>
                  <a:lnTo>
                    <a:pt x="772" y="399"/>
                  </a:lnTo>
                  <a:lnTo>
                    <a:pt x="769" y="428"/>
                  </a:lnTo>
                  <a:lnTo>
                    <a:pt x="760" y="452"/>
                  </a:lnTo>
                  <a:lnTo>
                    <a:pt x="743" y="467"/>
                  </a:lnTo>
                  <a:lnTo>
                    <a:pt x="723" y="477"/>
                  </a:lnTo>
                  <a:lnTo>
                    <a:pt x="694" y="481"/>
                  </a:lnTo>
                  <a:lnTo>
                    <a:pt x="194" y="481"/>
                  </a:lnTo>
                  <a:lnTo>
                    <a:pt x="217" y="514"/>
                  </a:lnTo>
                  <a:lnTo>
                    <a:pt x="246" y="543"/>
                  </a:lnTo>
                  <a:lnTo>
                    <a:pt x="280" y="567"/>
                  </a:lnTo>
                  <a:lnTo>
                    <a:pt x="319" y="586"/>
                  </a:lnTo>
                  <a:lnTo>
                    <a:pt x="360" y="596"/>
                  </a:lnTo>
                  <a:lnTo>
                    <a:pt x="404" y="599"/>
                  </a:lnTo>
                  <a:lnTo>
                    <a:pt x="804" y="599"/>
                  </a:lnTo>
                  <a:lnTo>
                    <a:pt x="821" y="655"/>
                  </a:lnTo>
                  <a:lnTo>
                    <a:pt x="842" y="710"/>
                  </a:lnTo>
                  <a:lnTo>
                    <a:pt x="866" y="761"/>
                  </a:lnTo>
                  <a:lnTo>
                    <a:pt x="404" y="761"/>
                  </a:lnTo>
                  <a:lnTo>
                    <a:pt x="339" y="757"/>
                  </a:lnTo>
                  <a:lnTo>
                    <a:pt x="278" y="744"/>
                  </a:lnTo>
                  <a:lnTo>
                    <a:pt x="221" y="720"/>
                  </a:lnTo>
                  <a:lnTo>
                    <a:pt x="168" y="688"/>
                  </a:lnTo>
                  <a:lnTo>
                    <a:pt x="119" y="645"/>
                  </a:lnTo>
                  <a:lnTo>
                    <a:pt x="82" y="606"/>
                  </a:lnTo>
                  <a:lnTo>
                    <a:pt x="53" y="562"/>
                  </a:lnTo>
                  <a:lnTo>
                    <a:pt x="29" y="516"/>
                  </a:lnTo>
                  <a:lnTo>
                    <a:pt x="12" y="467"/>
                  </a:lnTo>
                  <a:lnTo>
                    <a:pt x="3" y="414"/>
                  </a:lnTo>
                  <a:lnTo>
                    <a:pt x="0" y="357"/>
                  </a:lnTo>
                  <a:lnTo>
                    <a:pt x="3" y="306"/>
                  </a:lnTo>
                  <a:lnTo>
                    <a:pt x="12" y="258"/>
                  </a:lnTo>
                  <a:lnTo>
                    <a:pt x="29" y="214"/>
                  </a:lnTo>
                  <a:lnTo>
                    <a:pt x="51" y="172"/>
                  </a:lnTo>
                  <a:lnTo>
                    <a:pt x="82" y="134"/>
                  </a:lnTo>
                  <a:lnTo>
                    <a:pt x="117" y="99"/>
                  </a:lnTo>
                  <a:lnTo>
                    <a:pt x="165" y="63"/>
                  </a:lnTo>
                  <a:lnTo>
                    <a:pt x="217" y="36"/>
                  </a:lnTo>
                  <a:lnTo>
                    <a:pt x="272" y="15"/>
                  </a:lnTo>
                  <a:lnTo>
                    <a:pt x="331" y="3"/>
                  </a:lnTo>
                  <a:lnTo>
                    <a:pt x="39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4" name="Freeform 15"/>
            <p:cNvSpPr>
              <a:spLocks noEditPoints="1"/>
            </p:cNvSpPr>
            <p:nvPr/>
          </p:nvSpPr>
          <p:spPr bwMode="auto">
            <a:xfrm>
              <a:off x="8919" y="1164"/>
              <a:ext cx="779" cy="794"/>
            </a:xfrm>
            <a:custGeom>
              <a:avLst/>
              <a:gdLst>
                <a:gd name="T0" fmla="*/ 343 w 779"/>
                <a:gd name="T1" fmla="*/ 168 h 794"/>
                <a:gd name="T2" fmla="*/ 261 w 779"/>
                <a:gd name="T3" fmla="*/ 202 h 794"/>
                <a:gd name="T4" fmla="*/ 197 w 779"/>
                <a:gd name="T5" fmla="*/ 266 h 794"/>
                <a:gd name="T6" fmla="*/ 163 w 779"/>
                <a:gd name="T7" fmla="*/ 350 h 794"/>
                <a:gd name="T8" fmla="*/ 163 w 779"/>
                <a:gd name="T9" fmla="*/ 443 h 794"/>
                <a:gd name="T10" fmla="*/ 195 w 779"/>
                <a:gd name="T11" fmla="*/ 526 h 794"/>
                <a:gd name="T12" fmla="*/ 260 w 779"/>
                <a:gd name="T13" fmla="*/ 592 h 794"/>
                <a:gd name="T14" fmla="*/ 341 w 779"/>
                <a:gd name="T15" fmla="*/ 628 h 794"/>
                <a:gd name="T16" fmla="*/ 433 w 779"/>
                <a:gd name="T17" fmla="*/ 628 h 794"/>
                <a:gd name="T18" fmla="*/ 514 w 779"/>
                <a:gd name="T19" fmla="*/ 592 h 794"/>
                <a:gd name="T20" fmla="*/ 580 w 779"/>
                <a:gd name="T21" fmla="*/ 526 h 794"/>
                <a:gd name="T22" fmla="*/ 614 w 779"/>
                <a:gd name="T23" fmla="*/ 443 h 794"/>
                <a:gd name="T24" fmla="*/ 614 w 779"/>
                <a:gd name="T25" fmla="*/ 350 h 794"/>
                <a:gd name="T26" fmla="*/ 580 w 779"/>
                <a:gd name="T27" fmla="*/ 266 h 794"/>
                <a:gd name="T28" fmla="*/ 516 w 779"/>
                <a:gd name="T29" fmla="*/ 202 h 794"/>
                <a:gd name="T30" fmla="*/ 434 w 779"/>
                <a:gd name="T31" fmla="*/ 168 h 794"/>
                <a:gd name="T32" fmla="*/ 388 w 779"/>
                <a:gd name="T33" fmla="*/ 0 h 794"/>
                <a:gd name="T34" fmla="*/ 511 w 779"/>
                <a:gd name="T35" fmla="*/ 18 h 794"/>
                <a:gd name="T36" fmla="*/ 616 w 779"/>
                <a:gd name="T37" fmla="*/ 74 h 794"/>
                <a:gd name="T38" fmla="*/ 706 w 779"/>
                <a:gd name="T39" fmla="*/ 163 h 794"/>
                <a:gd name="T40" fmla="*/ 760 w 779"/>
                <a:gd name="T41" fmla="*/ 273 h 794"/>
                <a:gd name="T42" fmla="*/ 779 w 779"/>
                <a:gd name="T43" fmla="*/ 399 h 794"/>
                <a:gd name="T44" fmla="*/ 760 w 779"/>
                <a:gd name="T45" fmla="*/ 521 h 794"/>
                <a:gd name="T46" fmla="*/ 706 w 779"/>
                <a:gd name="T47" fmla="*/ 630 h 794"/>
                <a:gd name="T48" fmla="*/ 618 w 779"/>
                <a:gd name="T49" fmla="*/ 720 h 794"/>
                <a:gd name="T50" fmla="*/ 512 w 779"/>
                <a:gd name="T51" fmla="*/ 776 h 794"/>
                <a:gd name="T52" fmla="*/ 388 w 779"/>
                <a:gd name="T53" fmla="*/ 794 h 794"/>
                <a:gd name="T54" fmla="*/ 266 w 779"/>
                <a:gd name="T55" fmla="*/ 776 h 794"/>
                <a:gd name="T56" fmla="*/ 161 w 779"/>
                <a:gd name="T57" fmla="*/ 721 h 794"/>
                <a:gd name="T58" fmla="*/ 73 w 779"/>
                <a:gd name="T59" fmla="*/ 631 h 794"/>
                <a:gd name="T60" fmla="*/ 17 w 779"/>
                <a:gd name="T61" fmla="*/ 523 h 794"/>
                <a:gd name="T62" fmla="*/ 0 w 779"/>
                <a:gd name="T63" fmla="*/ 399 h 794"/>
                <a:gd name="T64" fmla="*/ 17 w 779"/>
                <a:gd name="T65" fmla="*/ 275 h 794"/>
                <a:gd name="T66" fmla="*/ 71 w 779"/>
                <a:gd name="T67" fmla="*/ 166 h 794"/>
                <a:gd name="T68" fmla="*/ 159 w 779"/>
                <a:gd name="T69" fmla="*/ 74 h 794"/>
                <a:gd name="T70" fmla="*/ 265 w 779"/>
                <a:gd name="T71" fmla="*/ 18 h 794"/>
                <a:gd name="T72" fmla="*/ 388 w 779"/>
                <a:gd name="T73"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9" h="794">
                  <a:moveTo>
                    <a:pt x="388" y="163"/>
                  </a:moveTo>
                  <a:lnTo>
                    <a:pt x="343" y="168"/>
                  </a:lnTo>
                  <a:lnTo>
                    <a:pt x="300" y="180"/>
                  </a:lnTo>
                  <a:lnTo>
                    <a:pt x="261" y="202"/>
                  </a:lnTo>
                  <a:lnTo>
                    <a:pt x="226" y="231"/>
                  </a:lnTo>
                  <a:lnTo>
                    <a:pt x="197" y="266"/>
                  </a:lnTo>
                  <a:lnTo>
                    <a:pt x="175" y="307"/>
                  </a:lnTo>
                  <a:lnTo>
                    <a:pt x="163" y="350"/>
                  </a:lnTo>
                  <a:lnTo>
                    <a:pt x="158" y="397"/>
                  </a:lnTo>
                  <a:lnTo>
                    <a:pt x="163" y="443"/>
                  </a:lnTo>
                  <a:lnTo>
                    <a:pt x="175" y="487"/>
                  </a:lnTo>
                  <a:lnTo>
                    <a:pt x="195" y="526"/>
                  </a:lnTo>
                  <a:lnTo>
                    <a:pt x="224" y="562"/>
                  </a:lnTo>
                  <a:lnTo>
                    <a:pt x="260" y="592"/>
                  </a:lnTo>
                  <a:lnTo>
                    <a:pt x="299" y="614"/>
                  </a:lnTo>
                  <a:lnTo>
                    <a:pt x="341" y="628"/>
                  </a:lnTo>
                  <a:lnTo>
                    <a:pt x="388" y="631"/>
                  </a:lnTo>
                  <a:lnTo>
                    <a:pt x="433" y="628"/>
                  </a:lnTo>
                  <a:lnTo>
                    <a:pt x="475" y="614"/>
                  </a:lnTo>
                  <a:lnTo>
                    <a:pt x="514" y="592"/>
                  </a:lnTo>
                  <a:lnTo>
                    <a:pt x="550" y="562"/>
                  </a:lnTo>
                  <a:lnTo>
                    <a:pt x="580" y="526"/>
                  </a:lnTo>
                  <a:lnTo>
                    <a:pt x="602" y="487"/>
                  </a:lnTo>
                  <a:lnTo>
                    <a:pt x="614" y="443"/>
                  </a:lnTo>
                  <a:lnTo>
                    <a:pt x="619" y="397"/>
                  </a:lnTo>
                  <a:lnTo>
                    <a:pt x="614" y="350"/>
                  </a:lnTo>
                  <a:lnTo>
                    <a:pt x="602" y="307"/>
                  </a:lnTo>
                  <a:lnTo>
                    <a:pt x="580" y="266"/>
                  </a:lnTo>
                  <a:lnTo>
                    <a:pt x="551" y="231"/>
                  </a:lnTo>
                  <a:lnTo>
                    <a:pt x="516" y="202"/>
                  </a:lnTo>
                  <a:lnTo>
                    <a:pt x="477" y="180"/>
                  </a:lnTo>
                  <a:lnTo>
                    <a:pt x="434" y="168"/>
                  </a:lnTo>
                  <a:lnTo>
                    <a:pt x="388" y="163"/>
                  </a:lnTo>
                  <a:close/>
                  <a:moveTo>
                    <a:pt x="388" y="0"/>
                  </a:moveTo>
                  <a:lnTo>
                    <a:pt x="451" y="5"/>
                  </a:lnTo>
                  <a:lnTo>
                    <a:pt x="511" y="18"/>
                  </a:lnTo>
                  <a:lnTo>
                    <a:pt x="565" y="42"/>
                  </a:lnTo>
                  <a:lnTo>
                    <a:pt x="616" y="74"/>
                  </a:lnTo>
                  <a:lnTo>
                    <a:pt x="663" y="115"/>
                  </a:lnTo>
                  <a:lnTo>
                    <a:pt x="706" y="163"/>
                  </a:lnTo>
                  <a:lnTo>
                    <a:pt x="736" y="215"/>
                  </a:lnTo>
                  <a:lnTo>
                    <a:pt x="760" y="273"/>
                  </a:lnTo>
                  <a:lnTo>
                    <a:pt x="774" y="334"/>
                  </a:lnTo>
                  <a:lnTo>
                    <a:pt x="779" y="399"/>
                  </a:lnTo>
                  <a:lnTo>
                    <a:pt x="774" y="462"/>
                  </a:lnTo>
                  <a:lnTo>
                    <a:pt x="760" y="521"/>
                  </a:lnTo>
                  <a:lnTo>
                    <a:pt x="738" y="577"/>
                  </a:lnTo>
                  <a:lnTo>
                    <a:pt x="706" y="630"/>
                  </a:lnTo>
                  <a:lnTo>
                    <a:pt x="665" y="677"/>
                  </a:lnTo>
                  <a:lnTo>
                    <a:pt x="618" y="720"/>
                  </a:lnTo>
                  <a:lnTo>
                    <a:pt x="567" y="752"/>
                  </a:lnTo>
                  <a:lnTo>
                    <a:pt x="512" y="776"/>
                  </a:lnTo>
                  <a:lnTo>
                    <a:pt x="453" y="789"/>
                  </a:lnTo>
                  <a:lnTo>
                    <a:pt x="388" y="794"/>
                  </a:lnTo>
                  <a:lnTo>
                    <a:pt x="326" y="789"/>
                  </a:lnTo>
                  <a:lnTo>
                    <a:pt x="266" y="776"/>
                  </a:lnTo>
                  <a:lnTo>
                    <a:pt x="212" y="754"/>
                  </a:lnTo>
                  <a:lnTo>
                    <a:pt x="161" y="721"/>
                  </a:lnTo>
                  <a:lnTo>
                    <a:pt x="114" y="679"/>
                  </a:lnTo>
                  <a:lnTo>
                    <a:pt x="73" y="631"/>
                  </a:lnTo>
                  <a:lnTo>
                    <a:pt x="41" y="579"/>
                  </a:lnTo>
                  <a:lnTo>
                    <a:pt x="17" y="523"/>
                  </a:lnTo>
                  <a:lnTo>
                    <a:pt x="3" y="463"/>
                  </a:lnTo>
                  <a:lnTo>
                    <a:pt x="0" y="399"/>
                  </a:lnTo>
                  <a:lnTo>
                    <a:pt x="3" y="334"/>
                  </a:lnTo>
                  <a:lnTo>
                    <a:pt x="17" y="275"/>
                  </a:lnTo>
                  <a:lnTo>
                    <a:pt x="41" y="217"/>
                  </a:lnTo>
                  <a:lnTo>
                    <a:pt x="71" y="166"/>
                  </a:lnTo>
                  <a:lnTo>
                    <a:pt x="112" y="117"/>
                  </a:lnTo>
                  <a:lnTo>
                    <a:pt x="159" y="74"/>
                  </a:lnTo>
                  <a:lnTo>
                    <a:pt x="210" y="42"/>
                  </a:lnTo>
                  <a:lnTo>
                    <a:pt x="265" y="18"/>
                  </a:lnTo>
                  <a:lnTo>
                    <a:pt x="326" y="5"/>
                  </a:lnTo>
                  <a:lnTo>
                    <a:pt x="3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grpSp>
    </p:spTree>
    <p:extLst>
      <p:ext uri="{BB962C8B-B14F-4D97-AF65-F5344CB8AC3E}">
        <p14:creationId xmlns:p14="http://schemas.microsoft.com/office/powerpoint/2010/main" val="108974105"/>
      </p:ext>
    </p:extLst>
  </p:cSld>
  <p:clrMapOvr>
    <a:masterClrMapping/>
  </p:clrMapOvr>
  <p:extLst>
    <p:ext uri="{DCECCB84-F9BA-43D5-87BE-67443E8EF086}">
      <p15:sldGuideLst xmlns:p15="http://schemas.microsoft.com/office/powerpoint/2012/main">
        <p15:guide id="1" orient="horz" pos="2160">
          <p15:clr>
            <a:srgbClr val="FBAE40"/>
          </p15:clr>
        </p15:guide>
        <p15:guide id="2" pos="697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1_Titeldia">
    <p:bg>
      <p:bgPr>
        <a:solidFill>
          <a:schemeClr val="accent2"/>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bg1"/>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bg1"/>
                </a:solidFill>
              </a:defRPr>
            </a:lvl1pPr>
          </a:lstStyle>
          <a:p>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bg1"/>
                </a:solidFill>
              </a:defRPr>
            </a:lvl1pPr>
          </a:lstStyle>
          <a:p>
            <a:endParaRPr lang="nl-BE" dirty="0"/>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bg1"/>
                </a:solidFill>
              </a:defRPr>
            </a:lvl1p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3401415435"/>
      </p:ext>
    </p:extLst>
  </p:cSld>
  <p:clrMapOvr>
    <a:masterClrMapping/>
  </p:clrMapOvr>
  <p:extLst>
    <p:ext uri="{DCECCB84-F9BA-43D5-87BE-67443E8EF086}">
      <p15:sldGuideLst xmlns:p15="http://schemas.microsoft.com/office/powerpoint/2012/main">
        <p15:guide id="1" orient="horz" pos="2160">
          <p15:clr>
            <a:srgbClr val="FBAE40"/>
          </p15:clr>
        </p15:guide>
        <p15:guide id="2" pos="7015">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2_Titeldia">
    <p:bg>
      <p:bgPr>
        <a:solidFill>
          <a:schemeClr val="accent3"/>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accent5">
                    <a:lumMod val="75000"/>
                    <a:lumOff val="25000"/>
                  </a:schemeClr>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accent5">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accent5">
                    <a:lumMod val="75000"/>
                    <a:lumOff val="25000"/>
                  </a:schemeClr>
                </a:solidFill>
              </a:defRPr>
            </a:lvl1pPr>
          </a:lstStyle>
          <a:p>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accent5">
                    <a:lumMod val="75000"/>
                    <a:lumOff val="25000"/>
                  </a:schemeClr>
                </a:solidFill>
              </a:defRPr>
            </a:lvl1pPr>
          </a:lstStyle>
          <a:p>
            <a:endParaRPr lang="nl-BE" dirty="0">
              <a:solidFill>
                <a:schemeClr val="accent5">
                  <a:lumMod val="75000"/>
                  <a:lumOff val="25000"/>
                </a:schemeClr>
              </a:solidFill>
            </a:endParaRPr>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accent5">
                    <a:lumMod val="75000"/>
                    <a:lumOff val="25000"/>
                  </a:schemeClr>
                </a:solidFill>
              </a:defRPr>
            </a:lvl1p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3591348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3_Titeldia">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accent5">
                    <a:lumMod val="75000"/>
                    <a:lumOff val="25000"/>
                  </a:schemeClr>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accent5">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accent5">
                    <a:lumMod val="75000"/>
                    <a:lumOff val="25000"/>
                  </a:schemeClr>
                </a:solidFill>
              </a:defRPr>
            </a:lvl1pPr>
          </a:lstStyle>
          <a:p>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accent5">
                    <a:lumMod val="75000"/>
                    <a:lumOff val="25000"/>
                  </a:schemeClr>
                </a:solidFill>
              </a:defRPr>
            </a:lvl1pPr>
          </a:lstStyle>
          <a:p>
            <a:endParaRPr lang="nl-BE" dirty="0">
              <a:solidFill>
                <a:schemeClr val="accent5">
                  <a:lumMod val="75000"/>
                  <a:lumOff val="25000"/>
                </a:schemeClr>
              </a:solidFill>
            </a:endParaRPr>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accent5">
                    <a:lumMod val="75000"/>
                    <a:lumOff val="25000"/>
                  </a:schemeClr>
                </a:solidFill>
              </a:defRPr>
            </a:lvl1p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34056386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590318522"/>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10" name="Picture 9" descr="A picture containing sky, outdoor, grass, day&#10;&#10;Description automatically generated">
            <a:extLst>
              <a:ext uri="{FF2B5EF4-FFF2-40B4-BE49-F238E27FC236}">
                <a16:creationId xmlns:a16="http://schemas.microsoft.com/office/drawing/2014/main" id="{7C83D873-A726-4462-9D77-7E4E955F068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1288" b="3787"/>
          <a:stretch/>
        </p:blipFill>
        <p:spPr>
          <a:xfrm>
            <a:off x="0" y="0"/>
            <a:ext cx="12192000" cy="6092826"/>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1996386273"/>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7" name="Picture 6" descr="A person holding a pair of scissors&#10;&#10;Description automatically generated with medium confidence">
            <a:extLst>
              <a:ext uri="{FF2B5EF4-FFF2-40B4-BE49-F238E27FC236}">
                <a16:creationId xmlns:a16="http://schemas.microsoft.com/office/drawing/2014/main" id="{D36CAC88-FF12-46CD-947B-B091EF3F37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1466" b="3779"/>
          <a:stretch/>
        </p:blipFill>
        <p:spPr>
          <a:xfrm>
            <a:off x="-32388" y="-1"/>
            <a:ext cx="12224387"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50471959"/>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7" name="Picture 6" descr="A close - up of a circuit board&#10;&#10;Description automatically generated with low confidence">
            <a:extLst>
              <a:ext uri="{FF2B5EF4-FFF2-40B4-BE49-F238E27FC236}">
                <a16:creationId xmlns:a16="http://schemas.microsoft.com/office/drawing/2014/main" id="{E646E93E-512C-464C-9CED-F40B18EC0F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5764"/>
          <a:stretch/>
        </p:blipFill>
        <p:spPr>
          <a:xfrm>
            <a:off x="0" y="0"/>
            <a:ext cx="12192000"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2762119" cy="394184"/>
          </a:xfrm>
          <a:solidFill>
            <a:schemeClr val="accent4">
              <a:lumMod val="60000"/>
              <a:lumOff val="40000"/>
              <a:alpha val="70000"/>
            </a:schemeClr>
          </a:solidFill>
          <a:effectLst>
            <a:softEdge rad="31750"/>
          </a:effectLst>
        </p:spPr>
        <p:txBody>
          <a:bodyPr/>
          <a:lstStyle/>
          <a:p>
            <a:r>
              <a:rPr lang="en-US"/>
              <a:t>Click to edit Master title style</a:t>
            </a:r>
            <a:endParaRPr lang="fr-BE" dirty="0"/>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4102957445"/>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10" name="Picture 9" descr="A person holding a cell phone&#10;&#10;Description automatically generated with medium confidence">
            <a:extLst>
              <a:ext uri="{FF2B5EF4-FFF2-40B4-BE49-F238E27FC236}">
                <a16:creationId xmlns:a16="http://schemas.microsoft.com/office/drawing/2014/main" id="{934182A7-9427-4408-AC29-18553F1200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0062" b="15127"/>
          <a:stretch/>
        </p:blipFill>
        <p:spPr>
          <a:xfrm>
            <a:off x="0" y="0"/>
            <a:ext cx="12192000"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3935074359"/>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9" name="Picture 8" descr="A picture containing person&#10;&#10;Description automatically generated">
            <a:extLst>
              <a:ext uri="{FF2B5EF4-FFF2-40B4-BE49-F238E27FC236}">
                <a16:creationId xmlns:a16="http://schemas.microsoft.com/office/drawing/2014/main" id="{D5A955CA-2D72-426A-B610-88A732D7E35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637" t="4420" r="3637" b="26072"/>
          <a:stretch/>
        </p:blipFill>
        <p:spPr>
          <a:xfrm>
            <a:off x="-1" y="0"/>
            <a:ext cx="12192001" cy="6092826"/>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184668480"/>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7" name="Picture 6" descr="Diagram&#10;&#10;Description automatically generated with medium confidence">
            <a:extLst>
              <a:ext uri="{FF2B5EF4-FFF2-40B4-BE49-F238E27FC236}">
                <a16:creationId xmlns:a16="http://schemas.microsoft.com/office/drawing/2014/main" id="{AFCCF48A-B4D2-4F82-841E-1EB739476C2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60" t="158" r="693" b="1"/>
          <a:stretch/>
        </p:blipFill>
        <p:spPr>
          <a:xfrm>
            <a:off x="-240705" y="0"/>
            <a:ext cx="12432705"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324811422"/>
      </p:ext>
    </p:extLst>
  </p:cSld>
  <p:clrMapOvr>
    <a:masterClrMapping/>
  </p:clrMapOvr>
  <p:extLst>
    <p:ext uri="{DCECCB84-F9BA-43D5-87BE-67443E8EF086}">
      <p15:sldGuideLst xmlns:p15="http://schemas.microsoft.com/office/powerpoint/2012/main">
        <p15:guide id="1" orient="horz" pos="3838" userDrawn="1">
          <p15:clr>
            <a:srgbClr val="FBAE40"/>
          </p15:clr>
        </p15:guide>
        <p15:guide id="2" pos="384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9" name="Picture 8" descr="A child in a field of flowers&#10;&#10;Description automatically generated with medium confidence">
            <a:extLst>
              <a:ext uri="{FF2B5EF4-FFF2-40B4-BE49-F238E27FC236}">
                <a16:creationId xmlns:a16="http://schemas.microsoft.com/office/drawing/2014/main" id="{B6768249-84BB-436E-95A3-3A281D9F4E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0644" r="9926"/>
          <a:stretch/>
        </p:blipFill>
        <p:spPr>
          <a:xfrm>
            <a:off x="-1" y="0"/>
            <a:ext cx="12192001"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dirty="0"/>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4189851082"/>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7" name="Picture 6" descr="Diagram&#10;&#10;Description automatically generated with medium confidence">
            <a:extLst>
              <a:ext uri="{FF2B5EF4-FFF2-40B4-BE49-F238E27FC236}">
                <a16:creationId xmlns:a16="http://schemas.microsoft.com/office/drawing/2014/main" id="{AFCCF48A-B4D2-4F82-841E-1EB739476C2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60" t="158" r="693" b="1"/>
          <a:stretch/>
        </p:blipFill>
        <p:spPr>
          <a:xfrm>
            <a:off x="-240705" y="0"/>
            <a:ext cx="12432705"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1658028647"/>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inhoud 2"/>
          <p:cNvSpPr>
            <a:spLocks noGrp="1"/>
          </p:cNvSpPr>
          <p:nvPr>
            <p:ph idx="1" hasCustomPrompt="1"/>
          </p:nvPr>
        </p:nvSpPr>
        <p:spPr>
          <a:xfrm>
            <a:off x="609600" y="1623061"/>
            <a:ext cx="10972800" cy="452596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198966" y="6400801"/>
            <a:ext cx="917701" cy="276224"/>
          </a:xfrm>
        </p:spPr>
        <p:txBody>
          <a:bodyPr/>
          <a:lstStyle/>
          <a:p>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Tree>
    <p:extLst>
      <p:ext uri="{BB962C8B-B14F-4D97-AF65-F5344CB8AC3E}">
        <p14:creationId xmlns:p14="http://schemas.microsoft.com/office/powerpoint/2010/main" val="107020693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inhoud 2"/>
          <p:cNvSpPr>
            <a:spLocks noGrp="1"/>
          </p:cNvSpPr>
          <p:nvPr>
            <p:ph idx="1" hasCustomPrompt="1"/>
          </p:nvPr>
        </p:nvSpPr>
        <p:spPr>
          <a:xfrm>
            <a:off x="609600" y="1623061"/>
            <a:ext cx="10972800" cy="452596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198966" y="6400801"/>
            <a:ext cx="917701" cy="276224"/>
          </a:xfrm>
        </p:spPr>
        <p:txBody>
          <a:bodyPr/>
          <a:lstStyle/>
          <a:p>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8" name="Tijdelijke aanduiding voor tekst 9"/>
          <p:cNvSpPr>
            <a:spLocks noGrp="1"/>
          </p:cNvSpPr>
          <p:nvPr>
            <p:ph type="body" sz="quarter" idx="13"/>
          </p:nvPr>
        </p:nvSpPr>
        <p:spPr>
          <a:xfrm>
            <a:off x="1168976" y="3472816"/>
            <a:ext cx="6480000" cy="330860"/>
          </a:xfrm>
          <a:noFill/>
        </p:spPr>
        <p:txBody>
          <a:bodyPr wrap="square" lIns="90000" rtlCol="0">
            <a:spAutoFit/>
          </a:bodyPr>
          <a:lstStyle>
            <a:lvl1pPr marL="0" indent="0">
              <a:buNone/>
              <a:defRPr lang="nl-BE" sz="1300" spc="20" noProof="0" dirty="0">
                <a:solidFill>
                  <a:srgbClr val="C62B37"/>
                </a:solidFill>
              </a:defRPr>
            </a:lvl1pPr>
          </a:lstStyle>
          <a:p>
            <a:pPr marL="0" lvl="0">
              <a:lnSpc>
                <a:spcPts val="2000"/>
              </a:lnSpc>
            </a:pPr>
            <a:r>
              <a:rPr kumimoji="0" lang="en-US" sz="1200" b="0" i="0" u="none" strike="noStrike" kern="1200" cap="none" spc="20" normalizeH="0" baseline="0">
                <a:ln>
                  <a:noFill/>
                </a:ln>
                <a:solidFill>
                  <a:srgbClr val="C62B37"/>
                </a:solidFill>
                <a:effectLst/>
                <a:uLnTx/>
                <a:uFillTx/>
                <a:latin typeface="+mn-lt"/>
                <a:ea typeface="+mn-ea"/>
                <a:cs typeface="+mn-cs"/>
              </a:rPr>
              <a:t>Click to edit Master text styles</a:t>
            </a:r>
          </a:p>
        </p:txBody>
      </p:sp>
    </p:spTree>
    <p:extLst>
      <p:ext uri="{BB962C8B-B14F-4D97-AF65-F5344CB8AC3E}">
        <p14:creationId xmlns:p14="http://schemas.microsoft.com/office/powerpoint/2010/main" val="36415121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inhoud 2"/>
          <p:cNvSpPr>
            <a:spLocks noGrp="1"/>
          </p:cNvSpPr>
          <p:nvPr>
            <p:ph idx="1" hasCustomPrompt="1"/>
          </p:nvPr>
        </p:nvSpPr>
        <p:spPr>
          <a:xfrm>
            <a:off x="6096000" y="1623061"/>
            <a:ext cx="5486400" cy="452596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198966" y="6400801"/>
            <a:ext cx="917701" cy="276224"/>
          </a:xfrm>
        </p:spPr>
        <p:txBody>
          <a:bodyPr/>
          <a:lstStyle/>
          <a:p>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Picture Placeholder 8">
            <a:extLst>
              <a:ext uri="{FF2B5EF4-FFF2-40B4-BE49-F238E27FC236}">
                <a16:creationId xmlns:a16="http://schemas.microsoft.com/office/drawing/2014/main" id="{BB3D6B10-2C43-486B-952D-3902C8CB09A2}"/>
              </a:ext>
            </a:extLst>
          </p:cNvPr>
          <p:cNvSpPr>
            <a:spLocks noGrp="1"/>
          </p:cNvSpPr>
          <p:nvPr>
            <p:ph type="pic" sz="quarter" idx="13"/>
          </p:nvPr>
        </p:nvSpPr>
        <p:spPr>
          <a:xfrm>
            <a:off x="609600" y="1622426"/>
            <a:ext cx="5486400" cy="4525963"/>
          </a:xfrm>
        </p:spPr>
        <p:txBody>
          <a:bodyPr/>
          <a:lstStyle/>
          <a:p>
            <a:r>
              <a:rPr lang="en-US"/>
              <a:t>Click icon to add picture</a:t>
            </a:r>
            <a:endParaRPr lang="fr-BE" dirty="0"/>
          </a:p>
        </p:txBody>
      </p:sp>
    </p:spTree>
    <p:extLst>
      <p:ext uri="{BB962C8B-B14F-4D97-AF65-F5344CB8AC3E}">
        <p14:creationId xmlns:p14="http://schemas.microsoft.com/office/powerpoint/2010/main" val="249811656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itel en object">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609600" y="2011681"/>
            <a:ext cx="10972800" cy="413734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200000" y="6400801"/>
            <a:ext cx="916667" cy="276224"/>
          </a:xfrm>
        </p:spPr>
        <p:txBody>
          <a:bodyPr/>
          <a:lstStyle/>
          <a:p>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tel 1"/>
          <p:cNvSpPr>
            <a:spLocks noGrp="1"/>
          </p:cNvSpPr>
          <p:nvPr>
            <p:ph type="title" hasCustomPrompt="1"/>
          </p:nvPr>
        </p:nvSpPr>
        <p:spPr>
          <a:xfrm>
            <a:off x="609600" y="1183176"/>
            <a:ext cx="10972800" cy="517632"/>
          </a:xfrm>
        </p:spPr>
        <p:txBody>
          <a:bodyPr tIns="0" bIns="0"/>
          <a:lstStyle/>
          <a:p>
            <a:r>
              <a:rPr lang="en-US" dirty="0"/>
              <a:t>This is the title</a:t>
            </a:r>
            <a:endParaRPr lang="nl-BE" dirty="0"/>
          </a:p>
        </p:txBody>
      </p:sp>
      <p:sp>
        <p:nvSpPr>
          <p:cNvPr id="10" name="Tijdelijke aanduiding voor inhoud 2"/>
          <p:cNvSpPr>
            <a:spLocks noGrp="1"/>
          </p:cNvSpPr>
          <p:nvPr>
            <p:ph idx="13"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dirty="0"/>
              <a:t>This is the subtitle</a:t>
            </a:r>
          </a:p>
        </p:txBody>
      </p:sp>
    </p:spTree>
    <p:extLst>
      <p:ext uri="{BB962C8B-B14F-4D97-AF65-F5344CB8AC3E}">
        <p14:creationId xmlns:p14="http://schemas.microsoft.com/office/powerpoint/2010/main" val="2019627941"/>
      </p:ext>
    </p:extLst>
  </p:cSld>
  <p:clrMapOvr>
    <a:masterClrMapping/>
  </p:clrMapOvr>
  <p:extLst>
    <p:ext uri="{DCECCB84-F9BA-43D5-87BE-67443E8EF086}">
      <p15:sldGuideLst xmlns:p15="http://schemas.microsoft.com/office/powerpoint/2012/main">
        <p15:guide id="1" orient="horz" pos="1253">
          <p15:clr>
            <a:srgbClr val="FBAE40"/>
          </p15:clr>
        </p15:guide>
        <p15:guide id="2" pos="384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6_Titel en object">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a:xfrm>
            <a:off x="1200000" y="6400801"/>
            <a:ext cx="916667" cy="276224"/>
          </a:xfrm>
        </p:spPr>
        <p:txBody>
          <a:bodyPr/>
          <a:lstStyle/>
          <a:p>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tel 1"/>
          <p:cNvSpPr>
            <a:spLocks noGrp="1"/>
          </p:cNvSpPr>
          <p:nvPr>
            <p:ph type="title" hasCustomPrompt="1"/>
          </p:nvPr>
        </p:nvSpPr>
        <p:spPr>
          <a:xfrm>
            <a:off x="609600" y="1183176"/>
            <a:ext cx="10972800" cy="517632"/>
          </a:xfrm>
        </p:spPr>
        <p:txBody>
          <a:bodyPr tIns="0" bIns="0"/>
          <a:lstStyle/>
          <a:p>
            <a:r>
              <a:rPr lang="en-US" dirty="0"/>
              <a:t>This is the title</a:t>
            </a:r>
            <a:endParaRPr lang="nl-BE" dirty="0"/>
          </a:p>
        </p:txBody>
      </p:sp>
      <p:sp>
        <p:nvSpPr>
          <p:cNvPr id="10" name="Tijdelijke aanduiding voor inhoud 2"/>
          <p:cNvSpPr>
            <a:spLocks noGrp="1"/>
          </p:cNvSpPr>
          <p:nvPr>
            <p:ph idx="13"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dirty="0"/>
              <a:t>This is the subtitle</a:t>
            </a:r>
          </a:p>
        </p:txBody>
      </p:sp>
      <p:sp>
        <p:nvSpPr>
          <p:cNvPr id="8" name="Tijdelijke aanduiding voor inhoud 2">
            <a:extLst>
              <a:ext uri="{FF2B5EF4-FFF2-40B4-BE49-F238E27FC236}">
                <a16:creationId xmlns:a16="http://schemas.microsoft.com/office/drawing/2014/main" id="{017597B3-D718-4A3E-A590-E2C434D2BEA9}"/>
              </a:ext>
            </a:extLst>
          </p:cNvPr>
          <p:cNvSpPr>
            <a:spLocks noGrp="1"/>
          </p:cNvSpPr>
          <p:nvPr>
            <p:ph idx="1" hasCustomPrompt="1"/>
          </p:nvPr>
        </p:nvSpPr>
        <p:spPr>
          <a:xfrm>
            <a:off x="6096000" y="1989139"/>
            <a:ext cx="5486400" cy="4159885"/>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11" name="Picture Placeholder 8">
            <a:extLst>
              <a:ext uri="{FF2B5EF4-FFF2-40B4-BE49-F238E27FC236}">
                <a16:creationId xmlns:a16="http://schemas.microsoft.com/office/drawing/2014/main" id="{780B19EB-F64B-481B-96AD-A2BAD35CA904}"/>
              </a:ext>
            </a:extLst>
          </p:cNvPr>
          <p:cNvSpPr>
            <a:spLocks noGrp="1"/>
          </p:cNvSpPr>
          <p:nvPr>
            <p:ph type="pic" sz="quarter" idx="14"/>
          </p:nvPr>
        </p:nvSpPr>
        <p:spPr>
          <a:xfrm>
            <a:off x="609600" y="1989138"/>
            <a:ext cx="5486400" cy="4159250"/>
          </a:xfrm>
        </p:spPr>
        <p:txBody>
          <a:bodyPr/>
          <a:lstStyle/>
          <a:p>
            <a:r>
              <a:rPr lang="en-US"/>
              <a:t>Click icon to add picture</a:t>
            </a:r>
            <a:endParaRPr lang="fr-BE" dirty="0"/>
          </a:p>
        </p:txBody>
      </p:sp>
    </p:spTree>
    <p:extLst>
      <p:ext uri="{BB962C8B-B14F-4D97-AF65-F5344CB8AC3E}">
        <p14:creationId xmlns:p14="http://schemas.microsoft.com/office/powerpoint/2010/main" val="3675402850"/>
      </p:ext>
    </p:extLst>
  </p:cSld>
  <p:clrMapOvr>
    <a:masterClrMapping/>
  </p:clrMapOvr>
  <p:extLst>
    <p:ext uri="{DCECCB84-F9BA-43D5-87BE-67443E8EF086}">
      <p15:sldGuideLst xmlns:p15="http://schemas.microsoft.com/office/powerpoint/2012/main">
        <p15:guide id="1" orient="horz" pos="1253">
          <p15:clr>
            <a:srgbClr val="FBAE40"/>
          </p15:clr>
        </p15:guide>
        <p15:guide id="2" pos="384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09600" y="1183176"/>
            <a:ext cx="10972800" cy="517632"/>
          </a:xfrm>
        </p:spPr>
        <p:txBody>
          <a:bodyPr tIns="0" bIns="0"/>
          <a:lstStyle/>
          <a:p>
            <a:r>
              <a:rPr lang="en-US" dirty="0"/>
              <a:t>This is the title</a:t>
            </a:r>
            <a:endParaRPr lang="nl-BE" dirty="0"/>
          </a:p>
        </p:txBody>
      </p:sp>
      <p:sp>
        <p:nvSpPr>
          <p:cNvPr id="3" name="Tijdelijke aanduiding voor inhoud 2"/>
          <p:cNvSpPr>
            <a:spLocks noGrp="1"/>
          </p:cNvSpPr>
          <p:nvPr>
            <p:ph idx="1"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dirty="0"/>
              <a:t>This is the subtitle</a:t>
            </a:r>
          </a:p>
        </p:txBody>
      </p:sp>
      <p:sp>
        <p:nvSpPr>
          <p:cNvPr id="4" name="Tijdelijke aanduiding voor datum 3"/>
          <p:cNvSpPr>
            <a:spLocks noGrp="1"/>
          </p:cNvSpPr>
          <p:nvPr>
            <p:ph type="dt" sz="half" idx="10"/>
          </p:nvPr>
        </p:nvSpPr>
        <p:spPr/>
        <p:txBody>
          <a:bodyPr/>
          <a:lstStyle/>
          <a:p>
            <a:endParaRPr lang="nl-BE"/>
          </a:p>
        </p:txBody>
      </p:sp>
      <p:sp>
        <p:nvSpPr>
          <p:cNvPr id="5" name="Tijdelijke aanduiding voor voettekst 4"/>
          <p:cNvSpPr>
            <a:spLocks noGrp="1"/>
          </p:cNvSpPr>
          <p:nvPr>
            <p:ph type="ftr" sz="quarter" idx="11"/>
          </p:nvPr>
        </p:nvSpPr>
        <p:spPr/>
        <p:txBody>
          <a:bodyPr/>
          <a:lstStyle/>
          <a:p>
            <a:endParaRPr lang="nl-BE"/>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dirty="0"/>
          </a:p>
        </p:txBody>
      </p:sp>
      <p:sp>
        <p:nvSpPr>
          <p:cNvPr id="12" name="Tijdelijke aanduiding voor grafiek 11"/>
          <p:cNvSpPr>
            <a:spLocks noGrp="1"/>
          </p:cNvSpPr>
          <p:nvPr>
            <p:ph type="chart" sz="quarter" idx="13" hasCustomPrompt="1"/>
          </p:nvPr>
        </p:nvSpPr>
        <p:spPr>
          <a:xfrm>
            <a:off x="1583499" y="1989138"/>
            <a:ext cx="4319885" cy="3384550"/>
          </a:xfrm>
        </p:spPr>
        <p:txBody>
          <a:bodyPr lIns="90000"/>
          <a:lstStyle>
            <a:lvl1pPr marL="0" indent="0" algn="ctr">
              <a:buNone/>
              <a:defRPr/>
            </a:lvl1pPr>
          </a:lstStyle>
          <a:p>
            <a:r>
              <a:rPr lang="nl-BE" dirty="0"/>
              <a:t>CHART</a:t>
            </a:r>
          </a:p>
        </p:txBody>
      </p:sp>
      <p:sp>
        <p:nvSpPr>
          <p:cNvPr id="13" name="Tijdelijke aanduiding voor grafiek 11"/>
          <p:cNvSpPr>
            <a:spLocks noGrp="1"/>
          </p:cNvSpPr>
          <p:nvPr>
            <p:ph type="chart" sz="quarter" idx="14" hasCustomPrompt="1"/>
          </p:nvPr>
        </p:nvSpPr>
        <p:spPr>
          <a:xfrm>
            <a:off x="6288022" y="1989138"/>
            <a:ext cx="4319885" cy="3384550"/>
          </a:xfrm>
        </p:spPr>
        <p:txBody>
          <a:bodyPr lIns="90000"/>
          <a:lstStyle>
            <a:lvl1pPr marL="0" indent="0" algn="ctr">
              <a:buNone/>
              <a:defRPr/>
            </a:lvl1pPr>
          </a:lstStyle>
          <a:p>
            <a:r>
              <a:rPr lang="nl-BE" dirty="0"/>
              <a:t>CHART</a:t>
            </a:r>
          </a:p>
        </p:txBody>
      </p:sp>
    </p:spTree>
    <p:extLst>
      <p:ext uri="{BB962C8B-B14F-4D97-AF65-F5344CB8AC3E}">
        <p14:creationId xmlns:p14="http://schemas.microsoft.com/office/powerpoint/2010/main" val="47761215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4" name="Tijdelijke aanduiding voor datum 3"/>
          <p:cNvSpPr>
            <a:spLocks noGrp="1"/>
          </p:cNvSpPr>
          <p:nvPr>
            <p:ph type="dt" sz="half" idx="10"/>
          </p:nvPr>
        </p:nvSpPr>
        <p:spPr/>
        <p:txBody>
          <a:bodyPr/>
          <a:lstStyle/>
          <a:p>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jdelijke aanduiding voor grafiek 8"/>
          <p:cNvSpPr>
            <a:spLocks noGrp="1"/>
          </p:cNvSpPr>
          <p:nvPr>
            <p:ph type="chart" sz="quarter" idx="13" hasCustomPrompt="1"/>
          </p:nvPr>
        </p:nvSpPr>
        <p:spPr>
          <a:xfrm>
            <a:off x="1515533" y="2276476"/>
            <a:ext cx="2275417" cy="2232025"/>
          </a:xfrm>
        </p:spPr>
        <p:txBody>
          <a:bodyPr lIns="90000">
            <a:noAutofit/>
          </a:bodyPr>
          <a:lstStyle>
            <a:lvl1pPr marL="0" indent="0" algn="ctr">
              <a:buNone/>
              <a:defRPr sz="1200" b="1" spc="0"/>
            </a:lvl1pPr>
          </a:lstStyle>
          <a:p>
            <a:r>
              <a:rPr lang="nl-BE" dirty="0"/>
              <a:t>CHART</a:t>
            </a:r>
          </a:p>
        </p:txBody>
      </p:sp>
      <p:sp>
        <p:nvSpPr>
          <p:cNvPr id="11" name="Tijdelijke aanduiding voor grafiek 8"/>
          <p:cNvSpPr>
            <a:spLocks noGrp="1"/>
          </p:cNvSpPr>
          <p:nvPr>
            <p:ph type="chart" sz="quarter" idx="14" hasCustomPrompt="1"/>
          </p:nvPr>
        </p:nvSpPr>
        <p:spPr>
          <a:xfrm>
            <a:off x="3790950" y="2276476"/>
            <a:ext cx="2275417" cy="2232025"/>
          </a:xfrm>
        </p:spPr>
        <p:txBody>
          <a:bodyPr lIns="90000">
            <a:noAutofit/>
          </a:bodyPr>
          <a:lstStyle>
            <a:lvl1pPr marL="0" indent="0" algn="ctr">
              <a:buNone/>
              <a:defRPr sz="1200" b="1" spc="0"/>
            </a:lvl1pPr>
          </a:lstStyle>
          <a:p>
            <a:r>
              <a:rPr lang="nl-BE" dirty="0"/>
              <a:t>CHART</a:t>
            </a:r>
          </a:p>
        </p:txBody>
      </p:sp>
      <p:sp>
        <p:nvSpPr>
          <p:cNvPr id="12" name="Tijdelijke aanduiding voor grafiek 8"/>
          <p:cNvSpPr>
            <a:spLocks noGrp="1"/>
          </p:cNvSpPr>
          <p:nvPr>
            <p:ph type="chart" sz="quarter" idx="15" hasCustomPrompt="1"/>
          </p:nvPr>
        </p:nvSpPr>
        <p:spPr>
          <a:xfrm>
            <a:off x="6066368" y="2276476"/>
            <a:ext cx="2275417" cy="2232025"/>
          </a:xfrm>
        </p:spPr>
        <p:txBody>
          <a:bodyPr lIns="90000">
            <a:noAutofit/>
          </a:bodyPr>
          <a:lstStyle>
            <a:lvl1pPr marL="0" indent="0" algn="ctr">
              <a:buNone/>
              <a:defRPr sz="1200" b="1" spc="0"/>
            </a:lvl1pPr>
          </a:lstStyle>
          <a:p>
            <a:r>
              <a:rPr lang="nl-BE" dirty="0"/>
              <a:t>CHART</a:t>
            </a:r>
          </a:p>
        </p:txBody>
      </p:sp>
      <p:sp>
        <p:nvSpPr>
          <p:cNvPr id="13" name="Tijdelijke aanduiding voor grafiek 8"/>
          <p:cNvSpPr>
            <a:spLocks noGrp="1"/>
          </p:cNvSpPr>
          <p:nvPr>
            <p:ph type="chart" sz="quarter" idx="16" hasCustomPrompt="1"/>
          </p:nvPr>
        </p:nvSpPr>
        <p:spPr>
          <a:xfrm>
            <a:off x="8341785" y="2276476"/>
            <a:ext cx="2275417" cy="2232025"/>
          </a:xfrm>
        </p:spPr>
        <p:txBody>
          <a:bodyPr lIns="90000">
            <a:noAutofit/>
          </a:bodyPr>
          <a:lstStyle>
            <a:lvl1pPr marL="0" indent="0" algn="ctr">
              <a:buNone/>
              <a:defRPr sz="1200" b="1" spc="0"/>
            </a:lvl1pPr>
          </a:lstStyle>
          <a:p>
            <a:r>
              <a:rPr lang="nl-BE" dirty="0"/>
              <a:t>CHART</a:t>
            </a:r>
          </a:p>
        </p:txBody>
      </p:sp>
    </p:spTree>
    <p:extLst>
      <p:ext uri="{BB962C8B-B14F-4D97-AF65-F5344CB8AC3E}">
        <p14:creationId xmlns:p14="http://schemas.microsoft.com/office/powerpoint/2010/main" val="5069016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datum 2"/>
          <p:cNvSpPr>
            <a:spLocks noGrp="1"/>
          </p:cNvSpPr>
          <p:nvPr>
            <p:ph type="dt" sz="half" idx="10"/>
          </p:nvPr>
        </p:nvSpPr>
        <p:spPr/>
        <p:txBody>
          <a:bodyPr/>
          <a:lstStyle/>
          <a:p>
            <a:endParaRPr lang="nl-BE"/>
          </a:p>
        </p:txBody>
      </p:sp>
      <p:sp>
        <p:nvSpPr>
          <p:cNvPr id="4" name="Tijdelijke aanduiding voor voettekst 3"/>
          <p:cNvSpPr>
            <a:spLocks noGrp="1"/>
          </p:cNvSpPr>
          <p:nvPr>
            <p:ph type="ftr" sz="quarter" idx="11"/>
          </p:nvPr>
        </p:nvSpPr>
        <p:spPr/>
        <p:txBody>
          <a:bodyPr/>
          <a:lstStyle/>
          <a:p>
            <a:endParaRPr lang="nl-BE" dirty="0"/>
          </a:p>
        </p:txBody>
      </p:sp>
      <p:sp>
        <p:nvSpPr>
          <p:cNvPr id="5" name="Tijdelijke aanduiding voor dianummer 4"/>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8306905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inhoud 2"/>
          <p:cNvSpPr>
            <a:spLocks noGrp="1"/>
          </p:cNvSpPr>
          <p:nvPr>
            <p:ph idx="1" hasCustomPrompt="1"/>
          </p:nvPr>
        </p:nvSpPr>
        <p:spPr>
          <a:xfrm>
            <a:off x="609600" y="1623061"/>
            <a:ext cx="10972800" cy="452596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198966" y="6400801"/>
            <a:ext cx="917701" cy="276224"/>
          </a:xfrm>
        </p:spPr>
        <p:txBody>
          <a:bodyPr/>
          <a:lstStyle/>
          <a:p>
            <a:fld id="{A5BF5FAA-1273-48C9-A418-A52A86AE5014}"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Tree>
    <p:extLst>
      <p:ext uri="{BB962C8B-B14F-4D97-AF65-F5344CB8AC3E}">
        <p14:creationId xmlns:p14="http://schemas.microsoft.com/office/powerpoint/2010/main" val="35840508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Aangepaste indeling">
    <p:spTree>
      <p:nvGrpSpPr>
        <p:cNvPr id="1" name=""/>
        <p:cNvGrpSpPr/>
        <p:nvPr/>
      </p:nvGrpSpPr>
      <p:grpSpPr>
        <a:xfrm>
          <a:off x="0" y="0"/>
          <a:ext cx="0" cy="0"/>
          <a:chOff x="0" y="0"/>
          <a:chExt cx="0" cy="0"/>
        </a:xfrm>
      </p:grpSpPr>
      <p:sp>
        <p:nvSpPr>
          <p:cNvPr id="2" name="Tijdelijke aanduiding voor datum 2"/>
          <p:cNvSpPr>
            <a:spLocks noGrp="1"/>
          </p:cNvSpPr>
          <p:nvPr>
            <p:ph type="dt" sz="half" idx="10"/>
          </p:nvPr>
        </p:nvSpPr>
        <p:spPr>
          <a:xfrm>
            <a:off x="1199456" y="6400801"/>
            <a:ext cx="917211" cy="276224"/>
          </a:xfrm>
        </p:spPr>
        <p:txBody>
          <a:bodyPr/>
          <a:lstStyle/>
          <a:p>
            <a:endParaRPr lang="nl-BE"/>
          </a:p>
        </p:txBody>
      </p:sp>
      <p:sp>
        <p:nvSpPr>
          <p:cNvPr id="3" name="Tijdelijke aanduiding voor voettekst 3"/>
          <p:cNvSpPr>
            <a:spLocks noGrp="1"/>
          </p:cNvSpPr>
          <p:nvPr>
            <p:ph type="ftr" sz="quarter" idx="11"/>
          </p:nvPr>
        </p:nvSpPr>
        <p:spPr>
          <a:xfrm>
            <a:off x="2116667" y="6400801"/>
            <a:ext cx="8313605" cy="276224"/>
          </a:xfrm>
        </p:spPr>
        <p:txBody>
          <a:bodyPr/>
          <a:lstStyle/>
          <a:p>
            <a:endParaRPr lang="nl-BE" dirty="0"/>
          </a:p>
        </p:txBody>
      </p:sp>
      <p:sp>
        <p:nvSpPr>
          <p:cNvPr id="4" name="Tijdelijke aanduiding voor dianummer 4"/>
          <p:cNvSpPr>
            <a:spLocks noGrp="1"/>
          </p:cNvSpPr>
          <p:nvPr>
            <p:ph type="sldNum" sz="quarter" idx="12"/>
          </p:nvPr>
        </p:nvSpPr>
        <p:spPr>
          <a:xfrm>
            <a:off x="609600" y="6400801"/>
            <a:ext cx="589856" cy="276224"/>
          </a:xfrm>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348930300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Aangepaste indeling">
    <p:bg>
      <p:bgPr>
        <a:solidFill>
          <a:srgbClr val="C62B37"/>
        </a:solidFill>
        <a:effectLst/>
      </p:bgPr>
    </p:bg>
    <p:spTree>
      <p:nvGrpSpPr>
        <p:cNvPr id="1" name=""/>
        <p:cNvGrpSpPr/>
        <p:nvPr/>
      </p:nvGrpSpPr>
      <p:grpSpPr>
        <a:xfrm>
          <a:off x="0" y="0"/>
          <a:ext cx="0" cy="0"/>
          <a:chOff x="0" y="0"/>
          <a:chExt cx="0" cy="0"/>
        </a:xfrm>
      </p:grpSpPr>
      <p:sp>
        <p:nvSpPr>
          <p:cNvPr id="7" name="Rechthoek 6"/>
          <p:cNvSpPr/>
          <p:nvPr userDrawn="1"/>
        </p:nvSpPr>
        <p:spPr>
          <a:xfrm>
            <a:off x="0" y="5429250"/>
            <a:ext cx="12192000" cy="142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8" name="Tekstvak 7"/>
          <p:cNvSpPr txBox="1"/>
          <p:nvPr userDrawn="1"/>
        </p:nvSpPr>
        <p:spPr>
          <a:xfrm>
            <a:off x="555786" y="6003410"/>
            <a:ext cx="3076483" cy="461665"/>
          </a:xfrm>
          <a:prstGeom prst="rect">
            <a:avLst/>
          </a:prstGeom>
          <a:noFill/>
        </p:spPr>
        <p:txBody>
          <a:bodyPr wrap="none" rtlCol="0">
            <a:spAutoFit/>
          </a:bodyPr>
          <a:lstStyle/>
          <a:p>
            <a:r>
              <a:rPr lang="en-GB" sz="800" b="1" dirty="0"/>
              <a:t>Federatie van de Belgische Elektriciteits- en Gasbedrijven </a:t>
            </a:r>
          </a:p>
          <a:p>
            <a:r>
              <a:rPr lang="en-GB" sz="800" b="1" dirty="0"/>
              <a:t>Fédération Belge des Entreprises Électriques et Gazières</a:t>
            </a:r>
          </a:p>
          <a:p>
            <a:r>
              <a:rPr lang="en-GB" sz="800" b="1" dirty="0"/>
              <a:t>Federation of Belgian Electricity and Gas Companies</a:t>
            </a:r>
          </a:p>
        </p:txBody>
      </p:sp>
      <p:pic>
        <p:nvPicPr>
          <p:cNvPr id="5" name="Picture 22" descr="C:\4PPS\2015\Typographics\Febeg 01\_USE\FEBEG_Q.png">
            <a:extLst>
              <a:ext uri="{FF2B5EF4-FFF2-40B4-BE49-F238E27FC236}">
                <a16:creationId xmlns:a16="http://schemas.microsoft.com/office/drawing/2014/main" id="{97FA4974-3AEB-436C-8C1A-F4B58987F16E}"/>
              </a:ext>
            </a:extLst>
          </p:cNvPr>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a:ext>
            </a:extLst>
          </a:blip>
          <a:srcRect l="62995" t="32777" b="6087"/>
          <a:stretch/>
        </p:blipFill>
        <p:spPr bwMode="auto">
          <a:xfrm>
            <a:off x="0" y="-1"/>
            <a:ext cx="8528640" cy="685800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88902342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Aangepaste indeling">
    <p:bg>
      <p:bgPr>
        <a:solidFill>
          <a:srgbClr val="C62B37"/>
        </a:solidFill>
        <a:effectLst/>
      </p:bgPr>
    </p:bg>
    <p:spTree>
      <p:nvGrpSpPr>
        <p:cNvPr id="1" name=""/>
        <p:cNvGrpSpPr/>
        <p:nvPr/>
      </p:nvGrpSpPr>
      <p:grpSpPr>
        <a:xfrm>
          <a:off x="0" y="0"/>
          <a:ext cx="0" cy="0"/>
          <a:chOff x="0" y="0"/>
          <a:chExt cx="0" cy="0"/>
        </a:xfrm>
      </p:grpSpPr>
      <p:sp>
        <p:nvSpPr>
          <p:cNvPr id="7" name="Rechthoek 6"/>
          <p:cNvSpPr/>
          <p:nvPr userDrawn="1"/>
        </p:nvSpPr>
        <p:spPr>
          <a:xfrm>
            <a:off x="0" y="5429250"/>
            <a:ext cx="12192000" cy="142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5" name="Picture 22" descr="C:\4PPS\2015\Typographics\Febeg 01\_USE\FEBEG_Q.png">
            <a:extLst>
              <a:ext uri="{FF2B5EF4-FFF2-40B4-BE49-F238E27FC236}">
                <a16:creationId xmlns:a16="http://schemas.microsoft.com/office/drawing/2014/main" id="{20A7C618-217D-4985-909A-8DAE2D250DAA}"/>
              </a:ext>
            </a:extLst>
          </p:cNvPr>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a:ext>
            </a:extLst>
          </a:blip>
          <a:srcRect l="90734" t="32777" b="6087"/>
          <a:stretch/>
        </p:blipFill>
        <p:spPr bwMode="auto">
          <a:xfrm>
            <a:off x="0" y="-1"/>
            <a:ext cx="2135460" cy="6858001"/>
          </a:xfrm>
          <a:prstGeom prst="rect">
            <a:avLst/>
          </a:prstGeom>
          <a:noFill/>
          <a:extLst>
            <a:ext uri="{909E8E84-426E-40dd-AFC4-6F175D3DCCD1}">
              <a14:hiddenFill xmlns="" xmlns:a14="http://schemas.microsoft.com/office/drawing/2010/main">
                <a:solidFill>
                  <a:srgbClr val="FFFFFF"/>
                </a:solidFill>
              </a14:hiddenFill>
            </a:ext>
          </a:extLst>
        </p:spPr>
      </p:pic>
      <p:sp>
        <p:nvSpPr>
          <p:cNvPr id="8" name="Tekstvak 7"/>
          <p:cNvSpPr txBox="1"/>
          <p:nvPr userDrawn="1"/>
        </p:nvSpPr>
        <p:spPr>
          <a:xfrm>
            <a:off x="555786" y="6003410"/>
            <a:ext cx="3076483" cy="461665"/>
          </a:xfrm>
          <a:prstGeom prst="rect">
            <a:avLst/>
          </a:prstGeom>
          <a:noFill/>
        </p:spPr>
        <p:txBody>
          <a:bodyPr wrap="none" rtlCol="0">
            <a:spAutoFit/>
          </a:bodyPr>
          <a:lstStyle/>
          <a:p>
            <a:r>
              <a:rPr lang="en-GB" sz="800" b="1" dirty="0"/>
              <a:t>Federatie van de Belgische Elektriciteits- en Gasbedrijven </a:t>
            </a:r>
          </a:p>
          <a:p>
            <a:r>
              <a:rPr lang="en-GB" sz="800" b="1" dirty="0"/>
              <a:t>Fédération Belge des Entreprises Électriques et Gazières</a:t>
            </a:r>
          </a:p>
          <a:p>
            <a:r>
              <a:rPr lang="en-GB" sz="800" b="1" dirty="0"/>
              <a:t>Federation of Belgian Electricity and Gas Companies</a:t>
            </a:r>
          </a:p>
        </p:txBody>
      </p:sp>
    </p:spTree>
    <p:extLst>
      <p:ext uri="{BB962C8B-B14F-4D97-AF65-F5344CB8AC3E}">
        <p14:creationId xmlns:p14="http://schemas.microsoft.com/office/powerpoint/2010/main" val="8092401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pic>
        <p:nvPicPr>
          <p:cNvPr id="71" name="Picture 70" descr="http://www.febeg.be/Objects/1/Images/LogoEneco.jpg">
            <a:hlinkClick r:id="rId2"/>
            <a:extLst>
              <a:ext uri="{FF2B5EF4-FFF2-40B4-BE49-F238E27FC236}">
                <a16:creationId xmlns:a16="http://schemas.microsoft.com/office/drawing/2014/main" id="{8290F04A-5544-49D0-BA5A-DCDF56A6B08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10776" y="2079364"/>
            <a:ext cx="1664526" cy="40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71">
            <a:extLst>
              <a:ext uri="{FF2B5EF4-FFF2-40B4-BE49-F238E27FC236}">
                <a16:creationId xmlns:a16="http://schemas.microsoft.com/office/drawing/2014/main" id="{65AFBDB2-C2EE-46B9-9606-4344938B122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235126" y="1880005"/>
            <a:ext cx="898642" cy="563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72">
            <a:extLst>
              <a:ext uri="{FF2B5EF4-FFF2-40B4-BE49-F238E27FC236}">
                <a16:creationId xmlns:a16="http://schemas.microsoft.com/office/drawing/2014/main" id="{DD3F732A-BF8A-4216-AD4E-6D243155900C}"/>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527434" y="2997913"/>
            <a:ext cx="430931" cy="5350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73">
            <a:extLst>
              <a:ext uri="{FF2B5EF4-FFF2-40B4-BE49-F238E27FC236}">
                <a16:creationId xmlns:a16="http://schemas.microsoft.com/office/drawing/2014/main" id="{A81E4CA1-B66A-4B4E-927B-8B07C41EBB7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582166" y="4507686"/>
            <a:ext cx="1569860" cy="85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Picture 74">
            <a:extLst>
              <a:ext uri="{FF2B5EF4-FFF2-40B4-BE49-F238E27FC236}">
                <a16:creationId xmlns:a16="http://schemas.microsoft.com/office/drawing/2014/main" id="{21D8A6DB-80C3-4064-A5D7-19FADBB34D8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367096" y="1901885"/>
            <a:ext cx="1311027" cy="708479"/>
          </a:xfrm>
          <a:prstGeom prst="rect">
            <a:avLst/>
          </a:prstGeom>
        </p:spPr>
      </p:pic>
      <p:pic>
        <p:nvPicPr>
          <p:cNvPr id="76" name="Picture 75">
            <a:extLst>
              <a:ext uri="{FF2B5EF4-FFF2-40B4-BE49-F238E27FC236}">
                <a16:creationId xmlns:a16="http://schemas.microsoft.com/office/drawing/2014/main" id="{9EB02DE0-07D4-4E5F-B1D4-7AFCD867AAA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312959" y="1963362"/>
            <a:ext cx="993250" cy="604641"/>
          </a:xfrm>
          <a:prstGeom prst="rect">
            <a:avLst/>
          </a:prstGeom>
        </p:spPr>
      </p:pic>
      <p:pic>
        <p:nvPicPr>
          <p:cNvPr id="77" name="Picture 76">
            <a:extLst>
              <a:ext uri="{FF2B5EF4-FFF2-40B4-BE49-F238E27FC236}">
                <a16:creationId xmlns:a16="http://schemas.microsoft.com/office/drawing/2014/main" id="{9D33F26D-245E-41B9-9F71-7C66ED2DFA9F}"/>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09519" y="855596"/>
            <a:ext cx="1752923" cy="646121"/>
          </a:xfrm>
          <a:prstGeom prst="rect">
            <a:avLst/>
          </a:prstGeom>
        </p:spPr>
      </p:pic>
      <p:pic>
        <p:nvPicPr>
          <p:cNvPr id="78" name="Picture 77">
            <a:extLst>
              <a:ext uri="{FF2B5EF4-FFF2-40B4-BE49-F238E27FC236}">
                <a16:creationId xmlns:a16="http://schemas.microsoft.com/office/drawing/2014/main" id="{256D280A-6610-4657-AD92-A6A8065F8004}"/>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879894" y="4116559"/>
            <a:ext cx="1391101" cy="231632"/>
          </a:xfrm>
          <a:prstGeom prst="rect">
            <a:avLst/>
          </a:prstGeom>
        </p:spPr>
      </p:pic>
      <p:pic>
        <p:nvPicPr>
          <p:cNvPr id="79" name="Picture 78">
            <a:extLst>
              <a:ext uri="{FF2B5EF4-FFF2-40B4-BE49-F238E27FC236}">
                <a16:creationId xmlns:a16="http://schemas.microsoft.com/office/drawing/2014/main" id="{DE11E69A-90AB-4A16-8D90-EB0358E3B6CA}"/>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857098" y="4865253"/>
            <a:ext cx="1322227" cy="376882"/>
          </a:xfrm>
          <a:prstGeom prst="rect">
            <a:avLst/>
          </a:prstGeom>
        </p:spPr>
      </p:pic>
      <p:pic>
        <p:nvPicPr>
          <p:cNvPr id="80" name="Picture 79">
            <a:extLst>
              <a:ext uri="{FF2B5EF4-FFF2-40B4-BE49-F238E27FC236}">
                <a16:creationId xmlns:a16="http://schemas.microsoft.com/office/drawing/2014/main" id="{331FAF10-747A-40C7-9222-F7A2F69EEC67}"/>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092921" y="953379"/>
            <a:ext cx="1317523" cy="696482"/>
          </a:xfrm>
          <a:prstGeom prst="rect">
            <a:avLst/>
          </a:prstGeom>
        </p:spPr>
      </p:pic>
      <p:pic>
        <p:nvPicPr>
          <p:cNvPr id="81" name="Picture 80">
            <a:extLst>
              <a:ext uri="{FF2B5EF4-FFF2-40B4-BE49-F238E27FC236}">
                <a16:creationId xmlns:a16="http://schemas.microsoft.com/office/drawing/2014/main" id="{5CF70C5A-5CF4-4844-A806-DB0241B45B78}"/>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64529" y="3893706"/>
            <a:ext cx="1215602" cy="501314"/>
          </a:xfrm>
          <a:prstGeom prst="rect">
            <a:avLst/>
          </a:prstGeom>
        </p:spPr>
      </p:pic>
      <p:pic>
        <p:nvPicPr>
          <p:cNvPr id="82" name="Picture 81">
            <a:extLst>
              <a:ext uri="{FF2B5EF4-FFF2-40B4-BE49-F238E27FC236}">
                <a16:creationId xmlns:a16="http://schemas.microsoft.com/office/drawing/2014/main" id="{5892ACAE-F317-437D-8275-A8DF0145FE1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45397" y="2878914"/>
            <a:ext cx="1343060" cy="671531"/>
          </a:xfrm>
          <a:prstGeom prst="rect">
            <a:avLst/>
          </a:prstGeom>
        </p:spPr>
      </p:pic>
      <p:pic>
        <p:nvPicPr>
          <p:cNvPr id="83" name="Picture 82">
            <a:extLst>
              <a:ext uri="{FF2B5EF4-FFF2-40B4-BE49-F238E27FC236}">
                <a16:creationId xmlns:a16="http://schemas.microsoft.com/office/drawing/2014/main" id="{EDAFED45-1E4B-4010-A4BE-E00F900692A1}"/>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6898090" y="1081167"/>
            <a:ext cx="1419902" cy="377162"/>
          </a:xfrm>
          <a:prstGeom prst="rect">
            <a:avLst/>
          </a:prstGeom>
        </p:spPr>
      </p:pic>
      <p:pic>
        <p:nvPicPr>
          <p:cNvPr id="84" name="Picture 83">
            <a:extLst>
              <a:ext uri="{FF2B5EF4-FFF2-40B4-BE49-F238E27FC236}">
                <a16:creationId xmlns:a16="http://schemas.microsoft.com/office/drawing/2014/main" id="{B96B765B-6801-436A-94AD-5BF7D89024C3}"/>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718925" y="1067263"/>
            <a:ext cx="1652623" cy="446209"/>
          </a:xfrm>
          <a:prstGeom prst="rect">
            <a:avLst/>
          </a:prstGeom>
        </p:spPr>
      </p:pic>
      <p:pic>
        <p:nvPicPr>
          <p:cNvPr id="85" name="Picture 84">
            <a:extLst>
              <a:ext uri="{FF2B5EF4-FFF2-40B4-BE49-F238E27FC236}">
                <a16:creationId xmlns:a16="http://schemas.microsoft.com/office/drawing/2014/main" id="{7E0EA5CD-3495-4F82-AE21-369AEAFB1CF7}"/>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388457" y="2727404"/>
            <a:ext cx="1606648" cy="972489"/>
          </a:xfrm>
          <a:prstGeom prst="rect">
            <a:avLst/>
          </a:prstGeom>
        </p:spPr>
      </p:pic>
      <p:pic>
        <p:nvPicPr>
          <p:cNvPr id="86" name="Picture 85">
            <a:extLst>
              <a:ext uri="{FF2B5EF4-FFF2-40B4-BE49-F238E27FC236}">
                <a16:creationId xmlns:a16="http://schemas.microsoft.com/office/drawing/2014/main" id="{BAB739FA-5E4F-4EAA-92F8-866C6AE619B7}"/>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3896478" y="2817936"/>
            <a:ext cx="1607115" cy="972772"/>
          </a:xfrm>
          <a:prstGeom prst="rect">
            <a:avLst/>
          </a:prstGeom>
        </p:spPr>
      </p:pic>
      <p:pic>
        <p:nvPicPr>
          <p:cNvPr id="87" name="Picture 86">
            <a:extLst>
              <a:ext uri="{FF2B5EF4-FFF2-40B4-BE49-F238E27FC236}">
                <a16:creationId xmlns:a16="http://schemas.microsoft.com/office/drawing/2014/main" id="{C2D5D3AC-5D07-482E-9662-8CF1F4CE0B7B}"/>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5840589" y="3092779"/>
            <a:ext cx="1251755" cy="432260"/>
          </a:xfrm>
          <a:prstGeom prst="rect">
            <a:avLst/>
          </a:prstGeom>
        </p:spPr>
      </p:pic>
      <p:pic>
        <p:nvPicPr>
          <p:cNvPr id="88" name="Picture 87">
            <a:extLst>
              <a:ext uri="{FF2B5EF4-FFF2-40B4-BE49-F238E27FC236}">
                <a16:creationId xmlns:a16="http://schemas.microsoft.com/office/drawing/2014/main" id="{9844EA48-10BB-4E2C-8B9D-C1ABBAE1AF37}"/>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7708073" y="1814286"/>
            <a:ext cx="1249972" cy="883675"/>
          </a:xfrm>
          <a:prstGeom prst="rect">
            <a:avLst/>
          </a:prstGeom>
        </p:spPr>
      </p:pic>
      <p:pic>
        <p:nvPicPr>
          <p:cNvPr id="89" name="Picture 88">
            <a:extLst>
              <a:ext uri="{FF2B5EF4-FFF2-40B4-BE49-F238E27FC236}">
                <a16:creationId xmlns:a16="http://schemas.microsoft.com/office/drawing/2014/main" id="{F6FD9DCC-2366-44C3-95A4-7027476A657B}"/>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6783296" y="1928731"/>
            <a:ext cx="830168" cy="578792"/>
          </a:xfrm>
          <a:prstGeom prst="rect">
            <a:avLst/>
          </a:prstGeom>
        </p:spPr>
      </p:pic>
      <p:pic>
        <p:nvPicPr>
          <p:cNvPr id="90" name="Picture 89">
            <a:extLst>
              <a:ext uri="{FF2B5EF4-FFF2-40B4-BE49-F238E27FC236}">
                <a16:creationId xmlns:a16="http://schemas.microsoft.com/office/drawing/2014/main" id="{D69EABF9-7613-43BF-93BD-2DED12D44998}"/>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4517977" y="4085721"/>
            <a:ext cx="1507344" cy="297223"/>
          </a:xfrm>
          <a:prstGeom prst="rect">
            <a:avLst/>
          </a:prstGeom>
        </p:spPr>
      </p:pic>
      <p:pic>
        <p:nvPicPr>
          <p:cNvPr id="91" name="Picture 90">
            <a:extLst>
              <a:ext uri="{FF2B5EF4-FFF2-40B4-BE49-F238E27FC236}">
                <a16:creationId xmlns:a16="http://schemas.microsoft.com/office/drawing/2014/main" id="{F2272C0A-8F10-4629-8909-47DFF812DE40}"/>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2893880" y="3572176"/>
            <a:ext cx="1222927" cy="1066888"/>
          </a:xfrm>
          <a:prstGeom prst="rect">
            <a:avLst/>
          </a:prstGeom>
        </p:spPr>
      </p:pic>
      <p:pic>
        <p:nvPicPr>
          <p:cNvPr id="92" name="Picture 91">
            <a:extLst>
              <a:ext uri="{FF2B5EF4-FFF2-40B4-BE49-F238E27FC236}">
                <a16:creationId xmlns:a16="http://schemas.microsoft.com/office/drawing/2014/main" id="{B91009A4-C385-412E-A888-BBE1B7EE01AC}"/>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075376" y="4801233"/>
            <a:ext cx="1126653" cy="367603"/>
          </a:xfrm>
          <a:prstGeom prst="rect">
            <a:avLst/>
          </a:prstGeom>
        </p:spPr>
      </p:pic>
      <p:pic>
        <p:nvPicPr>
          <p:cNvPr id="93" name="Picture 92">
            <a:extLst>
              <a:ext uri="{FF2B5EF4-FFF2-40B4-BE49-F238E27FC236}">
                <a16:creationId xmlns:a16="http://schemas.microsoft.com/office/drawing/2014/main" id="{7DF1D22D-D6E9-4E66-934B-DDF0774CDEBD}"/>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6610262" y="4732375"/>
            <a:ext cx="1558072" cy="505321"/>
          </a:xfrm>
          <a:prstGeom prst="rect">
            <a:avLst/>
          </a:prstGeom>
        </p:spPr>
      </p:pic>
      <p:pic>
        <p:nvPicPr>
          <p:cNvPr id="94" name="Picture 93">
            <a:extLst>
              <a:ext uri="{FF2B5EF4-FFF2-40B4-BE49-F238E27FC236}">
                <a16:creationId xmlns:a16="http://schemas.microsoft.com/office/drawing/2014/main" id="{9F1C5DCF-C9D0-4DBC-BC13-F9554397A833}"/>
              </a:ext>
            </a:extLst>
          </p:cNvPr>
          <p:cNvPicPr>
            <a:picLocks noChangeAspect="1" noChangeArrowheads="1"/>
          </p:cNvPicPr>
          <p:nvPr userDrawn="1"/>
        </p:nvPicPr>
        <p:blipFill>
          <a:blip r:embed="rId26">
            <a:extLst>
              <a:ext uri="{28A0092B-C50C-407E-A947-70E740481C1C}">
                <a14:useLocalDpi xmlns:a14="http://schemas.microsoft.com/office/drawing/2010/main" val="0"/>
              </a:ext>
            </a:extLst>
          </a:blip>
          <a:srcRect/>
          <a:stretch>
            <a:fillRect/>
          </a:stretch>
        </p:blipFill>
        <p:spPr bwMode="auto">
          <a:xfrm>
            <a:off x="8573140" y="5506840"/>
            <a:ext cx="2153360" cy="52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5" name="Picture 94">
            <a:extLst>
              <a:ext uri="{FF2B5EF4-FFF2-40B4-BE49-F238E27FC236}">
                <a16:creationId xmlns:a16="http://schemas.microsoft.com/office/drawing/2014/main" id="{1D9F20F2-9294-45CE-9AF1-59879A02CCA1}"/>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6951147" y="4997009"/>
            <a:ext cx="1448159" cy="1448159"/>
          </a:xfrm>
          <a:prstGeom prst="rect">
            <a:avLst/>
          </a:prstGeom>
        </p:spPr>
      </p:pic>
      <p:pic>
        <p:nvPicPr>
          <p:cNvPr id="96" name="Picture 95">
            <a:extLst>
              <a:ext uri="{FF2B5EF4-FFF2-40B4-BE49-F238E27FC236}">
                <a16:creationId xmlns:a16="http://schemas.microsoft.com/office/drawing/2014/main" id="{3A4448B7-C87A-4F20-833E-D1AFE237FED6}"/>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4793578" y="5708641"/>
            <a:ext cx="1420029" cy="344864"/>
          </a:xfrm>
          <a:prstGeom prst="rect">
            <a:avLst/>
          </a:prstGeom>
        </p:spPr>
      </p:pic>
      <p:pic>
        <p:nvPicPr>
          <p:cNvPr id="97" name="Picture 96">
            <a:extLst>
              <a:ext uri="{FF2B5EF4-FFF2-40B4-BE49-F238E27FC236}">
                <a16:creationId xmlns:a16="http://schemas.microsoft.com/office/drawing/2014/main" id="{1F00AFC9-AB63-4868-9E8F-34A3047D9F6D}"/>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2857098" y="5640900"/>
            <a:ext cx="1448159" cy="443500"/>
          </a:xfrm>
          <a:prstGeom prst="rect">
            <a:avLst/>
          </a:prstGeom>
        </p:spPr>
      </p:pic>
      <p:pic>
        <p:nvPicPr>
          <p:cNvPr id="98" name="Picture 97" descr="A close up of a logo&#10;&#10;Description automatically generated">
            <a:extLst>
              <a:ext uri="{FF2B5EF4-FFF2-40B4-BE49-F238E27FC236}">
                <a16:creationId xmlns:a16="http://schemas.microsoft.com/office/drawing/2014/main" id="{7384D210-ECEB-4D49-B600-21119745E31B}"/>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9019066" y="4865253"/>
            <a:ext cx="982816" cy="239561"/>
          </a:xfrm>
          <a:prstGeom prst="rect">
            <a:avLst/>
          </a:prstGeom>
        </p:spPr>
      </p:pic>
      <p:pic>
        <p:nvPicPr>
          <p:cNvPr id="99" name="Picture 98" descr="Logo, company name&#10;&#10;Description automatically generated">
            <a:extLst>
              <a:ext uri="{FF2B5EF4-FFF2-40B4-BE49-F238E27FC236}">
                <a16:creationId xmlns:a16="http://schemas.microsoft.com/office/drawing/2014/main" id="{86E7FE65-2E57-435C-9743-DECB820D229E}"/>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8879251" y="4047421"/>
            <a:ext cx="1228122" cy="377884"/>
          </a:xfrm>
          <a:prstGeom prst="rect">
            <a:avLst/>
          </a:prstGeom>
        </p:spPr>
      </p:pic>
      <p:pic>
        <p:nvPicPr>
          <p:cNvPr id="100" name="Picture 99" descr="A green and white sign&#10;&#10;Description automatically generated with low confidence">
            <a:extLst>
              <a:ext uri="{FF2B5EF4-FFF2-40B4-BE49-F238E27FC236}">
                <a16:creationId xmlns:a16="http://schemas.microsoft.com/office/drawing/2014/main" id="{0D2D3CD2-027B-4F22-BFA7-384065783B93}"/>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8573140" y="2937996"/>
            <a:ext cx="1504228" cy="671531"/>
          </a:xfrm>
          <a:prstGeom prst="rect">
            <a:avLst/>
          </a:prstGeom>
        </p:spPr>
      </p:pic>
      <p:pic>
        <p:nvPicPr>
          <p:cNvPr id="101" name="Picture 100" descr="Logo&#10;&#10;Description automatically generated">
            <a:extLst>
              <a:ext uri="{FF2B5EF4-FFF2-40B4-BE49-F238E27FC236}">
                <a16:creationId xmlns:a16="http://schemas.microsoft.com/office/drawing/2014/main" id="{91CE132B-9F25-4271-B33C-B8C0190F7AB0}"/>
              </a:ext>
            </a:extLst>
          </p:cNvPr>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1187443" y="5431164"/>
            <a:ext cx="1014586" cy="720587"/>
          </a:xfrm>
          <a:prstGeom prst="rect">
            <a:avLst/>
          </a:prstGeom>
        </p:spPr>
      </p:pic>
      <p:pic>
        <p:nvPicPr>
          <p:cNvPr id="102" name="Picture 101" descr="A picture containing text&#10;&#10;Description automatically generated">
            <a:extLst>
              <a:ext uri="{FF2B5EF4-FFF2-40B4-BE49-F238E27FC236}">
                <a16:creationId xmlns:a16="http://schemas.microsoft.com/office/drawing/2014/main" id="{8A738452-4BBE-4FEF-95EE-67892EEAC465}"/>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8722257" y="971488"/>
            <a:ext cx="1205994" cy="678373"/>
          </a:xfrm>
          <a:prstGeom prst="rect">
            <a:avLst/>
          </a:prstGeom>
        </p:spPr>
      </p:pic>
      <p:pic>
        <p:nvPicPr>
          <p:cNvPr id="103" name="Picture 102" descr="A green and white sign&#10;&#10;Description automatically generated with medium confidence">
            <a:extLst>
              <a:ext uri="{FF2B5EF4-FFF2-40B4-BE49-F238E27FC236}">
                <a16:creationId xmlns:a16="http://schemas.microsoft.com/office/drawing/2014/main" id="{17ECF44D-B174-4554-96F0-CEA4E4E47048}"/>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2626166" y="2027884"/>
            <a:ext cx="1455612" cy="440445"/>
          </a:xfrm>
          <a:prstGeom prst="rect">
            <a:avLst/>
          </a:prstGeom>
        </p:spPr>
      </p:pic>
    </p:spTree>
    <p:extLst>
      <p:ext uri="{BB962C8B-B14F-4D97-AF65-F5344CB8AC3E}">
        <p14:creationId xmlns:p14="http://schemas.microsoft.com/office/powerpoint/2010/main" val="15560780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partners">
    <p:spTree>
      <p:nvGrpSpPr>
        <p:cNvPr id="1" name=""/>
        <p:cNvGrpSpPr/>
        <p:nvPr/>
      </p:nvGrpSpPr>
      <p:grpSpPr>
        <a:xfrm>
          <a:off x="0" y="0"/>
          <a:ext cx="0" cy="0"/>
          <a:chOff x="0" y="0"/>
          <a:chExt cx="0" cy="0"/>
        </a:xfrm>
      </p:grpSpPr>
      <p:sp>
        <p:nvSpPr>
          <p:cNvPr id="2" name="Tekstvak 1"/>
          <p:cNvSpPr txBox="1"/>
          <p:nvPr userDrawn="1"/>
        </p:nvSpPr>
        <p:spPr>
          <a:xfrm>
            <a:off x="6671734" y="6762750"/>
            <a:ext cx="184731" cy="369332"/>
          </a:xfrm>
          <a:prstGeom prst="rect">
            <a:avLst/>
          </a:prstGeom>
          <a:noFill/>
        </p:spPr>
        <p:txBody>
          <a:bodyPr wrap="none" rtlCol="0">
            <a:spAutoFit/>
          </a:bodyPr>
          <a:lstStyle/>
          <a:p>
            <a:endParaRPr lang="nl-NL" sz="1800" dirty="0"/>
          </a:p>
        </p:txBody>
      </p:sp>
      <p:pic>
        <p:nvPicPr>
          <p:cNvPr id="4" name="Afbeelding 2">
            <a:extLst>
              <a:ext uri="{FF2B5EF4-FFF2-40B4-BE49-F238E27FC236}">
                <a16:creationId xmlns:a16="http://schemas.microsoft.com/office/drawing/2014/main" id="{1D421EB7-6EB9-4C0C-976C-BCE3197F09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1205" y="2636912"/>
            <a:ext cx="8149590" cy="3589020"/>
          </a:xfrm>
          <a:prstGeom prst="rect">
            <a:avLst/>
          </a:prstGeom>
          <a:solidFill>
            <a:schemeClr val="bg1"/>
          </a:solidFill>
        </p:spPr>
      </p:pic>
    </p:spTree>
    <p:extLst>
      <p:ext uri="{BB962C8B-B14F-4D97-AF65-F5344CB8AC3E}">
        <p14:creationId xmlns:p14="http://schemas.microsoft.com/office/powerpoint/2010/main" val="343335755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partners">
    <p:bg>
      <p:bgPr>
        <a:solidFill>
          <a:schemeClr val="accent1"/>
        </a:solidFill>
        <a:effectLst/>
      </p:bgPr>
    </p:bg>
    <p:spTree>
      <p:nvGrpSpPr>
        <p:cNvPr id="1" name=""/>
        <p:cNvGrpSpPr/>
        <p:nvPr/>
      </p:nvGrpSpPr>
      <p:grpSpPr>
        <a:xfrm>
          <a:off x="0" y="0"/>
          <a:ext cx="0" cy="0"/>
          <a:chOff x="0" y="0"/>
          <a:chExt cx="0" cy="0"/>
        </a:xfrm>
      </p:grpSpPr>
      <p:pic>
        <p:nvPicPr>
          <p:cNvPr id="3" name="Afbeelding 4" descr="LOGO_LINES.eps">
            <a:extLst>
              <a:ext uri="{FF2B5EF4-FFF2-40B4-BE49-F238E27FC236}">
                <a16:creationId xmlns:a16="http://schemas.microsoft.com/office/drawing/2014/main" id="{BAD6A92A-0DFF-4BC7-93D4-D345929B07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1205" y="2636912"/>
            <a:ext cx="8149590" cy="3589020"/>
          </a:xfrm>
          <a:prstGeom prst="rect">
            <a:avLst/>
          </a:prstGeom>
        </p:spPr>
      </p:pic>
    </p:spTree>
    <p:extLst>
      <p:ext uri="{BB962C8B-B14F-4D97-AF65-F5344CB8AC3E}">
        <p14:creationId xmlns:p14="http://schemas.microsoft.com/office/powerpoint/2010/main" val="85641984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609600" y="730560"/>
            <a:ext cx="10972800" cy="565200"/>
          </a:xfrm>
        </p:spPr>
        <p:txBody>
          <a:bodyPr/>
          <a:lstStyle/>
          <a:p>
            <a:r>
              <a:rPr lang="en-US" dirty="0"/>
              <a:t>This is the title of the subject on this page</a:t>
            </a:r>
            <a:endParaRPr lang="nl-BE" dirty="0"/>
          </a:p>
        </p:txBody>
      </p:sp>
      <p:sp>
        <p:nvSpPr>
          <p:cNvPr id="7" name="Tijdelijke aanduiding voor datum 4"/>
          <p:cNvSpPr>
            <a:spLocks noGrp="1"/>
          </p:cNvSpPr>
          <p:nvPr>
            <p:ph type="dt" sz="half" idx="10"/>
          </p:nvPr>
        </p:nvSpPr>
        <p:spPr>
          <a:xfrm>
            <a:off x="1198966" y="6400801"/>
            <a:ext cx="917701" cy="276224"/>
          </a:xfrm>
        </p:spPr>
        <p:txBody>
          <a:bodyPr/>
          <a:lstStyle/>
          <a:p>
            <a:endParaRPr lang="nl-BE" dirty="0"/>
          </a:p>
        </p:txBody>
      </p:sp>
      <p:sp>
        <p:nvSpPr>
          <p:cNvPr id="8" name="Tijdelijke aanduiding voor voettekst 5"/>
          <p:cNvSpPr>
            <a:spLocks noGrp="1"/>
          </p:cNvSpPr>
          <p:nvPr>
            <p:ph type="ftr" sz="quarter" idx="11"/>
          </p:nvPr>
        </p:nvSpPr>
        <p:spPr>
          <a:xfrm>
            <a:off x="2116667" y="6400801"/>
            <a:ext cx="8313605" cy="276224"/>
          </a:xfrm>
        </p:spPr>
        <p:txBody>
          <a:bodyPr/>
          <a:lstStyle/>
          <a:p>
            <a:endParaRPr lang="nl-BE" dirty="0"/>
          </a:p>
        </p:txBody>
      </p:sp>
      <p:sp>
        <p:nvSpPr>
          <p:cNvPr id="9" name="Tijdelijke aanduiding voor dianummer 8"/>
          <p:cNvSpPr>
            <a:spLocks noGrp="1"/>
          </p:cNvSpPr>
          <p:nvPr>
            <p:ph type="sldNum" sz="quarter" idx="12"/>
          </p:nvPr>
        </p:nvSpPr>
        <p:spPr>
          <a:xfrm>
            <a:off x="609600" y="6400801"/>
            <a:ext cx="589856" cy="276224"/>
          </a:xfrm>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334111444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Cover_1">
  <p:cSld name="Cover_1">
    <p:bg>
      <p:bgPr>
        <a:solidFill>
          <a:srgbClr val="FFFFFF"/>
        </a:solidFill>
        <a:effectLst/>
      </p:bgPr>
    </p:bg>
    <p:spTree>
      <p:nvGrpSpPr>
        <p:cNvPr id="1" name="Shape 25"/>
        <p:cNvGrpSpPr/>
        <p:nvPr/>
      </p:nvGrpSpPr>
      <p:grpSpPr>
        <a:xfrm>
          <a:off x="0" y="0"/>
          <a:ext cx="0" cy="0"/>
          <a:chOff x="0" y="0"/>
          <a:chExt cx="0" cy="0"/>
        </a:xfrm>
      </p:grpSpPr>
      <p:pic>
        <p:nvPicPr>
          <p:cNvPr id="26" name="Google Shape;26;p13"/>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27" name="Google Shape;27;p13"/>
          <p:cNvPicPr preferRelativeResize="0"/>
          <p:nvPr/>
        </p:nvPicPr>
        <p:blipFill rotWithShape="1">
          <a:blip r:embed="rId3">
            <a:alphaModFix/>
          </a:blip>
          <a:srcRect/>
          <a:stretch/>
        </p:blipFill>
        <p:spPr>
          <a:xfrm>
            <a:off x="824101" y="752418"/>
            <a:ext cx="2439763" cy="285233"/>
          </a:xfrm>
          <a:prstGeom prst="rect">
            <a:avLst/>
          </a:prstGeom>
          <a:noFill/>
          <a:ln>
            <a:noFill/>
          </a:ln>
        </p:spPr>
      </p:pic>
      <p:sp>
        <p:nvSpPr>
          <p:cNvPr id="28" name="Google Shape;28;p13"/>
          <p:cNvSpPr txBox="1">
            <a:spLocks noGrp="1"/>
          </p:cNvSpPr>
          <p:nvPr>
            <p:ph type="title"/>
          </p:nvPr>
        </p:nvSpPr>
        <p:spPr>
          <a:xfrm>
            <a:off x="812739" y="1804267"/>
            <a:ext cx="7046445" cy="1961600"/>
          </a:xfrm>
          <a:prstGeom prst="rect">
            <a:avLst/>
          </a:prstGeom>
          <a:noFill/>
          <a:ln>
            <a:noFill/>
          </a:ln>
        </p:spPr>
        <p:txBody>
          <a:bodyPr spcFirstLastPara="1" wrap="square" lIns="0" tIns="0" rIns="360000" bIns="0" anchor="ctr" anchorCtr="0">
            <a:noAutofit/>
          </a:bodyPr>
          <a:lstStyle>
            <a:lvl1pPr marR="0" lvl="0" algn="l" rtl="0">
              <a:lnSpc>
                <a:spcPct val="100000"/>
              </a:lnSpc>
              <a:spcBef>
                <a:spcPts val="0"/>
              </a:spcBef>
              <a:spcAft>
                <a:spcPts val="0"/>
              </a:spcAft>
              <a:buClr>
                <a:srgbClr val="1A1A1A"/>
              </a:buClr>
              <a:buSzPts val="3000"/>
              <a:buFont typeface="Arial"/>
              <a:buNone/>
              <a:defRPr sz="4000" b="1" i="0" u="none" strike="noStrike" cap="none">
                <a:solidFill>
                  <a:schemeClr val="lt2"/>
                </a:solidFill>
                <a:latin typeface="Arial"/>
                <a:ea typeface="Arial"/>
                <a:cs typeface="Arial"/>
                <a:sym typeface="Arial"/>
              </a:defRPr>
            </a:lvl1pPr>
            <a:lvl2pPr marR="0" lvl="1"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2pPr>
            <a:lvl3pPr marR="0" lvl="2"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3pPr>
            <a:lvl4pPr marR="0" lvl="3"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4pPr>
            <a:lvl5pPr marR="0" lvl="4"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5pPr>
            <a:lvl6pPr marR="0" lvl="5"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6pPr>
            <a:lvl7pPr marR="0" lvl="6"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7pPr>
            <a:lvl8pPr marR="0" lvl="7"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8pPr>
            <a:lvl9pPr marR="0" lvl="8"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9pPr>
          </a:lstStyle>
          <a:p>
            <a:r>
              <a:rPr lang="en-US"/>
              <a:t>Click to edit Master title style</a:t>
            </a:r>
            <a:endParaRPr/>
          </a:p>
        </p:txBody>
      </p:sp>
      <p:cxnSp>
        <p:nvCxnSpPr>
          <p:cNvPr id="29" name="Google Shape;29;p13"/>
          <p:cNvCxnSpPr/>
          <p:nvPr/>
        </p:nvCxnSpPr>
        <p:spPr>
          <a:xfrm flipH="1">
            <a:off x="2931853" y="5225936"/>
            <a:ext cx="1892400" cy="1803600"/>
          </a:xfrm>
          <a:prstGeom prst="straightConnector1">
            <a:avLst/>
          </a:prstGeom>
          <a:noFill/>
          <a:ln w="9525" cap="flat" cmpd="sng">
            <a:solidFill>
              <a:schemeClr val="accent1"/>
            </a:solidFill>
            <a:prstDash val="solid"/>
            <a:round/>
            <a:headEnd type="none" w="sm" len="sm"/>
            <a:tailEnd type="none" w="sm" len="sm"/>
          </a:ln>
        </p:spPr>
      </p:cxnSp>
      <p:sp>
        <p:nvSpPr>
          <p:cNvPr id="30" name="Google Shape;30;p13"/>
          <p:cNvSpPr/>
          <p:nvPr/>
        </p:nvSpPr>
        <p:spPr>
          <a:xfrm>
            <a:off x="3910075" y="5715072"/>
            <a:ext cx="377200" cy="377200"/>
          </a:xfrm>
          <a:prstGeom prst="ellipse">
            <a:avLst/>
          </a:prstGeom>
          <a:solidFill>
            <a:schemeClr val="dk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31" name="Google Shape;31;p13"/>
          <p:cNvSpPr/>
          <p:nvPr/>
        </p:nvSpPr>
        <p:spPr>
          <a:xfrm rot="-430330">
            <a:off x="6242325" y="1103714"/>
            <a:ext cx="8707215" cy="8707215"/>
          </a:xfrm>
          <a:prstGeom prst="ellipse">
            <a:avLst/>
          </a:prstGeom>
          <a:noFill/>
          <a:ln w="28575" cap="flat" cmpd="sng">
            <a:solidFill>
              <a:schemeClr val="accent1"/>
            </a:solidFill>
            <a:prstDash val="dot"/>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sp>
        <p:nvSpPr>
          <p:cNvPr id="32" name="Google Shape;32;p13"/>
          <p:cNvSpPr txBox="1">
            <a:spLocks noGrp="1"/>
          </p:cNvSpPr>
          <p:nvPr>
            <p:ph type="body" idx="1"/>
          </p:nvPr>
        </p:nvSpPr>
        <p:spPr>
          <a:xfrm>
            <a:off x="804333" y="1537191"/>
            <a:ext cx="4883187" cy="148676"/>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900"/>
              <a:buFont typeface="Arial"/>
              <a:buNone/>
              <a:defRPr sz="1200" b="1" i="1" u="none" strike="noStrike" cap="none">
                <a:solidFill>
                  <a:schemeClr val="lt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5pPr>
            <a:lvl6pPr marL="3657509" marR="0" lvl="5"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6pPr>
            <a:lvl7pPr marL="4267093" marR="0" lvl="6"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7pPr>
            <a:lvl8pPr marL="4876678" marR="0" lvl="7"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8pPr>
            <a:lvl9pPr marL="5486263" marR="0" lvl="8"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9pPr>
          </a:lstStyle>
          <a:p>
            <a:pPr lvl="0"/>
            <a:r>
              <a:rPr lang="en-US"/>
              <a:t>Click to edit Master text styles</a:t>
            </a:r>
          </a:p>
        </p:txBody>
      </p:sp>
      <p:sp>
        <p:nvSpPr>
          <p:cNvPr id="33" name="Google Shape;33;p13"/>
          <p:cNvSpPr txBox="1">
            <a:spLocks noGrp="1"/>
          </p:cNvSpPr>
          <p:nvPr>
            <p:ph type="subTitle" idx="2"/>
          </p:nvPr>
        </p:nvSpPr>
        <p:spPr>
          <a:xfrm>
            <a:off x="812973" y="3778059"/>
            <a:ext cx="7046211" cy="986400"/>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1A1A1A"/>
              </a:buClr>
              <a:buSzPts val="1400"/>
              <a:buFont typeface="Arial"/>
              <a:buNone/>
              <a:defRPr sz="1867" b="0" i="0" u="none" strike="noStrike" cap="none">
                <a:solidFill>
                  <a:schemeClr val="lt2"/>
                </a:solidFill>
                <a:latin typeface="Arial"/>
                <a:ea typeface="Arial"/>
                <a:cs typeface="Arial"/>
                <a:sym typeface="Arial"/>
              </a:defRPr>
            </a:lvl1pPr>
            <a:lvl2pPr marR="0" lvl="1"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2pPr>
            <a:lvl3pPr marR="0" lvl="2"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3pPr>
            <a:lvl4pPr marR="0" lvl="3"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4pPr>
            <a:lvl5pPr marR="0" lvl="4"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5pPr>
            <a:lvl6pPr marR="0" lvl="5"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6pPr>
            <a:lvl7pPr marR="0" lvl="6"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7pPr>
            <a:lvl8pPr marR="0" lvl="7"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8pPr>
            <a:lvl9pPr marR="0" lvl="8"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9pPr>
          </a:lstStyle>
          <a:p>
            <a:r>
              <a:rPr lang="en-US"/>
              <a:t>Click to edit Master subtitle style</a:t>
            </a:r>
            <a:endParaRPr/>
          </a:p>
        </p:txBody>
      </p:sp>
      <p:sp>
        <p:nvSpPr>
          <p:cNvPr id="34" name="Google Shape;34;p13"/>
          <p:cNvSpPr txBox="1">
            <a:spLocks noGrp="1"/>
          </p:cNvSpPr>
          <p:nvPr>
            <p:ph type="body" idx="3"/>
          </p:nvPr>
        </p:nvSpPr>
        <p:spPr>
          <a:xfrm>
            <a:off x="7867623" y="3823063"/>
            <a:ext cx="3520044" cy="180001"/>
          </a:xfrm>
          <a:prstGeom prst="rect">
            <a:avLst/>
          </a:prstGeom>
          <a:noFill/>
          <a:ln>
            <a:noFill/>
          </a:ln>
        </p:spPr>
        <p:txBody>
          <a:bodyPr spcFirstLastPara="1" wrap="square" lIns="0" tIns="0" rIns="0" bIns="0" anchor="ctr" anchorCtr="0">
            <a:noAutofit/>
          </a:bodyPr>
          <a:lstStyle>
            <a:lvl1pPr marL="609585" marR="0" lvl="0" indent="-304792" algn="r">
              <a:lnSpc>
                <a:spcPct val="90000"/>
              </a:lnSpc>
              <a:spcBef>
                <a:spcPts val="0"/>
              </a:spcBef>
              <a:spcAft>
                <a:spcPts val="0"/>
              </a:spcAft>
              <a:buClr>
                <a:srgbClr val="1A1A1A"/>
              </a:buClr>
              <a:buSzPts val="800"/>
              <a:buFont typeface="Arial"/>
              <a:buNone/>
              <a:defRPr sz="1067" b="1" i="0" u="none" strike="noStrike" cap="none">
                <a:solidFill>
                  <a:schemeClr val="accent1"/>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35" name="Google Shape;35;p13"/>
          <p:cNvSpPr txBox="1">
            <a:spLocks noGrp="1"/>
          </p:cNvSpPr>
          <p:nvPr>
            <p:ph type="body" idx="4"/>
          </p:nvPr>
        </p:nvSpPr>
        <p:spPr>
          <a:xfrm>
            <a:off x="7867623" y="4044002"/>
            <a:ext cx="3520044" cy="180001"/>
          </a:xfrm>
          <a:prstGeom prst="rect">
            <a:avLst/>
          </a:prstGeom>
          <a:noFill/>
          <a:ln>
            <a:noFill/>
          </a:ln>
        </p:spPr>
        <p:txBody>
          <a:bodyPr spcFirstLastPara="1" wrap="square" lIns="0" tIns="0" rIns="0" bIns="0" anchor="ctr" anchorCtr="0">
            <a:noAutofit/>
          </a:bodyPr>
          <a:lstStyle>
            <a:lvl1pPr marL="609585" marR="0" lvl="0" indent="-304792" algn="r">
              <a:lnSpc>
                <a:spcPct val="90000"/>
              </a:lnSpc>
              <a:spcBef>
                <a:spcPts val="0"/>
              </a:spcBef>
              <a:spcAft>
                <a:spcPts val="0"/>
              </a:spcAft>
              <a:buClr>
                <a:schemeClr val="dk2"/>
              </a:buClr>
              <a:buSzPts val="800"/>
              <a:buFont typeface="Arial"/>
              <a:buNone/>
              <a:defRPr sz="1067" b="0" i="1" u="none" strike="noStrike" cap="none">
                <a:solidFill>
                  <a:schemeClr val="lt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36" name="Google Shape;36;p13"/>
          <p:cNvSpPr txBox="1">
            <a:spLocks noGrp="1"/>
          </p:cNvSpPr>
          <p:nvPr>
            <p:ph type="body" idx="5"/>
          </p:nvPr>
        </p:nvSpPr>
        <p:spPr>
          <a:xfrm>
            <a:off x="7867623" y="4264941"/>
            <a:ext cx="3520044" cy="180003"/>
          </a:xfrm>
          <a:prstGeom prst="rect">
            <a:avLst/>
          </a:prstGeom>
          <a:noFill/>
          <a:ln>
            <a:noFill/>
          </a:ln>
        </p:spPr>
        <p:txBody>
          <a:bodyPr spcFirstLastPara="1" wrap="square" lIns="0" tIns="0" rIns="0" bIns="0" anchor="ctr" anchorCtr="0">
            <a:noAutofit/>
          </a:bodyPr>
          <a:lstStyle>
            <a:lvl1pPr marL="609585" marR="0" lvl="0" indent="-304792" algn="r">
              <a:lnSpc>
                <a:spcPct val="90000"/>
              </a:lnSpc>
              <a:spcBef>
                <a:spcPts val="0"/>
              </a:spcBef>
              <a:spcAft>
                <a:spcPts val="0"/>
              </a:spcAft>
              <a:buClr>
                <a:schemeClr val="dk2"/>
              </a:buClr>
              <a:buSzPts val="800"/>
              <a:buFont typeface="Arial"/>
              <a:buNone/>
              <a:defRPr sz="1067" b="0" i="0" u="none" strike="noStrike" cap="none">
                <a:solidFill>
                  <a:schemeClr val="lt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37" name="Google Shape;37;p13"/>
          <p:cNvSpPr txBox="1">
            <a:spLocks noGrp="1"/>
          </p:cNvSpPr>
          <p:nvPr>
            <p:ph type="body" idx="6"/>
          </p:nvPr>
        </p:nvSpPr>
        <p:spPr>
          <a:xfrm>
            <a:off x="7867623" y="4485881"/>
            <a:ext cx="3520044" cy="175201"/>
          </a:xfrm>
          <a:prstGeom prst="rect">
            <a:avLst/>
          </a:prstGeom>
          <a:noFill/>
          <a:ln>
            <a:noFill/>
          </a:ln>
        </p:spPr>
        <p:txBody>
          <a:bodyPr spcFirstLastPara="1" wrap="square" lIns="0" tIns="0" rIns="0" bIns="0" anchor="ctr" anchorCtr="0">
            <a:noAutofit/>
          </a:bodyPr>
          <a:lstStyle>
            <a:lvl1pPr marL="609585" marR="0" lvl="0" indent="-304792" algn="r">
              <a:lnSpc>
                <a:spcPct val="90000"/>
              </a:lnSpc>
              <a:spcBef>
                <a:spcPts val="0"/>
              </a:spcBef>
              <a:spcAft>
                <a:spcPts val="0"/>
              </a:spcAft>
              <a:buClr>
                <a:schemeClr val="dk2"/>
              </a:buClr>
              <a:buSzPts val="800"/>
              <a:buFont typeface="Arial"/>
              <a:buNone/>
              <a:defRPr sz="1067" b="0" i="0" u="none" strike="noStrike" cap="none">
                <a:solidFill>
                  <a:schemeClr val="lt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rgbClr val="1A1A1A"/>
              </a:buClr>
              <a:buSzPts val="1400"/>
              <a:buFont typeface="Arial"/>
              <a:buChar char="•"/>
              <a:defRPr sz="1867" b="0" i="0" u="none" strike="noStrike" cap="none">
                <a:solidFill>
                  <a:srgbClr val="1A1A1A"/>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38" name="Google Shape;38;p13"/>
          <p:cNvSpPr txBox="1">
            <a:spLocks noGrp="1"/>
          </p:cNvSpPr>
          <p:nvPr>
            <p:ph type="body" idx="7"/>
          </p:nvPr>
        </p:nvSpPr>
        <p:spPr>
          <a:xfrm>
            <a:off x="7859185" y="2263741"/>
            <a:ext cx="3520044" cy="180001"/>
          </a:xfrm>
          <a:prstGeom prst="rect">
            <a:avLst/>
          </a:prstGeom>
          <a:noFill/>
          <a:ln>
            <a:noFill/>
          </a:ln>
        </p:spPr>
        <p:txBody>
          <a:bodyPr spcFirstLastPara="1" wrap="square" lIns="0" tIns="0" rIns="0" bIns="0" anchor="ctr" anchorCtr="0">
            <a:noAutofit/>
          </a:bodyPr>
          <a:lstStyle>
            <a:lvl1pPr marL="609585" marR="0" lvl="0" indent="-304792" algn="r">
              <a:lnSpc>
                <a:spcPct val="90000"/>
              </a:lnSpc>
              <a:spcBef>
                <a:spcPts val="0"/>
              </a:spcBef>
              <a:spcAft>
                <a:spcPts val="0"/>
              </a:spcAft>
              <a:buClr>
                <a:srgbClr val="1A1A1A"/>
              </a:buClr>
              <a:buSzPts val="800"/>
              <a:buFont typeface="Arial"/>
              <a:buNone/>
              <a:defRPr sz="1067" b="1" i="0" u="none" strike="noStrike" cap="none">
                <a:solidFill>
                  <a:schemeClr val="accent1"/>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39" name="Google Shape;39;p13"/>
          <p:cNvSpPr txBox="1">
            <a:spLocks noGrp="1"/>
          </p:cNvSpPr>
          <p:nvPr>
            <p:ph type="body" idx="8"/>
          </p:nvPr>
        </p:nvSpPr>
        <p:spPr>
          <a:xfrm>
            <a:off x="7859185" y="2484680"/>
            <a:ext cx="3520044" cy="180001"/>
          </a:xfrm>
          <a:prstGeom prst="rect">
            <a:avLst/>
          </a:prstGeom>
          <a:noFill/>
          <a:ln>
            <a:noFill/>
          </a:ln>
        </p:spPr>
        <p:txBody>
          <a:bodyPr spcFirstLastPara="1" wrap="square" lIns="0" tIns="0" rIns="0" bIns="0" anchor="ctr" anchorCtr="0">
            <a:noAutofit/>
          </a:bodyPr>
          <a:lstStyle>
            <a:lvl1pPr marL="609585" marR="0" lvl="0" indent="-304792" algn="r">
              <a:lnSpc>
                <a:spcPct val="90000"/>
              </a:lnSpc>
              <a:spcBef>
                <a:spcPts val="0"/>
              </a:spcBef>
              <a:spcAft>
                <a:spcPts val="0"/>
              </a:spcAft>
              <a:buClr>
                <a:schemeClr val="dk2"/>
              </a:buClr>
              <a:buSzPts val="800"/>
              <a:buFont typeface="Arial"/>
              <a:buNone/>
              <a:defRPr sz="1067" b="0" i="1" u="none" strike="noStrike" cap="none">
                <a:solidFill>
                  <a:schemeClr val="lt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40" name="Google Shape;40;p13"/>
          <p:cNvSpPr txBox="1">
            <a:spLocks noGrp="1"/>
          </p:cNvSpPr>
          <p:nvPr>
            <p:ph type="body" idx="9"/>
          </p:nvPr>
        </p:nvSpPr>
        <p:spPr>
          <a:xfrm>
            <a:off x="7859185" y="2705619"/>
            <a:ext cx="3520044" cy="180003"/>
          </a:xfrm>
          <a:prstGeom prst="rect">
            <a:avLst/>
          </a:prstGeom>
          <a:noFill/>
          <a:ln>
            <a:noFill/>
          </a:ln>
        </p:spPr>
        <p:txBody>
          <a:bodyPr spcFirstLastPara="1" wrap="square" lIns="0" tIns="0" rIns="0" bIns="0" anchor="ctr" anchorCtr="0">
            <a:noAutofit/>
          </a:bodyPr>
          <a:lstStyle>
            <a:lvl1pPr marL="609585" marR="0" lvl="0" indent="-304792" algn="r">
              <a:lnSpc>
                <a:spcPct val="90000"/>
              </a:lnSpc>
              <a:spcBef>
                <a:spcPts val="0"/>
              </a:spcBef>
              <a:spcAft>
                <a:spcPts val="0"/>
              </a:spcAft>
              <a:buClr>
                <a:schemeClr val="dk2"/>
              </a:buClr>
              <a:buSzPts val="800"/>
              <a:buFont typeface="Arial"/>
              <a:buNone/>
              <a:defRPr sz="1067" b="0" i="0" u="none" strike="noStrike" cap="none">
                <a:solidFill>
                  <a:schemeClr val="lt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41" name="Google Shape;41;p13"/>
          <p:cNvSpPr txBox="1">
            <a:spLocks noGrp="1"/>
          </p:cNvSpPr>
          <p:nvPr>
            <p:ph type="body" idx="13"/>
          </p:nvPr>
        </p:nvSpPr>
        <p:spPr>
          <a:xfrm>
            <a:off x="7859185" y="2926558"/>
            <a:ext cx="3520044" cy="175201"/>
          </a:xfrm>
          <a:prstGeom prst="rect">
            <a:avLst/>
          </a:prstGeom>
          <a:noFill/>
          <a:ln>
            <a:noFill/>
          </a:ln>
        </p:spPr>
        <p:txBody>
          <a:bodyPr spcFirstLastPara="1" wrap="square" lIns="0" tIns="0" rIns="0" bIns="0" anchor="ctr" anchorCtr="0">
            <a:noAutofit/>
          </a:bodyPr>
          <a:lstStyle>
            <a:lvl1pPr marL="609585" marR="0" lvl="0" indent="-304792" algn="r">
              <a:lnSpc>
                <a:spcPct val="90000"/>
              </a:lnSpc>
              <a:spcBef>
                <a:spcPts val="0"/>
              </a:spcBef>
              <a:spcAft>
                <a:spcPts val="0"/>
              </a:spcAft>
              <a:buClr>
                <a:schemeClr val="dk2"/>
              </a:buClr>
              <a:buSzPts val="800"/>
              <a:buFont typeface="Arial"/>
              <a:buNone/>
              <a:defRPr sz="1067" b="0" i="0" u="none" strike="noStrike" cap="none">
                <a:solidFill>
                  <a:schemeClr val="lt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rgbClr val="1A1A1A"/>
              </a:buClr>
              <a:buSzPts val="1400"/>
              <a:buFont typeface="Arial"/>
              <a:buChar char="•"/>
              <a:defRPr sz="1867" b="0" i="0" u="none" strike="noStrike" cap="none">
                <a:solidFill>
                  <a:srgbClr val="1A1A1A"/>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pic>
        <p:nvPicPr>
          <p:cNvPr id="42" name="Google Shape;42;p13"/>
          <p:cNvPicPr preferRelativeResize="0"/>
          <p:nvPr/>
        </p:nvPicPr>
        <p:blipFill rotWithShape="1">
          <a:blip r:embed="rId4">
            <a:alphaModFix/>
          </a:blip>
          <a:srcRect/>
          <a:stretch/>
        </p:blipFill>
        <p:spPr>
          <a:xfrm>
            <a:off x="299563" y="5051368"/>
            <a:ext cx="3024765" cy="1438713"/>
          </a:xfrm>
          <a:prstGeom prst="rect">
            <a:avLst/>
          </a:prstGeom>
          <a:noFill/>
          <a:ln>
            <a:noFill/>
          </a:ln>
        </p:spPr>
      </p:pic>
    </p:spTree>
    <p:extLst>
      <p:ext uri="{BB962C8B-B14F-4D97-AF65-F5344CB8AC3E}">
        <p14:creationId xmlns:p14="http://schemas.microsoft.com/office/powerpoint/2010/main" val="1042053712"/>
      </p:ext>
    </p:extLst>
  </p:cSld>
  <p:clrMapOvr>
    <a:masterClrMapping/>
  </p:clrMapOvr>
  <p:extLst>
    <p:ext uri="{DCECCB84-F9BA-43D5-87BE-67443E8EF086}">
      <p15:sldGuideLst xmlns:p15="http://schemas.microsoft.com/office/powerpoint/2012/main">
        <p15:guide id="1" orient="horz" pos="397">
          <p15:clr>
            <a:srgbClr val="FA7B17"/>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Cover_1">
  <p:cSld name="1_Cover_1">
    <p:bg>
      <p:bgPr>
        <a:solidFill>
          <a:srgbClr val="FFFFFF"/>
        </a:solidFill>
        <a:effectLst/>
      </p:bgPr>
    </p:bg>
    <p:spTree>
      <p:nvGrpSpPr>
        <p:cNvPr id="1" name="Shape 43"/>
        <p:cNvGrpSpPr/>
        <p:nvPr/>
      </p:nvGrpSpPr>
      <p:grpSpPr>
        <a:xfrm>
          <a:off x="0" y="0"/>
          <a:ext cx="0" cy="0"/>
          <a:chOff x="0" y="0"/>
          <a:chExt cx="0" cy="0"/>
        </a:xfrm>
      </p:grpSpPr>
      <p:sp>
        <p:nvSpPr>
          <p:cNvPr id="44" name="Google Shape;44;p18"/>
          <p:cNvSpPr txBox="1">
            <a:spLocks noGrp="1"/>
          </p:cNvSpPr>
          <p:nvPr>
            <p:ph type="title"/>
          </p:nvPr>
        </p:nvSpPr>
        <p:spPr>
          <a:xfrm>
            <a:off x="804667" y="1804267"/>
            <a:ext cx="7054400" cy="1961600"/>
          </a:xfrm>
          <a:prstGeom prst="rect">
            <a:avLst/>
          </a:prstGeom>
          <a:noFill/>
          <a:ln>
            <a:noFill/>
          </a:ln>
        </p:spPr>
        <p:txBody>
          <a:bodyPr spcFirstLastPara="1" wrap="square" lIns="0" tIns="0" rIns="360000" bIns="0" anchor="ctr" anchorCtr="0">
            <a:noAutofit/>
          </a:bodyPr>
          <a:lstStyle>
            <a:lvl1pPr marR="0" lvl="0" algn="l" rtl="0">
              <a:lnSpc>
                <a:spcPct val="100000"/>
              </a:lnSpc>
              <a:spcBef>
                <a:spcPts val="0"/>
              </a:spcBef>
              <a:spcAft>
                <a:spcPts val="0"/>
              </a:spcAft>
              <a:buClr>
                <a:srgbClr val="1A1A1A"/>
              </a:buClr>
              <a:buSzPts val="3000"/>
              <a:buFont typeface="Arial"/>
              <a:buNone/>
              <a:defRPr sz="4000" b="1" i="0" u="none" strike="noStrike" cap="none">
                <a:solidFill>
                  <a:srgbClr val="1A1A1A"/>
                </a:solidFill>
                <a:latin typeface="Arial"/>
                <a:ea typeface="Arial"/>
                <a:cs typeface="Arial"/>
                <a:sym typeface="Arial"/>
              </a:defRPr>
            </a:lvl1pPr>
            <a:lvl2pPr marR="0" lvl="1"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2pPr>
            <a:lvl3pPr marR="0" lvl="2"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3pPr>
            <a:lvl4pPr marR="0" lvl="3"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4pPr>
            <a:lvl5pPr marR="0" lvl="4"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5pPr>
            <a:lvl6pPr marR="0" lvl="5"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6pPr>
            <a:lvl7pPr marR="0" lvl="6"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7pPr>
            <a:lvl8pPr marR="0" lvl="7"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8pPr>
            <a:lvl9pPr marR="0" lvl="8"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9pPr>
          </a:lstStyle>
          <a:p>
            <a:r>
              <a:rPr lang="en-US"/>
              <a:t>Click to edit Master title style</a:t>
            </a:r>
            <a:endParaRPr/>
          </a:p>
        </p:txBody>
      </p:sp>
      <p:cxnSp>
        <p:nvCxnSpPr>
          <p:cNvPr id="45" name="Google Shape;45;p18"/>
          <p:cNvCxnSpPr/>
          <p:nvPr/>
        </p:nvCxnSpPr>
        <p:spPr>
          <a:xfrm flipH="1">
            <a:off x="9372500" y="4153767"/>
            <a:ext cx="1892400" cy="1803600"/>
          </a:xfrm>
          <a:prstGeom prst="straightConnector1">
            <a:avLst/>
          </a:prstGeom>
          <a:noFill/>
          <a:ln w="9525" cap="flat" cmpd="sng">
            <a:solidFill>
              <a:schemeClr val="accent1"/>
            </a:solidFill>
            <a:prstDash val="solid"/>
            <a:round/>
            <a:headEnd type="none" w="sm" len="sm"/>
            <a:tailEnd type="none" w="sm" len="sm"/>
          </a:ln>
        </p:spPr>
      </p:cxnSp>
      <p:sp>
        <p:nvSpPr>
          <p:cNvPr id="46" name="Google Shape;46;p18"/>
          <p:cNvSpPr/>
          <p:nvPr/>
        </p:nvSpPr>
        <p:spPr>
          <a:xfrm>
            <a:off x="9135033" y="5856333"/>
            <a:ext cx="377200" cy="377200"/>
          </a:xfrm>
          <a:prstGeom prst="ellipse">
            <a:avLst/>
          </a:prstGeom>
          <a:solidFill>
            <a:schemeClr val="dk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47" name="Google Shape;47;p18"/>
          <p:cNvPicPr preferRelativeResize="0"/>
          <p:nvPr/>
        </p:nvPicPr>
        <p:blipFill rotWithShape="1">
          <a:blip r:embed="rId2">
            <a:alphaModFix/>
          </a:blip>
          <a:srcRect l="33673" r="33211" b="6241"/>
          <a:stretch/>
        </p:blipFill>
        <p:spPr>
          <a:xfrm>
            <a:off x="7859763" y="0"/>
            <a:ext cx="4332237" cy="6858000"/>
          </a:xfrm>
          <a:prstGeom prst="rect">
            <a:avLst/>
          </a:prstGeom>
          <a:noFill/>
          <a:ln>
            <a:noFill/>
          </a:ln>
        </p:spPr>
      </p:pic>
      <p:sp>
        <p:nvSpPr>
          <p:cNvPr id="48" name="Google Shape;48;p18"/>
          <p:cNvSpPr/>
          <p:nvPr/>
        </p:nvSpPr>
        <p:spPr>
          <a:xfrm rot="-430330">
            <a:off x="7163970" y="1916651"/>
            <a:ext cx="7836517" cy="7836517"/>
          </a:xfrm>
          <a:prstGeom prst="ellipse">
            <a:avLst/>
          </a:prstGeom>
          <a:noFill/>
          <a:ln w="28575" cap="flat" cmpd="sng">
            <a:solidFill>
              <a:schemeClr val="accent1"/>
            </a:solidFill>
            <a:prstDash val="dot"/>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sp>
        <p:nvSpPr>
          <p:cNvPr id="49" name="Google Shape;49;p18"/>
          <p:cNvSpPr txBox="1">
            <a:spLocks noGrp="1"/>
          </p:cNvSpPr>
          <p:nvPr>
            <p:ph type="body" idx="1"/>
          </p:nvPr>
        </p:nvSpPr>
        <p:spPr>
          <a:xfrm>
            <a:off x="804333" y="1510800"/>
            <a:ext cx="5046800" cy="175200"/>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900"/>
              <a:buFont typeface="Arial"/>
              <a:buNone/>
              <a:defRPr sz="1200" b="1" i="1"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5pPr>
            <a:lvl6pPr marL="3657509" marR="0" lvl="5"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6pPr>
            <a:lvl7pPr marL="4267093" marR="0" lvl="6"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7pPr>
            <a:lvl8pPr marL="4876678" marR="0" lvl="7"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8pPr>
            <a:lvl9pPr marL="5486263" marR="0" lvl="8"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9pPr>
          </a:lstStyle>
          <a:p>
            <a:pPr lvl="0"/>
            <a:r>
              <a:rPr lang="en-US"/>
              <a:t>Click to edit Master text styles</a:t>
            </a:r>
          </a:p>
        </p:txBody>
      </p:sp>
      <p:sp>
        <p:nvSpPr>
          <p:cNvPr id="50" name="Google Shape;50;p18"/>
          <p:cNvSpPr>
            <a:spLocks noGrp="1"/>
          </p:cNvSpPr>
          <p:nvPr>
            <p:ph type="pic" idx="2"/>
          </p:nvPr>
        </p:nvSpPr>
        <p:spPr>
          <a:xfrm>
            <a:off x="4332784" y="421567"/>
            <a:ext cx="3526400" cy="769600"/>
          </a:xfrm>
          <a:prstGeom prst="rect">
            <a:avLst/>
          </a:prstGeom>
          <a:noFill/>
          <a:ln>
            <a:noFill/>
          </a:ln>
        </p:spPr>
        <p:txBody>
          <a:bodyPr spcFirstLastPara="1" wrap="square" lIns="0" tIns="0" rIns="0" bIns="0" anchor="ctr" anchorCtr="0">
            <a:noAutofit/>
          </a:bodyPr>
          <a:lstStyle>
            <a:lvl1pPr marR="0" lvl="0" algn="ctr" rtl="0">
              <a:lnSpc>
                <a:spcPct val="90000"/>
              </a:lnSpc>
              <a:spcBef>
                <a:spcPts val="1067"/>
              </a:spcBef>
              <a:spcAft>
                <a:spcPts val="0"/>
              </a:spcAft>
              <a:buClr>
                <a:srgbClr val="797979"/>
              </a:buClr>
              <a:buSzPts val="1100"/>
              <a:buFont typeface="Arial"/>
              <a:buNone/>
              <a:defRPr sz="1467" b="0" i="0" u="none" strike="noStrike" cap="none">
                <a:solidFill>
                  <a:srgbClr val="797979"/>
                </a:solidFill>
                <a:latin typeface="Arial"/>
                <a:ea typeface="Arial"/>
                <a:cs typeface="Arial"/>
                <a:sym typeface="Arial"/>
              </a:defRPr>
            </a:lvl1pPr>
            <a:lvl2pPr marR="0" lvl="1"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R="0" lvl="2"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R="0" lvl="3"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R="0" lvl="4"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51" name="Google Shape;51;p18"/>
          <p:cNvSpPr txBox="1">
            <a:spLocks noGrp="1"/>
          </p:cNvSpPr>
          <p:nvPr>
            <p:ph type="subTitle" idx="3"/>
          </p:nvPr>
        </p:nvSpPr>
        <p:spPr>
          <a:xfrm>
            <a:off x="804901" y="3765867"/>
            <a:ext cx="7054283" cy="986400"/>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1pPr>
            <a:lvl2pPr marR="0" lvl="1"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2pPr>
            <a:lvl3pPr marR="0" lvl="2"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3pPr>
            <a:lvl4pPr marR="0" lvl="3"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4pPr>
            <a:lvl5pPr marR="0" lvl="4"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5pPr>
            <a:lvl6pPr marR="0" lvl="5"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6pPr>
            <a:lvl7pPr marR="0" lvl="6"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7pPr>
            <a:lvl8pPr marR="0" lvl="7"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8pPr>
            <a:lvl9pPr marR="0" lvl="8"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9pPr>
          </a:lstStyle>
          <a:p>
            <a:r>
              <a:rPr lang="en-US"/>
              <a:t>Click to edit Master subtitle style</a:t>
            </a:r>
            <a:endParaRPr/>
          </a:p>
        </p:txBody>
      </p:sp>
      <p:sp>
        <p:nvSpPr>
          <p:cNvPr id="52" name="Google Shape;52;p18"/>
          <p:cNvSpPr txBox="1">
            <a:spLocks noGrp="1"/>
          </p:cNvSpPr>
          <p:nvPr>
            <p:ph type="body" idx="4"/>
          </p:nvPr>
        </p:nvSpPr>
        <p:spPr>
          <a:xfrm>
            <a:off x="812739" y="5307993"/>
            <a:ext cx="3520044" cy="1800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rgbClr val="1A1A1A"/>
              </a:buClr>
              <a:buSzPts val="800"/>
              <a:buFont typeface="Arial"/>
              <a:buNone/>
              <a:defRPr sz="1067" b="1" i="0" u="none" strike="noStrike" cap="none">
                <a:solidFill>
                  <a:srgbClr val="1A1A1A"/>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53" name="Google Shape;53;p18"/>
          <p:cNvSpPr txBox="1">
            <a:spLocks noGrp="1"/>
          </p:cNvSpPr>
          <p:nvPr>
            <p:ph type="body" idx="5"/>
          </p:nvPr>
        </p:nvSpPr>
        <p:spPr>
          <a:xfrm>
            <a:off x="812739" y="5528932"/>
            <a:ext cx="3520044" cy="1800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1"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54" name="Google Shape;54;p18"/>
          <p:cNvSpPr txBox="1">
            <a:spLocks noGrp="1"/>
          </p:cNvSpPr>
          <p:nvPr>
            <p:ph type="body" idx="6"/>
          </p:nvPr>
        </p:nvSpPr>
        <p:spPr>
          <a:xfrm>
            <a:off x="812739" y="5749871"/>
            <a:ext cx="3520044" cy="180003"/>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55" name="Google Shape;55;p18"/>
          <p:cNvSpPr txBox="1">
            <a:spLocks noGrp="1"/>
          </p:cNvSpPr>
          <p:nvPr>
            <p:ph type="body" idx="7"/>
          </p:nvPr>
        </p:nvSpPr>
        <p:spPr>
          <a:xfrm>
            <a:off x="812739" y="5970810"/>
            <a:ext cx="3520044" cy="1752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rgbClr val="1A1A1A"/>
              </a:buClr>
              <a:buSzPts val="1400"/>
              <a:buFont typeface="Arial"/>
              <a:buChar char="•"/>
              <a:defRPr sz="1867" b="0" i="0" u="none" strike="noStrike" cap="none">
                <a:solidFill>
                  <a:srgbClr val="1A1A1A"/>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56" name="Google Shape;56;p18"/>
          <p:cNvSpPr txBox="1">
            <a:spLocks noGrp="1"/>
          </p:cNvSpPr>
          <p:nvPr>
            <p:ph type="body" idx="8"/>
          </p:nvPr>
        </p:nvSpPr>
        <p:spPr>
          <a:xfrm>
            <a:off x="4341154" y="5307993"/>
            <a:ext cx="3520044" cy="1800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rgbClr val="1A1A1A"/>
              </a:buClr>
              <a:buSzPts val="800"/>
              <a:buFont typeface="Arial"/>
              <a:buNone/>
              <a:defRPr sz="1067" b="1" i="0" u="none" strike="noStrike" cap="none">
                <a:solidFill>
                  <a:srgbClr val="1A1A1A"/>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57" name="Google Shape;57;p18"/>
          <p:cNvSpPr txBox="1">
            <a:spLocks noGrp="1"/>
          </p:cNvSpPr>
          <p:nvPr>
            <p:ph type="body" idx="9"/>
          </p:nvPr>
        </p:nvSpPr>
        <p:spPr>
          <a:xfrm>
            <a:off x="4341154" y="5528932"/>
            <a:ext cx="3520044" cy="1800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1"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58" name="Google Shape;58;p18"/>
          <p:cNvSpPr txBox="1">
            <a:spLocks noGrp="1"/>
          </p:cNvSpPr>
          <p:nvPr>
            <p:ph type="body" idx="13"/>
          </p:nvPr>
        </p:nvSpPr>
        <p:spPr>
          <a:xfrm>
            <a:off x="4341154" y="5749871"/>
            <a:ext cx="3520044" cy="180003"/>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59" name="Google Shape;59;p18"/>
          <p:cNvSpPr txBox="1">
            <a:spLocks noGrp="1"/>
          </p:cNvSpPr>
          <p:nvPr>
            <p:ph type="body" idx="14"/>
          </p:nvPr>
        </p:nvSpPr>
        <p:spPr>
          <a:xfrm>
            <a:off x="4341154" y="5970810"/>
            <a:ext cx="3520044" cy="1752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rgbClr val="1A1A1A"/>
              </a:buClr>
              <a:buSzPts val="1400"/>
              <a:buFont typeface="Arial"/>
              <a:buChar char="•"/>
              <a:defRPr sz="1867" b="0" i="0" u="none" strike="noStrike" cap="none">
                <a:solidFill>
                  <a:srgbClr val="1A1A1A"/>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pic>
        <p:nvPicPr>
          <p:cNvPr id="60" name="Google Shape;60;p18"/>
          <p:cNvPicPr preferRelativeResize="0"/>
          <p:nvPr/>
        </p:nvPicPr>
        <p:blipFill rotWithShape="1">
          <a:blip r:embed="rId3">
            <a:alphaModFix/>
          </a:blip>
          <a:srcRect l="-4813" t="-3077" r="-3254" b="-34525"/>
          <a:stretch/>
        </p:blipFill>
        <p:spPr>
          <a:xfrm>
            <a:off x="715434" y="393373"/>
            <a:ext cx="2103967" cy="903744"/>
          </a:xfrm>
          <a:prstGeom prst="rect">
            <a:avLst/>
          </a:prstGeom>
          <a:noFill/>
          <a:ln>
            <a:noFill/>
          </a:ln>
        </p:spPr>
      </p:pic>
    </p:spTree>
    <p:extLst>
      <p:ext uri="{BB962C8B-B14F-4D97-AF65-F5344CB8AC3E}">
        <p14:creationId xmlns:p14="http://schemas.microsoft.com/office/powerpoint/2010/main" val="3834114435"/>
      </p:ext>
    </p:extLst>
  </p:cSld>
  <p:clrMapOvr>
    <a:masterClrMapping/>
  </p:clrMapOvr>
  <p:extLst>
    <p:ext uri="{DCECCB84-F9BA-43D5-87BE-67443E8EF086}">
      <p15:sldGuideLst xmlns:p15="http://schemas.microsoft.com/office/powerpoint/2012/main">
        <p15:guide id="1" orient="horz" pos="397">
          <p15:clr>
            <a:srgbClr val="FA7B17"/>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Cover_2">
  <p:cSld name="Cover_2">
    <p:bg>
      <p:bgPr>
        <a:solidFill>
          <a:srgbClr val="FFFFFF"/>
        </a:solidFill>
        <a:effectLst/>
      </p:bgPr>
    </p:bg>
    <p:spTree>
      <p:nvGrpSpPr>
        <p:cNvPr id="1" name="Shape 61"/>
        <p:cNvGrpSpPr/>
        <p:nvPr/>
      </p:nvGrpSpPr>
      <p:grpSpPr>
        <a:xfrm>
          <a:off x="0" y="0"/>
          <a:ext cx="0" cy="0"/>
          <a:chOff x="0" y="0"/>
          <a:chExt cx="0" cy="0"/>
        </a:xfrm>
      </p:grpSpPr>
      <p:sp>
        <p:nvSpPr>
          <p:cNvPr id="62" name="Google Shape;62;p9"/>
          <p:cNvSpPr txBox="1">
            <a:spLocks noGrp="1"/>
          </p:cNvSpPr>
          <p:nvPr>
            <p:ph type="title"/>
          </p:nvPr>
        </p:nvSpPr>
        <p:spPr>
          <a:xfrm>
            <a:off x="804900" y="1804267"/>
            <a:ext cx="10582800" cy="19616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1A1A1A"/>
              </a:buClr>
              <a:buSzPts val="3000"/>
              <a:buFont typeface="Arial"/>
              <a:buNone/>
              <a:defRPr sz="4000" b="1" i="0" u="none" strike="noStrike" cap="none">
                <a:solidFill>
                  <a:srgbClr val="1A1A1A"/>
                </a:solidFill>
                <a:latin typeface="Arial"/>
                <a:ea typeface="Arial"/>
                <a:cs typeface="Arial"/>
                <a:sym typeface="Arial"/>
              </a:defRPr>
            </a:lvl1pPr>
            <a:lvl2pPr marR="0" lvl="1"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2pPr>
            <a:lvl3pPr marR="0" lvl="2"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3pPr>
            <a:lvl4pPr marR="0" lvl="3"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4pPr>
            <a:lvl5pPr marR="0" lvl="4"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5pPr>
            <a:lvl6pPr marR="0" lvl="5"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6pPr>
            <a:lvl7pPr marR="0" lvl="6"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7pPr>
            <a:lvl8pPr marR="0" lvl="7"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8pPr>
            <a:lvl9pPr marR="0" lvl="8" algn="l" rtl="0">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9pPr>
          </a:lstStyle>
          <a:p>
            <a:r>
              <a:rPr lang="en-US"/>
              <a:t>Click to edit Master title style</a:t>
            </a:r>
            <a:endParaRPr/>
          </a:p>
        </p:txBody>
      </p:sp>
      <p:sp>
        <p:nvSpPr>
          <p:cNvPr id="63" name="Google Shape;63;p9"/>
          <p:cNvSpPr txBox="1">
            <a:spLocks noGrp="1"/>
          </p:cNvSpPr>
          <p:nvPr>
            <p:ph type="subTitle" idx="1"/>
          </p:nvPr>
        </p:nvSpPr>
        <p:spPr>
          <a:xfrm>
            <a:off x="804901" y="3765867"/>
            <a:ext cx="10582800" cy="986400"/>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1pPr>
            <a:lvl2pPr marR="0" lvl="1"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2pPr>
            <a:lvl3pPr marR="0" lvl="2"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3pPr>
            <a:lvl4pPr marR="0" lvl="3"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4pPr>
            <a:lvl5pPr marR="0" lvl="4"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5pPr>
            <a:lvl6pPr marR="0" lvl="5"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6pPr>
            <a:lvl7pPr marR="0" lvl="6"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7pPr>
            <a:lvl8pPr marR="0" lvl="7"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8pPr>
            <a:lvl9pPr marR="0" lvl="8" algn="l">
              <a:lnSpc>
                <a:spcPct val="100000"/>
              </a:lnSpc>
              <a:spcBef>
                <a:spcPts val="0"/>
              </a:spcBef>
              <a:spcAft>
                <a:spcPts val="0"/>
              </a:spcAft>
              <a:buClr>
                <a:srgbClr val="1A1A1A"/>
              </a:buClr>
              <a:buSzPts val="1400"/>
              <a:buFont typeface="Arial"/>
              <a:buNone/>
              <a:defRPr sz="1867" b="0" i="0" u="none" strike="noStrike" cap="none">
                <a:solidFill>
                  <a:srgbClr val="1A1A1A"/>
                </a:solidFill>
                <a:latin typeface="Arial"/>
                <a:ea typeface="Arial"/>
                <a:cs typeface="Arial"/>
                <a:sym typeface="Arial"/>
              </a:defRPr>
            </a:lvl9pPr>
          </a:lstStyle>
          <a:p>
            <a:r>
              <a:rPr lang="en-US"/>
              <a:t>Click to edit Master subtitle style</a:t>
            </a:r>
            <a:endParaRPr/>
          </a:p>
        </p:txBody>
      </p:sp>
      <p:sp>
        <p:nvSpPr>
          <p:cNvPr id="64" name="Google Shape;64;p9"/>
          <p:cNvSpPr>
            <a:spLocks noGrp="1"/>
          </p:cNvSpPr>
          <p:nvPr>
            <p:ph type="pic" idx="2"/>
          </p:nvPr>
        </p:nvSpPr>
        <p:spPr>
          <a:xfrm>
            <a:off x="4332784" y="421567"/>
            <a:ext cx="3526400" cy="769600"/>
          </a:xfrm>
          <a:prstGeom prst="rect">
            <a:avLst/>
          </a:prstGeom>
          <a:noFill/>
          <a:ln>
            <a:noFill/>
          </a:ln>
        </p:spPr>
        <p:txBody>
          <a:bodyPr spcFirstLastPara="1" wrap="square" lIns="0" tIns="0" rIns="0" bIns="0" anchor="ctr" anchorCtr="0">
            <a:noAutofit/>
          </a:bodyPr>
          <a:lstStyle>
            <a:lvl1pPr marR="0" lvl="0" algn="ctr" rtl="0">
              <a:lnSpc>
                <a:spcPct val="90000"/>
              </a:lnSpc>
              <a:spcBef>
                <a:spcPts val="1067"/>
              </a:spcBef>
              <a:spcAft>
                <a:spcPts val="0"/>
              </a:spcAft>
              <a:buClr>
                <a:srgbClr val="797979"/>
              </a:buClr>
              <a:buSzPts val="1100"/>
              <a:buFont typeface="Arial"/>
              <a:buNone/>
              <a:defRPr sz="1467" b="0" i="0" u="none" strike="noStrike" cap="none">
                <a:solidFill>
                  <a:srgbClr val="797979"/>
                </a:solidFill>
                <a:latin typeface="Arial"/>
                <a:ea typeface="Arial"/>
                <a:cs typeface="Arial"/>
                <a:sym typeface="Arial"/>
              </a:defRPr>
            </a:lvl1pPr>
            <a:lvl2pPr marR="0" lvl="1"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R="0" lvl="2"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R="0" lvl="3"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R="0" lvl="4"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65" name="Google Shape;65;p9"/>
          <p:cNvSpPr/>
          <p:nvPr/>
        </p:nvSpPr>
        <p:spPr>
          <a:xfrm rot="-430330">
            <a:off x="6859370" y="3752652"/>
            <a:ext cx="7836517" cy="7836517"/>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66" name="Google Shape;66;p9"/>
          <p:cNvCxnSpPr/>
          <p:nvPr/>
        </p:nvCxnSpPr>
        <p:spPr>
          <a:xfrm flipH="1">
            <a:off x="10911100" y="1348033"/>
            <a:ext cx="2451200" cy="2336400"/>
          </a:xfrm>
          <a:prstGeom prst="straightConnector1">
            <a:avLst/>
          </a:prstGeom>
          <a:noFill/>
          <a:ln w="9525" cap="flat" cmpd="sng">
            <a:solidFill>
              <a:schemeClr val="accent1"/>
            </a:solidFill>
            <a:prstDash val="solid"/>
            <a:round/>
            <a:headEnd type="none" w="sm" len="sm"/>
            <a:tailEnd type="none" w="sm" len="sm"/>
          </a:ln>
        </p:spPr>
      </p:cxnSp>
      <p:sp>
        <p:nvSpPr>
          <p:cNvPr id="67" name="Google Shape;67;p9"/>
          <p:cNvSpPr/>
          <p:nvPr/>
        </p:nvSpPr>
        <p:spPr>
          <a:xfrm>
            <a:off x="10673633" y="3583500"/>
            <a:ext cx="377200" cy="377200"/>
          </a:xfrm>
          <a:prstGeom prst="ellipse">
            <a:avLst/>
          </a:prstGeom>
          <a:solidFill>
            <a:srgbClr val="FFFFFF"/>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68" name="Google Shape;68;p9"/>
          <p:cNvSpPr txBox="1">
            <a:spLocks noGrp="1"/>
          </p:cNvSpPr>
          <p:nvPr>
            <p:ph type="body" idx="3"/>
          </p:nvPr>
        </p:nvSpPr>
        <p:spPr>
          <a:xfrm>
            <a:off x="804333" y="1510800"/>
            <a:ext cx="5046800" cy="175200"/>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900"/>
              <a:buFont typeface="Arial"/>
              <a:buNone/>
              <a:defRPr sz="1200" b="1" i="1"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5pPr>
            <a:lvl6pPr marL="3657509" marR="0" lvl="5"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6pPr>
            <a:lvl7pPr marL="4267093" marR="0" lvl="6"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7pPr>
            <a:lvl8pPr marL="4876678" marR="0" lvl="7"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8pPr>
            <a:lvl9pPr marL="5486263" marR="0" lvl="8" indent="-380990" algn="l">
              <a:lnSpc>
                <a:spcPct val="90000"/>
              </a:lnSpc>
              <a:spcBef>
                <a:spcPts val="533"/>
              </a:spcBef>
              <a:spcAft>
                <a:spcPts val="0"/>
              </a:spcAft>
              <a:buClr>
                <a:schemeClr val="dk2"/>
              </a:buClr>
              <a:buSzPts val="900"/>
              <a:buFont typeface="Arial"/>
              <a:buChar char="•"/>
              <a:defRPr sz="1200" b="0" i="1" u="none" strike="noStrike" cap="none">
                <a:solidFill>
                  <a:schemeClr val="dk2"/>
                </a:solidFill>
                <a:latin typeface="Arial"/>
                <a:ea typeface="Arial"/>
                <a:cs typeface="Arial"/>
                <a:sym typeface="Arial"/>
              </a:defRPr>
            </a:lvl9pPr>
          </a:lstStyle>
          <a:p>
            <a:pPr lvl="0"/>
            <a:r>
              <a:rPr lang="en-US"/>
              <a:t>Click to edit Master text styles</a:t>
            </a:r>
          </a:p>
        </p:txBody>
      </p:sp>
      <p:sp>
        <p:nvSpPr>
          <p:cNvPr id="69" name="Google Shape;69;p9"/>
          <p:cNvSpPr>
            <a:spLocks noGrp="1"/>
          </p:cNvSpPr>
          <p:nvPr>
            <p:ph type="pic" idx="4"/>
          </p:nvPr>
        </p:nvSpPr>
        <p:spPr>
          <a:xfrm>
            <a:off x="7859184" y="421567"/>
            <a:ext cx="3526400" cy="769600"/>
          </a:xfrm>
          <a:prstGeom prst="rect">
            <a:avLst/>
          </a:prstGeom>
          <a:noFill/>
          <a:ln>
            <a:noFill/>
          </a:ln>
        </p:spPr>
        <p:txBody>
          <a:bodyPr spcFirstLastPara="1" wrap="square" lIns="0" tIns="0" rIns="0" bIns="0" anchor="ctr" anchorCtr="0">
            <a:noAutofit/>
          </a:bodyPr>
          <a:lstStyle>
            <a:lvl1pPr marR="0" lvl="0" algn="ctr" rtl="0">
              <a:lnSpc>
                <a:spcPct val="90000"/>
              </a:lnSpc>
              <a:spcBef>
                <a:spcPts val="1067"/>
              </a:spcBef>
              <a:spcAft>
                <a:spcPts val="0"/>
              </a:spcAft>
              <a:buClr>
                <a:srgbClr val="797979"/>
              </a:buClr>
              <a:buSzPts val="1100"/>
              <a:buFont typeface="Arial"/>
              <a:buNone/>
              <a:defRPr sz="1467" b="0" i="0" u="none" strike="noStrike" cap="none">
                <a:solidFill>
                  <a:srgbClr val="797979"/>
                </a:solidFill>
                <a:latin typeface="Arial"/>
                <a:ea typeface="Arial"/>
                <a:cs typeface="Arial"/>
                <a:sym typeface="Arial"/>
              </a:defRPr>
            </a:lvl1pPr>
            <a:lvl2pPr marR="0" lvl="1"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R="0" lvl="2"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R="0" lvl="3"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R="0" lvl="4" algn="l" rtl="0">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R="0" lvl="5"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R="0" lvl="6"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R="0" lvl="7"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R="0" lvl="8" algn="l" rtl="0">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r>
              <a:rPr lang="en-US"/>
              <a:t>Click icon to add picture</a:t>
            </a:r>
            <a:endParaRPr/>
          </a:p>
        </p:txBody>
      </p:sp>
      <p:sp>
        <p:nvSpPr>
          <p:cNvPr id="70" name="Google Shape;70;p9"/>
          <p:cNvSpPr txBox="1">
            <a:spLocks noGrp="1"/>
          </p:cNvSpPr>
          <p:nvPr>
            <p:ph type="body" idx="5"/>
          </p:nvPr>
        </p:nvSpPr>
        <p:spPr>
          <a:xfrm>
            <a:off x="812739" y="5307993"/>
            <a:ext cx="3520044" cy="1800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rgbClr val="1A1A1A"/>
              </a:buClr>
              <a:buSzPts val="800"/>
              <a:buFont typeface="Arial"/>
              <a:buNone/>
              <a:defRPr sz="1067" b="1" i="0" u="none" strike="noStrike" cap="none">
                <a:solidFill>
                  <a:srgbClr val="1A1A1A"/>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71" name="Google Shape;71;p9"/>
          <p:cNvSpPr txBox="1">
            <a:spLocks noGrp="1"/>
          </p:cNvSpPr>
          <p:nvPr>
            <p:ph type="body" idx="6"/>
          </p:nvPr>
        </p:nvSpPr>
        <p:spPr>
          <a:xfrm>
            <a:off x="812739" y="5528932"/>
            <a:ext cx="3520044" cy="1800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1"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72" name="Google Shape;72;p9"/>
          <p:cNvSpPr txBox="1">
            <a:spLocks noGrp="1"/>
          </p:cNvSpPr>
          <p:nvPr>
            <p:ph type="body" idx="7"/>
          </p:nvPr>
        </p:nvSpPr>
        <p:spPr>
          <a:xfrm>
            <a:off x="812739" y="5749871"/>
            <a:ext cx="3520044" cy="180003"/>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73" name="Google Shape;73;p9"/>
          <p:cNvSpPr txBox="1">
            <a:spLocks noGrp="1"/>
          </p:cNvSpPr>
          <p:nvPr>
            <p:ph type="body" idx="8"/>
          </p:nvPr>
        </p:nvSpPr>
        <p:spPr>
          <a:xfrm>
            <a:off x="812739" y="5970810"/>
            <a:ext cx="3520044" cy="1752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rgbClr val="1A1A1A"/>
              </a:buClr>
              <a:buSzPts val="1400"/>
              <a:buFont typeface="Arial"/>
              <a:buChar char="•"/>
              <a:defRPr sz="1867" b="0" i="0" u="none" strike="noStrike" cap="none">
                <a:solidFill>
                  <a:srgbClr val="1A1A1A"/>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74" name="Google Shape;74;p9"/>
          <p:cNvSpPr txBox="1">
            <a:spLocks noGrp="1"/>
          </p:cNvSpPr>
          <p:nvPr>
            <p:ph type="body" idx="9"/>
          </p:nvPr>
        </p:nvSpPr>
        <p:spPr>
          <a:xfrm>
            <a:off x="4341154" y="5307993"/>
            <a:ext cx="3520044" cy="1800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rgbClr val="1A1A1A"/>
              </a:buClr>
              <a:buSzPts val="800"/>
              <a:buFont typeface="Arial"/>
              <a:buNone/>
              <a:defRPr sz="1067" b="1" i="0" u="none" strike="noStrike" cap="none">
                <a:solidFill>
                  <a:srgbClr val="1A1A1A"/>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75" name="Google Shape;75;p9"/>
          <p:cNvSpPr txBox="1">
            <a:spLocks noGrp="1"/>
          </p:cNvSpPr>
          <p:nvPr>
            <p:ph type="body" idx="13"/>
          </p:nvPr>
        </p:nvSpPr>
        <p:spPr>
          <a:xfrm>
            <a:off x="4341154" y="5528932"/>
            <a:ext cx="3520044" cy="1800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1"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76" name="Google Shape;76;p9"/>
          <p:cNvSpPr txBox="1">
            <a:spLocks noGrp="1"/>
          </p:cNvSpPr>
          <p:nvPr>
            <p:ph type="body" idx="14"/>
          </p:nvPr>
        </p:nvSpPr>
        <p:spPr>
          <a:xfrm>
            <a:off x="4341154" y="5749871"/>
            <a:ext cx="3520044" cy="180003"/>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77" name="Google Shape;77;p9"/>
          <p:cNvSpPr txBox="1">
            <a:spLocks noGrp="1"/>
          </p:cNvSpPr>
          <p:nvPr>
            <p:ph type="body" idx="15"/>
          </p:nvPr>
        </p:nvSpPr>
        <p:spPr>
          <a:xfrm>
            <a:off x="4341154" y="5970810"/>
            <a:ext cx="3520044" cy="1752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rgbClr val="1A1A1A"/>
              </a:buClr>
              <a:buSzPts val="1400"/>
              <a:buFont typeface="Arial"/>
              <a:buChar char="•"/>
              <a:defRPr sz="1867" b="0" i="0" u="none" strike="noStrike" cap="none">
                <a:solidFill>
                  <a:srgbClr val="1A1A1A"/>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78" name="Google Shape;78;p9"/>
          <p:cNvSpPr txBox="1">
            <a:spLocks noGrp="1"/>
          </p:cNvSpPr>
          <p:nvPr>
            <p:ph type="body" idx="16"/>
          </p:nvPr>
        </p:nvSpPr>
        <p:spPr>
          <a:xfrm>
            <a:off x="7861494" y="5307993"/>
            <a:ext cx="3520044" cy="1800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rgbClr val="1A1A1A"/>
              </a:buClr>
              <a:buSzPts val="800"/>
              <a:buFont typeface="Arial"/>
              <a:buNone/>
              <a:defRPr sz="1067" b="1" i="0" u="none" strike="noStrike" cap="none">
                <a:solidFill>
                  <a:srgbClr val="1A1A1A"/>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79" name="Google Shape;79;p9"/>
          <p:cNvSpPr txBox="1">
            <a:spLocks noGrp="1"/>
          </p:cNvSpPr>
          <p:nvPr>
            <p:ph type="body" idx="17"/>
          </p:nvPr>
        </p:nvSpPr>
        <p:spPr>
          <a:xfrm>
            <a:off x="7861494" y="5528932"/>
            <a:ext cx="3520044" cy="1800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1"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80" name="Google Shape;80;p9"/>
          <p:cNvSpPr txBox="1">
            <a:spLocks noGrp="1"/>
          </p:cNvSpPr>
          <p:nvPr>
            <p:ph type="body" idx="18"/>
          </p:nvPr>
        </p:nvSpPr>
        <p:spPr>
          <a:xfrm>
            <a:off x="7861494" y="5749871"/>
            <a:ext cx="3520044" cy="180003"/>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81" name="Google Shape;81;p9"/>
          <p:cNvSpPr txBox="1">
            <a:spLocks noGrp="1"/>
          </p:cNvSpPr>
          <p:nvPr>
            <p:ph type="body" idx="19"/>
          </p:nvPr>
        </p:nvSpPr>
        <p:spPr>
          <a:xfrm>
            <a:off x="7861494" y="5970810"/>
            <a:ext cx="3520044" cy="175201"/>
          </a:xfrm>
          <a:prstGeom prst="rect">
            <a:avLst/>
          </a:prstGeom>
          <a:noFill/>
          <a:ln>
            <a:noFill/>
          </a:ln>
        </p:spPr>
        <p:txBody>
          <a:bodyPr spcFirstLastPara="1" wrap="square" lIns="0" tIns="0" rIns="0" bIns="0" anchor="ctr" anchorCtr="0">
            <a:noAutofit/>
          </a:bodyPr>
          <a:lstStyle>
            <a:lvl1pPr marL="609585" marR="0" lvl="0" indent="-304792" algn="l">
              <a:lnSpc>
                <a:spcPct val="9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533"/>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423323" algn="l">
              <a:lnSpc>
                <a:spcPct val="90000"/>
              </a:lnSpc>
              <a:spcBef>
                <a:spcPts val="533"/>
              </a:spcBef>
              <a:spcAft>
                <a:spcPts val="0"/>
              </a:spcAft>
              <a:buClr>
                <a:srgbClr val="1A1A1A"/>
              </a:buClr>
              <a:buSzPts val="1400"/>
              <a:buFont typeface="Arial"/>
              <a:buChar char="•"/>
              <a:defRPr sz="1867" b="0" i="0" u="none" strike="noStrike" cap="none">
                <a:solidFill>
                  <a:srgbClr val="1A1A1A"/>
                </a:solidFill>
                <a:latin typeface="Arial"/>
                <a:ea typeface="Arial"/>
                <a:cs typeface="Arial"/>
                <a:sym typeface="Arial"/>
              </a:defRPr>
            </a:lvl6pPr>
            <a:lvl7pPr marL="4267093" marR="0" lvl="6"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7pPr>
            <a:lvl8pPr marL="4876678" marR="0" lvl="7"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8pPr>
            <a:lvl9pPr marL="5486263" marR="0" lvl="8" indent="-423323" algn="l">
              <a:lnSpc>
                <a:spcPct val="90000"/>
              </a:lnSpc>
              <a:spcBef>
                <a:spcPts val="533"/>
              </a:spcBef>
              <a:spcAft>
                <a:spcPts val="0"/>
              </a:spcAft>
              <a:buClr>
                <a:schemeClr val="dk1"/>
              </a:buClr>
              <a:buSzPts val="1400"/>
              <a:buFont typeface="Arial"/>
              <a:buChar char="•"/>
              <a:defRPr sz="1867" b="0" i="0" u="none" strike="noStrike" cap="none">
                <a:solidFill>
                  <a:schemeClr val="dk1"/>
                </a:solidFill>
                <a:latin typeface="Arial"/>
                <a:ea typeface="Arial"/>
                <a:cs typeface="Arial"/>
                <a:sym typeface="Arial"/>
              </a:defRPr>
            </a:lvl9pPr>
          </a:lstStyle>
          <a:p>
            <a:pPr lvl="0"/>
            <a:r>
              <a:rPr lang="en-US"/>
              <a:t>Click to edit Master text styles</a:t>
            </a:r>
          </a:p>
        </p:txBody>
      </p:sp>
      <p:pic>
        <p:nvPicPr>
          <p:cNvPr id="82" name="Google Shape;82;p9"/>
          <p:cNvPicPr preferRelativeResize="0"/>
          <p:nvPr/>
        </p:nvPicPr>
        <p:blipFill>
          <a:blip r:embed="rId2"/>
          <a:srcRect/>
          <a:stretch/>
        </p:blipFill>
        <p:spPr>
          <a:xfrm>
            <a:off x="816797" y="752418"/>
            <a:ext cx="2454372" cy="285233"/>
          </a:xfrm>
          <a:prstGeom prst="rect">
            <a:avLst/>
          </a:prstGeom>
          <a:noFill/>
          <a:ln>
            <a:noFill/>
          </a:ln>
        </p:spPr>
      </p:pic>
    </p:spTree>
    <p:extLst>
      <p:ext uri="{BB962C8B-B14F-4D97-AF65-F5344CB8AC3E}">
        <p14:creationId xmlns:p14="http://schemas.microsoft.com/office/powerpoint/2010/main" val="2729746347"/>
      </p:ext>
    </p:extLst>
  </p:cSld>
  <p:clrMapOvr>
    <a:masterClrMapping/>
  </p:clrMapOvr>
  <p:extLst>
    <p:ext uri="{DCECCB84-F9BA-43D5-87BE-67443E8EF086}">
      <p15:sldGuideLst xmlns:p15="http://schemas.microsoft.com/office/powerpoint/2012/main">
        <p15:guide id="1" orient="horz" pos="397">
          <p15:clr>
            <a:srgbClr val="FA7B17"/>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inhoud 2"/>
          <p:cNvSpPr>
            <a:spLocks noGrp="1"/>
          </p:cNvSpPr>
          <p:nvPr>
            <p:ph idx="1" hasCustomPrompt="1"/>
          </p:nvPr>
        </p:nvSpPr>
        <p:spPr>
          <a:xfrm>
            <a:off x="609600" y="1623061"/>
            <a:ext cx="10972800" cy="452596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198966" y="6400801"/>
            <a:ext cx="917701" cy="276224"/>
          </a:xfrm>
        </p:spPr>
        <p:txBody>
          <a:bodyPr/>
          <a:lstStyle/>
          <a:p>
            <a:fld id="{A5BF5FAA-1273-48C9-A418-A52A86AE5014}"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8" name="Tijdelijke aanduiding voor tekst 9"/>
          <p:cNvSpPr>
            <a:spLocks noGrp="1"/>
          </p:cNvSpPr>
          <p:nvPr>
            <p:ph type="body" sz="quarter" idx="13"/>
          </p:nvPr>
        </p:nvSpPr>
        <p:spPr>
          <a:xfrm>
            <a:off x="1168976" y="3472816"/>
            <a:ext cx="6480000" cy="330860"/>
          </a:xfrm>
          <a:noFill/>
        </p:spPr>
        <p:txBody>
          <a:bodyPr wrap="square" lIns="90000" rtlCol="0">
            <a:spAutoFit/>
          </a:bodyPr>
          <a:lstStyle>
            <a:lvl1pPr marL="0" indent="0">
              <a:buNone/>
              <a:defRPr lang="nl-BE" sz="1300" spc="20" noProof="0" dirty="0">
                <a:solidFill>
                  <a:srgbClr val="C62B37"/>
                </a:solidFill>
              </a:defRPr>
            </a:lvl1pPr>
          </a:lstStyle>
          <a:p>
            <a:pPr marL="0" lvl="0">
              <a:lnSpc>
                <a:spcPts val="2000"/>
              </a:lnSpc>
            </a:pPr>
            <a:r>
              <a:rPr kumimoji="0" lang="en-US" sz="1200" b="0" i="0" u="none" strike="noStrike" kern="1200" cap="none" spc="20" normalizeH="0" baseline="0">
                <a:ln>
                  <a:noFill/>
                </a:ln>
                <a:solidFill>
                  <a:srgbClr val="C62B37"/>
                </a:solidFill>
                <a:effectLst/>
                <a:uLnTx/>
                <a:uFillTx/>
                <a:latin typeface="+mn-lt"/>
                <a:ea typeface="+mn-ea"/>
                <a:cs typeface="+mn-cs"/>
              </a:rPr>
              <a:t>Click to edit Master text styles</a:t>
            </a:r>
          </a:p>
        </p:txBody>
      </p:sp>
    </p:spTree>
    <p:extLst>
      <p:ext uri="{BB962C8B-B14F-4D97-AF65-F5344CB8AC3E}">
        <p14:creationId xmlns:p14="http://schemas.microsoft.com/office/powerpoint/2010/main" val="400888692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Summary">
  <p:cSld name="Summary">
    <p:bg>
      <p:bgPr>
        <a:solidFill>
          <a:srgbClr val="FFFFFF"/>
        </a:solidFill>
        <a:effectLst/>
      </p:bgPr>
    </p:bg>
    <p:spTree>
      <p:nvGrpSpPr>
        <p:cNvPr id="1" name="Shape 83"/>
        <p:cNvGrpSpPr/>
        <p:nvPr/>
      </p:nvGrpSpPr>
      <p:grpSpPr>
        <a:xfrm>
          <a:off x="0" y="0"/>
          <a:ext cx="0" cy="0"/>
          <a:chOff x="0" y="0"/>
          <a:chExt cx="0" cy="0"/>
        </a:xfrm>
      </p:grpSpPr>
      <p:pic>
        <p:nvPicPr>
          <p:cNvPr id="84" name="Google Shape;84;p10"/>
          <p:cNvPicPr preferRelativeResize="0"/>
          <p:nvPr/>
        </p:nvPicPr>
        <p:blipFill rotWithShape="1">
          <a:blip r:embed="rId2">
            <a:alphaModFix/>
          </a:blip>
          <a:srcRect t="-3950"/>
          <a:stretch/>
        </p:blipFill>
        <p:spPr>
          <a:xfrm>
            <a:off x="-56399" y="-281783"/>
            <a:ext cx="4388667" cy="7421579"/>
          </a:xfrm>
          <a:prstGeom prst="rect">
            <a:avLst/>
          </a:prstGeom>
          <a:noFill/>
          <a:ln>
            <a:noFill/>
          </a:ln>
        </p:spPr>
      </p:pic>
      <p:sp>
        <p:nvSpPr>
          <p:cNvPr id="85" name="Google Shape;85;p10"/>
          <p:cNvSpPr txBox="1">
            <a:spLocks noGrp="1"/>
          </p:cNvSpPr>
          <p:nvPr>
            <p:ph type="body" idx="1"/>
          </p:nvPr>
        </p:nvSpPr>
        <p:spPr>
          <a:xfrm>
            <a:off x="6096000" y="719667"/>
            <a:ext cx="5291600" cy="5412400"/>
          </a:xfrm>
          <a:prstGeom prst="rect">
            <a:avLst/>
          </a:prstGeom>
          <a:noFill/>
          <a:ln>
            <a:noFill/>
          </a:ln>
        </p:spPr>
        <p:txBody>
          <a:bodyPr spcFirstLastPara="1" wrap="square" lIns="0" tIns="0" rIns="0" bIns="0" anchor="t" anchorCtr="0">
            <a:noAutofit/>
          </a:bodyPr>
          <a:lstStyle>
            <a:lvl1pPr marL="609585" marR="0" lvl="0" indent="-499521" algn="l">
              <a:lnSpc>
                <a:spcPct val="100000"/>
              </a:lnSpc>
              <a:spcBef>
                <a:spcPts val="0"/>
              </a:spcBef>
              <a:spcAft>
                <a:spcPts val="0"/>
              </a:spcAft>
              <a:buClr>
                <a:srgbClr val="14E9B6"/>
              </a:buClr>
              <a:buSzPts val="2300"/>
              <a:buFont typeface="Arial"/>
              <a:buAutoNum type="arabicPeriod"/>
              <a:defRPr sz="2400" b="0" i="0" u="none" strike="noStrike" cap="none">
                <a:solidFill>
                  <a:srgbClr val="1A1A1A"/>
                </a:solidFill>
                <a:latin typeface="Arial"/>
                <a:ea typeface="Arial"/>
                <a:cs typeface="Arial"/>
                <a:sym typeface="Arial"/>
              </a:defRPr>
            </a:lvl1pPr>
            <a:lvl2pPr marL="1219170" marR="0" lvl="1" indent="-440256" algn="l">
              <a:lnSpc>
                <a:spcPct val="100000"/>
              </a:lnSpc>
              <a:spcBef>
                <a:spcPts val="1067"/>
              </a:spcBef>
              <a:spcAft>
                <a:spcPts val="0"/>
              </a:spcAft>
              <a:buClr>
                <a:srgbClr val="14E9B6"/>
              </a:buClr>
              <a:buSzPts val="1600"/>
              <a:buFont typeface="Arial"/>
              <a:buAutoNum type="alphaLcParenR"/>
              <a:defRPr sz="1867" b="0" i="0" u="none" strike="noStrike" cap="none">
                <a:solidFill>
                  <a:srgbClr val="1A1A1A"/>
                </a:solidFill>
                <a:latin typeface="Arial"/>
                <a:ea typeface="Arial"/>
                <a:cs typeface="Arial"/>
                <a:sym typeface="Arial"/>
              </a:defRPr>
            </a:lvl2pPr>
            <a:lvl3pPr marL="1828754" marR="0" lvl="2" indent="-389457" algn="l">
              <a:lnSpc>
                <a:spcPct val="100000"/>
              </a:lnSpc>
              <a:spcBef>
                <a:spcPts val="1067"/>
              </a:spcBef>
              <a:spcAft>
                <a:spcPts val="0"/>
              </a:spcAft>
              <a:buClr>
                <a:schemeClr val="dk1"/>
              </a:buClr>
              <a:buSzPts val="1000"/>
              <a:buFont typeface="Arial"/>
              <a:buAutoNum type="romanLcPeriod"/>
              <a:defRPr sz="1200" b="0" i="0" u="none" strike="noStrike" cap="none">
                <a:solidFill>
                  <a:schemeClr val="dk1"/>
                </a:solidFill>
                <a:latin typeface="Arial"/>
                <a:ea typeface="Arial"/>
                <a:cs typeface="Arial"/>
                <a:sym typeface="Arial"/>
              </a:defRPr>
            </a:lvl3pPr>
            <a:lvl4pPr marL="2438339" marR="0" lvl="3" indent="-380990" algn="l">
              <a:lnSpc>
                <a:spcPct val="100000"/>
              </a:lnSpc>
              <a:spcBef>
                <a:spcPts val="1067"/>
              </a:spcBef>
              <a:spcAft>
                <a:spcPts val="0"/>
              </a:spcAft>
              <a:buClr>
                <a:schemeClr val="dk1"/>
              </a:buClr>
              <a:buSzPts val="900"/>
              <a:buFont typeface="Arial"/>
              <a:buChar char="•"/>
              <a:defRPr sz="1200" b="0" i="0" u="none" strike="noStrike" cap="none">
                <a:solidFill>
                  <a:schemeClr val="dk1"/>
                </a:solidFill>
                <a:latin typeface="Arial"/>
                <a:ea typeface="Arial"/>
                <a:cs typeface="Arial"/>
                <a:sym typeface="Arial"/>
              </a:defRPr>
            </a:lvl4pPr>
            <a:lvl5pPr marL="3047924" marR="0" lvl="4" indent="-380990" algn="l">
              <a:lnSpc>
                <a:spcPct val="100000"/>
              </a:lnSpc>
              <a:spcBef>
                <a:spcPts val="533"/>
              </a:spcBef>
              <a:spcAft>
                <a:spcPts val="0"/>
              </a:spcAft>
              <a:buClr>
                <a:schemeClr val="lt1"/>
              </a:buClr>
              <a:buSzPts val="900"/>
              <a:buFont typeface="Arial"/>
              <a:buChar char="•"/>
              <a:defRPr sz="1200" b="0" i="0" u="none" strike="noStrike" cap="none">
                <a:solidFill>
                  <a:schemeClr val="lt1"/>
                </a:solidFill>
                <a:latin typeface="Arial"/>
                <a:ea typeface="Arial"/>
                <a:cs typeface="Arial"/>
                <a:sym typeface="Arial"/>
              </a:defRPr>
            </a:lvl5pPr>
            <a:lvl6pPr marL="3657509" marR="0" lvl="5" indent="-423323" algn="l">
              <a:lnSpc>
                <a:spcPct val="90000"/>
              </a:lnSpc>
              <a:spcBef>
                <a:spcPts val="533"/>
              </a:spcBef>
              <a:spcAft>
                <a:spcPts val="0"/>
              </a:spcAft>
              <a:buClr>
                <a:schemeClr val="lt1"/>
              </a:buClr>
              <a:buSzPts val="1400"/>
              <a:buFont typeface="Arial"/>
              <a:buChar char="•"/>
              <a:defRPr sz="1867" b="0" i="0" u="none" strike="noStrike" cap="none">
                <a:solidFill>
                  <a:schemeClr val="lt1"/>
                </a:solidFill>
                <a:latin typeface="Arial"/>
                <a:ea typeface="Arial"/>
                <a:cs typeface="Arial"/>
                <a:sym typeface="Arial"/>
              </a:defRPr>
            </a:lvl6pPr>
            <a:lvl7pPr marL="4267093" marR="0" lvl="6" indent="-423323" algn="l">
              <a:lnSpc>
                <a:spcPct val="90000"/>
              </a:lnSpc>
              <a:spcBef>
                <a:spcPts val="533"/>
              </a:spcBef>
              <a:spcAft>
                <a:spcPts val="0"/>
              </a:spcAft>
              <a:buClr>
                <a:schemeClr val="lt1"/>
              </a:buClr>
              <a:buSzPts val="1400"/>
              <a:buFont typeface="Arial"/>
              <a:buChar char="•"/>
              <a:defRPr sz="1867" b="0" i="0" u="none" strike="noStrike" cap="none">
                <a:solidFill>
                  <a:schemeClr val="lt1"/>
                </a:solidFill>
                <a:latin typeface="Arial"/>
                <a:ea typeface="Arial"/>
                <a:cs typeface="Arial"/>
                <a:sym typeface="Arial"/>
              </a:defRPr>
            </a:lvl7pPr>
            <a:lvl8pPr marL="4876678" marR="0" lvl="7" indent="-423323" algn="l">
              <a:lnSpc>
                <a:spcPct val="90000"/>
              </a:lnSpc>
              <a:spcBef>
                <a:spcPts val="533"/>
              </a:spcBef>
              <a:spcAft>
                <a:spcPts val="0"/>
              </a:spcAft>
              <a:buClr>
                <a:schemeClr val="lt1"/>
              </a:buClr>
              <a:buSzPts val="1400"/>
              <a:buFont typeface="Arial"/>
              <a:buChar char="•"/>
              <a:defRPr sz="1867" b="0" i="0" u="none" strike="noStrike" cap="none">
                <a:solidFill>
                  <a:schemeClr val="lt1"/>
                </a:solidFill>
                <a:latin typeface="Arial"/>
                <a:ea typeface="Arial"/>
                <a:cs typeface="Arial"/>
                <a:sym typeface="Arial"/>
              </a:defRPr>
            </a:lvl8pPr>
            <a:lvl9pPr marL="5486263" marR="0" lvl="8" indent="-423323" algn="l">
              <a:lnSpc>
                <a:spcPct val="90000"/>
              </a:lnSpc>
              <a:spcBef>
                <a:spcPts val="533"/>
              </a:spcBef>
              <a:spcAft>
                <a:spcPts val="0"/>
              </a:spcAft>
              <a:buClr>
                <a:schemeClr val="lt1"/>
              </a:buClr>
              <a:buSzPts val="1400"/>
              <a:buFont typeface="Arial"/>
              <a:buChar char="•"/>
              <a:defRPr sz="1867" b="0" i="0" u="none" strike="noStrike" cap="none">
                <a:solidFill>
                  <a:schemeClr val="lt1"/>
                </a:solidFill>
                <a:latin typeface="Arial"/>
                <a:ea typeface="Arial"/>
                <a:cs typeface="Arial"/>
                <a:sym typeface="Arial"/>
              </a:defRPr>
            </a:lvl9pPr>
          </a:lstStyle>
          <a:p>
            <a:pPr lvl="0"/>
            <a:r>
              <a:rPr lang="en-US"/>
              <a:t>Click to edit Master text styles</a:t>
            </a:r>
          </a:p>
        </p:txBody>
      </p:sp>
      <p:sp>
        <p:nvSpPr>
          <p:cNvPr id="86" name="Google Shape;86;p10"/>
          <p:cNvSpPr/>
          <p:nvPr/>
        </p:nvSpPr>
        <p:spPr>
          <a:xfrm rot="-430328">
            <a:off x="2052380" y="-2412937"/>
            <a:ext cx="8627909" cy="8627909"/>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87" name="Google Shape;87;p10"/>
          <p:cNvCxnSpPr/>
          <p:nvPr/>
        </p:nvCxnSpPr>
        <p:spPr>
          <a:xfrm flipH="1">
            <a:off x="1447700" y="5169767"/>
            <a:ext cx="1892400" cy="1803600"/>
          </a:xfrm>
          <a:prstGeom prst="straightConnector1">
            <a:avLst/>
          </a:prstGeom>
          <a:noFill/>
          <a:ln w="9525" cap="flat" cmpd="sng">
            <a:solidFill>
              <a:schemeClr val="accent1"/>
            </a:solidFill>
            <a:prstDash val="solid"/>
            <a:round/>
            <a:headEnd type="none" w="sm" len="sm"/>
            <a:tailEnd type="none" w="sm" len="sm"/>
          </a:ln>
        </p:spPr>
      </p:cxnSp>
      <p:sp>
        <p:nvSpPr>
          <p:cNvPr id="88" name="Google Shape;88;p10"/>
          <p:cNvSpPr/>
          <p:nvPr/>
        </p:nvSpPr>
        <p:spPr>
          <a:xfrm>
            <a:off x="3229533" y="4916533"/>
            <a:ext cx="377200" cy="377200"/>
          </a:xfrm>
          <a:prstGeom prst="ellipse">
            <a:avLst/>
          </a:prstGeom>
          <a:solidFill>
            <a:schemeClr val="dk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89" name="Google Shape;89;p10"/>
          <p:cNvPicPr preferRelativeResize="0"/>
          <p:nvPr/>
        </p:nvPicPr>
        <p:blipFill rotWithShape="1">
          <a:blip r:embed="rId3">
            <a:alphaModFix/>
          </a:blip>
          <a:srcRect/>
          <a:stretch/>
        </p:blipFill>
        <p:spPr>
          <a:xfrm>
            <a:off x="4332834" y="-811902"/>
            <a:ext cx="2560501" cy="2709799"/>
          </a:xfrm>
          <a:prstGeom prst="rect">
            <a:avLst/>
          </a:prstGeom>
          <a:noFill/>
          <a:ln>
            <a:noFill/>
          </a:ln>
        </p:spPr>
      </p:pic>
      <p:sp>
        <p:nvSpPr>
          <p:cNvPr id="90" name="Google Shape;90;p10"/>
          <p:cNvSpPr txBox="1">
            <a:spLocks noGrp="1"/>
          </p:cNvSpPr>
          <p:nvPr>
            <p:ph type="body" idx="2"/>
          </p:nvPr>
        </p:nvSpPr>
        <p:spPr>
          <a:xfrm>
            <a:off x="804399" y="719667"/>
            <a:ext cx="3527868" cy="5412317"/>
          </a:xfrm>
          <a:prstGeom prst="rect">
            <a:avLst/>
          </a:prstGeom>
          <a:noFill/>
          <a:ln>
            <a:noFill/>
          </a:ln>
        </p:spPr>
        <p:txBody>
          <a:bodyPr spcFirstLastPara="1" wrap="square" lIns="0" tIns="0" rIns="0" bIns="0" anchor="t" anchorCtr="0">
            <a:noAutofit/>
          </a:bodyPr>
          <a:lstStyle>
            <a:lvl1pPr marL="143996" marR="0" lvl="0" indent="0" algn="l">
              <a:lnSpc>
                <a:spcPct val="100000"/>
              </a:lnSpc>
              <a:spcBef>
                <a:spcPts val="0"/>
              </a:spcBef>
              <a:spcAft>
                <a:spcPts val="0"/>
              </a:spcAft>
              <a:buClr>
                <a:schemeClr val="accent1"/>
              </a:buClr>
              <a:buSzPts val="1400"/>
              <a:buFont typeface="Arial"/>
              <a:buNone/>
              <a:defRPr sz="1867" b="1" i="0" u="none" strike="noStrike" cap="none">
                <a:solidFill>
                  <a:schemeClr val="accent1"/>
                </a:solidFill>
                <a:latin typeface="Arial"/>
                <a:ea typeface="Arial"/>
                <a:cs typeface="Arial"/>
                <a:sym typeface="Arial"/>
              </a:defRPr>
            </a:lvl1pPr>
            <a:lvl2pPr marL="1219170" marR="0" lvl="1" indent="-304792" algn="l">
              <a:lnSpc>
                <a:spcPct val="100000"/>
              </a:lnSpc>
              <a:spcBef>
                <a:spcPts val="0"/>
              </a:spcBef>
              <a:spcAft>
                <a:spcPts val="0"/>
              </a:spcAft>
              <a:buClr>
                <a:schemeClr val="accent1"/>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chemeClr val="accent1"/>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chemeClr val="accent1"/>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chemeClr val="accent1"/>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6pPr>
            <a:lvl7pPr marL="4267093" marR="0" lvl="6" indent="-304792" algn="l">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7pPr>
            <a:lvl8pPr marL="4876678" marR="0" lvl="7" indent="-304792" algn="l">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8pPr>
            <a:lvl9pPr marL="5486263" marR="0" lvl="8" indent="-304792" algn="l">
              <a:lnSpc>
                <a:spcPct val="100000"/>
              </a:lnSpc>
              <a:spcBef>
                <a:spcPts val="0"/>
              </a:spcBef>
              <a:spcAft>
                <a:spcPts val="0"/>
              </a:spcAft>
              <a:buClr>
                <a:schemeClr val="accent1"/>
              </a:buClr>
              <a:buSzPts val="1400"/>
              <a:buFont typeface="Arial"/>
              <a:buNone/>
              <a:defRPr sz="1867" b="0" i="0" u="none" strike="noStrike" cap="none">
                <a:solidFill>
                  <a:schemeClr val="accent1"/>
                </a:solidFill>
                <a:latin typeface="Arial"/>
                <a:ea typeface="Arial"/>
                <a:cs typeface="Arial"/>
                <a:sym typeface="Arial"/>
              </a:defRPr>
            </a:lvl9pPr>
          </a:lstStyle>
          <a:p>
            <a:pPr lvl="0"/>
            <a:r>
              <a:rPr lang="en-US"/>
              <a:t>Click to edit Master text styles</a:t>
            </a:r>
          </a:p>
        </p:txBody>
      </p:sp>
      <p:sp>
        <p:nvSpPr>
          <p:cNvPr id="91" name="Google Shape;91;p10"/>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Tree>
    <p:extLst>
      <p:ext uri="{BB962C8B-B14F-4D97-AF65-F5344CB8AC3E}">
        <p14:creationId xmlns:p14="http://schemas.microsoft.com/office/powerpoint/2010/main" val="262318101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Empty_1">
  <p:cSld name="Empty_1">
    <p:bg>
      <p:bgPr>
        <a:solidFill>
          <a:schemeClr val="lt2"/>
        </a:solidFill>
        <a:effectLst/>
      </p:bgPr>
    </p:bg>
    <p:spTree>
      <p:nvGrpSpPr>
        <p:cNvPr id="1" name="Shape 92"/>
        <p:cNvGrpSpPr/>
        <p:nvPr/>
      </p:nvGrpSpPr>
      <p:grpSpPr>
        <a:xfrm>
          <a:off x="0" y="0"/>
          <a:ext cx="0" cy="0"/>
          <a:chOff x="0" y="0"/>
          <a:chExt cx="0" cy="0"/>
        </a:xfrm>
      </p:grpSpPr>
      <p:sp>
        <p:nvSpPr>
          <p:cNvPr id="93" name="Google Shape;93;p45"/>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94" name="Google Shape;94;p45"/>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96" name="Google Shape;96;p45"/>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pic>
        <p:nvPicPr>
          <p:cNvPr id="7" name="Google Shape;95;p45">
            <a:extLst>
              <a:ext uri="{FF2B5EF4-FFF2-40B4-BE49-F238E27FC236}">
                <a16:creationId xmlns:a16="http://schemas.microsoft.com/office/drawing/2014/main" id="{3FA5AED6-B1A4-B14E-92E0-9B7531069954}"/>
              </a:ext>
            </a:extLst>
          </p:cNvPr>
          <p:cNvPicPr preferRelativeResize="0"/>
          <p:nvPr/>
        </p:nvPicPr>
        <p:blipFill>
          <a:blip r:embed="rId2"/>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248714586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Empty_1bis">
  <p:cSld name="Empty_1bis">
    <p:bg>
      <p:bgPr>
        <a:solidFill>
          <a:schemeClr val="dk1"/>
        </a:solidFill>
        <a:effectLst/>
      </p:bgPr>
    </p:bg>
    <p:spTree>
      <p:nvGrpSpPr>
        <p:cNvPr id="1" name="Shape 97"/>
        <p:cNvGrpSpPr/>
        <p:nvPr/>
      </p:nvGrpSpPr>
      <p:grpSpPr>
        <a:xfrm>
          <a:off x="0" y="0"/>
          <a:ext cx="0" cy="0"/>
          <a:chOff x="0" y="0"/>
          <a:chExt cx="0" cy="0"/>
        </a:xfrm>
      </p:grpSpPr>
      <p:sp>
        <p:nvSpPr>
          <p:cNvPr id="98" name="Google Shape;98;p46"/>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FFFFFF"/>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FFFFFF"/>
              </a:solidFill>
              <a:latin typeface="Arial"/>
              <a:ea typeface="Arial"/>
              <a:cs typeface="Arial"/>
              <a:sym typeface="Arial"/>
            </a:endParaRPr>
          </a:p>
        </p:txBody>
      </p:sp>
      <p:sp>
        <p:nvSpPr>
          <p:cNvPr id="99" name="Google Shape;99;p46"/>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FFFFFF"/>
                </a:solidFill>
                <a:latin typeface="Arial"/>
                <a:ea typeface="Arial"/>
                <a:cs typeface="Arial"/>
                <a:sym typeface="Arial"/>
              </a:rPr>
              <a:t>confidential</a:t>
            </a:r>
            <a:endParaRPr sz="1067" b="0" i="0" u="none" strike="noStrike" cap="none">
              <a:solidFill>
                <a:srgbClr val="FFFFFF"/>
              </a:solidFill>
              <a:latin typeface="Arial"/>
              <a:ea typeface="Arial"/>
              <a:cs typeface="Arial"/>
              <a:sym typeface="Arial"/>
            </a:endParaRPr>
          </a:p>
        </p:txBody>
      </p:sp>
      <p:sp>
        <p:nvSpPr>
          <p:cNvPr id="101" name="Google Shape;101;p46"/>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rgbClr val="FFFFFF"/>
              </a:buClr>
              <a:buSzPts val="800"/>
              <a:buFont typeface="Arial"/>
              <a:buNone/>
              <a:defRPr sz="1067" b="0" i="0" u="none" strike="noStrike" cap="none">
                <a:solidFill>
                  <a:srgbClr val="FFFFFF"/>
                </a:solidFill>
                <a:latin typeface="Arial"/>
                <a:ea typeface="Arial"/>
                <a:cs typeface="Arial"/>
                <a:sym typeface="Arial"/>
              </a:defRPr>
            </a:lvl1pPr>
            <a:lvl2pPr marL="1219170" marR="0" lvl="1"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2pPr>
            <a:lvl3pPr marL="1828754" marR="0" lvl="2"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3pPr>
            <a:lvl4pPr marL="2438339" marR="0" lvl="3"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4pPr>
            <a:lvl5pPr marL="3047924" marR="0" lvl="4"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5pPr>
            <a:lvl6pPr marL="3657509" marR="0" lvl="5"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6pPr>
            <a:lvl7pPr marL="4267093" marR="0" lvl="6"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7pPr>
            <a:lvl8pPr marL="4876678" marR="0" lvl="7"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8pPr>
            <a:lvl9pPr marL="5486263" marR="0" lvl="8"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9pPr>
          </a:lstStyle>
          <a:p>
            <a:pPr lvl="0"/>
            <a:r>
              <a:rPr lang="en-US"/>
              <a:t>Click to edit Master text styles</a:t>
            </a:r>
          </a:p>
        </p:txBody>
      </p:sp>
      <p:pic>
        <p:nvPicPr>
          <p:cNvPr id="6" name="Google Shape;95;p45">
            <a:extLst>
              <a:ext uri="{FF2B5EF4-FFF2-40B4-BE49-F238E27FC236}">
                <a16:creationId xmlns:a16="http://schemas.microsoft.com/office/drawing/2014/main" id="{DC986101-5E7C-4D4B-B148-61020C563AF3}"/>
              </a:ext>
            </a:extLst>
          </p:cNvPr>
          <p:cNvPicPr preferRelativeResize="0"/>
          <p:nvPr/>
        </p:nvPicPr>
        <p:blipFill>
          <a:blip r:embed="rId2"/>
          <a:srcRect/>
          <a:stretch/>
        </p:blipFill>
        <p:spPr>
          <a:xfrm>
            <a:off x="804333" y="6450452"/>
            <a:ext cx="1339315" cy="156579"/>
          </a:xfrm>
          <a:prstGeom prst="rect">
            <a:avLst/>
          </a:prstGeom>
          <a:noFill/>
          <a:ln>
            <a:noFill/>
          </a:ln>
        </p:spPr>
      </p:pic>
    </p:spTree>
    <p:extLst>
      <p:ext uri="{BB962C8B-B14F-4D97-AF65-F5344CB8AC3E}">
        <p14:creationId xmlns:p14="http://schemas.microsoft.com/office/powerpoint/2010/main" val="363382341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Empty_2bis">
  <p:cSld name="Empty_2bis">
    <p:bg>
      <p:bgPr>
        <a:solidFill>
          <a:schemeClr val="dk1"/>
        </a:solidFill>
        <a:effectLst/>
      </p:bgPr>
    </p:bg>
    <p:spTree>
      <p:nvGrpSpPr>
        <p:cNvPr id="1" name="Shape 108"/>
        <p:cNvGrpSpPr/>
        <p:nvPr/>
      </p:nvGrpSpPr>
      <p:grpSpPr>
        <a:xfrm>
          <a:off x="0" y="0"/>
          <a:ext cx="0" cy="0"/>
          <a:chOff x="0" y="0"/>
          <a:chExt cx="0" cy="0"/>
        </a:xfrm>
      </p:grpSpPr>
      <p:sp>
        <p:nvSpPr>
          <p:cNvPr id="109" name="Google Shape;109;p48"/>
          <p:cNvSpPr txBox="1">
            <a:spLocks noGrp="1"/>
          </p:cNvSpPr>
          <p:nvPr>
            <p:ph type="title"/>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FFFFFF"/>
              </a:buClr>
              <a:buSzPts val="1800"/>
              <a:buFont typeface="Arial"/>
              <a:buNone/>
              <a:defRPr sz="2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2pPr>
            <a:lvl3pPr marR="0" lvl="2"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3pPr>
            <a:lvl4pPr marR="0" lvl="3"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4pPr>
            <a:lvl5pPr marR="0" lvl="4"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5pPr>
            <a:lvl6pPr marR="0" lvl="5"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6pPr>
            <a:lvl7pPr marR="0" lvl="6"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7pPr>
            <a:lvl8pPr marR="0" lvl="7"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8pPr>
            <a:lvl9pPr marR="0" lvl="8"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9pPr>
          </a:lstStyle>
          <a:p>
            <a:r>
              <a:rPr lang="en-US"/>
              <a:t>Click to edit Master title style</a:t>
            </a:r>
            <a:endParaRPr/>
          </a:p>
        </p:txBody>
      </p:sp>
      <p:sp>
        <p:nvSpPr>
          <p:cNvPr id="110" name="Google Shape;110;p48"/>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FFFFFF"/>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FFFFFF"/>
              </a:solidFill>
              <a:latin typeface="Arial"/>
              <a:ea typeface="Arial"/>
              <a:cs typeface="Arial"/>
              <a:sym typeface="Arial"/>
            </a:endParaRPr>
          </a:p>
        </p:txBody>
      </p:sp>
      <p:sp>
        <p:nvSpPr>
          <p:cNvPr id="111" name="Google Shape;111;p48"/>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FFFFFF"/>
                </a:solidFill>
                <a:latin typeface="Arial"/>
                <a:ea typeface="Arial"/>
                <a:cs typeface="Arial"/>
                <a:sym typeface="Arial"/>
              </a:rPr>
              <a:t>confidential</a:t>
            </a:r>
            <a:endParaRPr sz="1067" b="0" i="0" u="none" strike="noStrike" cap="none">
              <a:solidFill>
                <a:srgbClr val="FFFFFF"/>
              </a:solidFill>
              <a:latin typeface="Arial"/>
              <a:ea typeface="Arial"/>
              <a:cs typeface="Arial"/>
              <a:sym typeface="Arial"/>
            </a:endParaRPr>
          </a:p>
        </p:txBody>
      </p:sp>
      <p:sp>
        <p:nvSpPr>
          <p:cNvPr id="113" name="Google Shape;113;p48"/>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rgbClr val="FFFFFF"/>
              </a:buClr>
              <a:buSzPts val="800"/>
              <a:buFont typeface="Arial"/>
              <a:buNone/>
              <a:defRPr sz="1067" b="0" i="0" u="none" strike="noStrike" cap="none">
                <a:solidFill>
                  <a:srgbClr val="FFFFFF"/>
                </a:solidFill>
                <a:latin typeface="Arial"/>
                <a:ea typeface="Arial"/>
                <a:cs typeface="Arial"/>
                <a:sym typeface="Arial"/>
              </a:defRPr>
            </a:lvl1pPr>
            <a:lvl2pPr marL="1219170" marR="0" lvl="1"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2pPr>
            <a:lvl3pPr marL="1828754" marR="0" lvl="2"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3pPr>
            <a:lvl4pPr marL="2438339" marR="0" lvl="3"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4pPr>
            <a:lvl5pPr marL="3047924" marR="0" lvl="4"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5pPr>
            <a:lvl6pPr marL="3657509" marR="0" lvl="5"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6pPr>
            <a:lvl7pPr marL="4267093" marR="0" lvl="6"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7pPr>
            <a:lvl8pPr marL="4876678" marR="0" lvl="7"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8pPr>
            <a:lvl9pPr marL="5486263" marR="0" lvl="8"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9pPr>
          </a:lstStyle>
          <a:p>
            <a:pPr lvl="0"/>
            <a:r>
              <a:rPr lang="en-US"/>
              <a:t>Click to edit Master text styles</a:t>
            </a:r>
          </a:p>
        </p:txBody>
      </p:sp>
      <p:pic>
        <p:nvPicPr>
          <p:cNvPr id="7" name="Google Shape;95;p45">
            <a:extLst>
              <a:ext uri="{FF2B5EF4-FFF2-40B4-BE49-F238E27FC236}">
                <a16:creationId xmlns:a16="http://schemas.microsoft.com/office/drawing/2014/main" id="{95C6429E-1608-8A43-AB2E-50E5A7242DC7}"/>
              </a:ext>
            </a:extLst>
          </p:cNvPr>
          <p:cNvPicPr preferRelativeResize="0"/>
          <p:nvPr/>
        </p:nvPicPr>
        <p:blipFill>
          <a:blip r:embed="rId2"/>
          <a:srcRect/>
          <a:stretch/>
        </p:blipFill>
        <p:spPr>
          <a:xfrm>
            <a:off x="804333" y="6450452"/>
            <a:ext cx="1339315" cy="156579"/>
          </a:xfrm>
          <a:prstGeom prst="rect">
            <a:avLst/>
          </a:prstGeom>
          <a:noFill/>
          <a:ln>
            <a:noFill/>
          </a:ln>
        </p:spPr>
      </p:pic>
    </p:spTree>
    <p:extLst>
      <p:ext uri="{BB962C8B-B14F-4D97-AF65-F5344CB8AC3E}">
        <p14:creationId xmlns:p14="http://schemas.microsoft.com/office/powerpoint/2010/main" val="34270994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Slide_20">
  <p:cSld name="Slide_20">
    <p:bg>
      <p:bgPr>
        <a:solidFill>
          <a:srgbClr val="FFFFFF"/>
        </a:solidFill>
        <a:effectLst/>
      </p:bgPr>
    </p:bg>
    <p:spTree>
      <p:nvGrpSpPr>
        <p:cNvPr id="1" name="Shape 121"/>
        <p:cNvGrpSpPr/>
        <p:nvPr/>
      </p:nvGrpSpPr>
      <p:grpSpPr>
        <a:xfrm>
          <a:off x="0" y="0"/>
          <a:ext cx="0" cy="0"/>
          <a:chOff x="0" y="0"/>
          <a:chExt cx="0" cy="0"/>
        </a:xfrm>
      </p:grpSpPr>
      <p:sp>
        <p:nvSpPr>
          <p:cNvPr id="122" name="Google Shape;122;p21"/>
          <p:cNvSpPr txBox="1">
            <a:spLocks noGrp="1"/>
          </p:cNvSpPr>
          <p:nvPr>
            <p:ph type="title"/>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123" name="Google Shape;123;p21"/>
          <p:cNvSpPr txBox="1">
            <a:spLocks noGrp="1"/>
          </p:cNvSpPr>
          <p:nvPr>
            <p:ph type="subTitle" idx="1"/>
          </p:nvPr>
        </p:nvSpPr>
        <p:spPr>
          <a:xfrm>
            <a:off x="802400" y="1553300"/>
            <a:ext cx="10587200" cy="6860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124" name="Google Shape;124;p21"/>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125" name="Google Shape;125;p21"/>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127" name="Google Shape;127;p21"/>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128" name="Google Shape;128;p21"/>
          <p:cNvSpPr txBox="1">
            <a:spLocks noGrp="1"/>
          </p:cNvSpPr>
          <p:nvPr>
            <p:ph type="body" idx="3"/>
          </p:nvPr>
        </p:nvSpPr>
        <p:spPr>
          <a:xfrm>
            <a:off x="4330785" y="2265396"/>
            <a:ext cx="4607984" cy="854837"/>
          </a:xfrm>
          <a:prstGeom prst="rect">
            <a:avLst/>
          </a:prstGeom>
          <a:noFill/>
          <a:ln>
            <a:noFill/>
          </a:ln>
        </p:spPr>
        <p:txBody>
          <a:bodyPr spcFirstLastPara="1" wrap="square" lIns="91425" tIns="45700" rIns="0" bIns="45700" anchor="ctr" anchorCtr="0">
            <a:normAutofit/>
          </a:bodyPr>
          <a:lstStyle>
            <a:lvl1pPr marL="143996" lvl="0" indent="0" algn="l">
              <a:lnSpc>
                <a:spcPct val="100000"/>
              </a:lnSpc>
              <a:spcBef>
                <a:spcPts val="0"/>
              </a:spcBef>
              <a:spcAft>
                <a:spcPts val="0"/>
              </a:spcAft>
              <a:buSzPts val="900"/>
              <a:buNone/>
              <a:defRPr/>
            </a:lvl1pPr>
            <a:lvl2pPr marL="1219170" lvl="1" indent="-380990" algn="l">
              <a:lnSpc>
                <a:spcPct val="100000"/>
              </a:lnSpc>
              <a:spcBef>
                <a:spcPts val="0"/>
              </a:spcBef>
              <a:spcAft>
                <a:spcPts val="0"/>
              </a:spcAft>
              <a:buSzPts val="900"/>
              <a:buChar char="•"/>
              <a:defRPr/>
            </a:lvl2pPr>
            <a:lvl3pPr marL="1828754" lvl="2" indent="-380990" algn="l">
              <a:lnSpc>
                <a:spcPct val="100000"/>
              </a:lnSpc>
              <a:spcBef>
                <a:spcPts val="0"/>
              </a:spcBef>
              <a:spcAft>
                <a:spcPts val="0"/>
              </a:spcAft>
              <a:buSzPts val="900"/>
              <a:buChar char="•"/>
              <a:defRPr/>
            </a:lvl3pPr>
            <a:lvl4pPr marL="2438339" lvl="3" indent="-380990" algn="l">
              <a:lnSpc>
                <a:spcPct val="100000"/>
              </a:lnSpc>
              <a:spcBef>
                <a:spcPts val="0"/>
              </a:spcBef>
              <a:spcAft>
                <a:spcPts val="0"/>
              </a:spcAft>
              <a:buSzPts val="900"/>
              <a:buChar char="•"/>
              <a:defRPr/>
            </a:lvl4pPr>
            <a:lvl5pPr marL="3047924" lvl="4" indent="-380990" algn="l">
              <a:lnSpc>
                <a:spcPct val="100000"/>
              </a:lnSpc>
              <a:spcBef>
                <a:spcPts val="0"/>
              </a:spcBef>
              <a:spcAft>
                <a:spcPts val="0"/>
              </a:spcAft>
              <a:buSzPts val="900"/>
              <a:buChar char="•"/>
              <a:defRPr/>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lvl="0"/>
            <a:r>
              <a:rPr lang="en-US"/>
              <a:t>Click to edit Master text styles</a:t>
            </a:r>
          </a:p>
        </p:txBody>
      </p:sp>
      <p:sp>
        <p:nvSpPr>
          <p:cNvPr id="129" name="Google Shape;129;p21"/>
          <p:cNvSpPr txBox="1">
            <a:spLocks noGrp="1"/>
          </p:cNvSpPr>
          <p:nvPr>
            <p:ph type="body" idx="4"/>
          </p:nvPr>
        </p:nvSpPr>
        <p:spPr>
          <a:xfrm>
            <a:off x="4332816" y="3269533"/>
            <a:ext cx="4607984" cy="854800"/>
          </a:xfrm>
          <a:prstGeom prst="rect">
            <a:avLst/>
          </a:prstGeom>
          <a:noFill/>
          <a:ln>
            <a:noFill/>
          </a:ln>
        </p:spPr>
        <p:txBody>
          <a:bodyPr spcFirstLastPara="1" wrap="square" lIns="91425" tIns="45700" rIns="0" bIns="45700" anchor="ctr" anchorCtr="0">
            <a:normAutofit/>
          </a:bodyPr>
          <a:lstStyle>
            <a:lvl1pPr marL="143996" lvl="0" indent="0" algn="l">
              <a:lnSpc>
                <a:spcPct val="100000"/>
              </a:lnSpc>
              <a:spcBef>
                <a:spcPts val="0"/>
              </a:spcBef>
              <a:spcAft>
                <a:spcPts val="0"/>
              </a:spcAft>
              <a:buSzPts val="900"/>
              <a:buNone/>
              <a:defRPr/>
            </a:lvl1pPr>
            <a:lvl2pPr marL="1219170" lvl="1" indent="-380990" algn="l">
              <a:lnSpc>
                <a:spcPct val="100000"/>
              </a:lnSpc>
              <a:spcBef>
                <a:spcPts val="0"/>
              </a:spcBef>
              <a:spcAft>
                <a:spcPts val="0"/>
              </a:spcAft>
              <a:buSzPts val="900"/>
              <a:buChar char="•"/>
              <a:defRPr/>
            </a:lvl2pPr>
            <a:lvl3pPr marL="1828754" lvl="2" indent="-380990" algn="l">
              <a:lnSpc>
                <a:spcPct val="100000"/>
              </a:lnSpc>
              <a:spcBef>
                <a:spcPts val="0"/>
              </a:spcBef>
              <a:spcAft>
                <a:spcPts val="0"/>
              </a:spcAft>
              <a:buSzPts val="900"/>
              <a:buChar char="•"/>
              <a:defRPr/>
            </a:lvl3pPr>
            <a:lvl4pPr marL="2438339" lvl="3" indent="-380990" algn="l">
              <a:lnSpc>
                <a:spcPct val="100000"/>
              </a:lnSpc>
              <a:spcBef>
                <a:spcPts val="0"/>
              </a:spcBef>
              <a:spcAft>
                <a:spcPts val="0"/>
              </a:spcAft>
              <a:buSzPts val="900"/>
              <a:buChar char="•"/>
              <a:defRPr/>
            </a:lvl4pPr>
            <a:lvl5pPr marL="3047924" lvl="4" indent="-380990" algn="l">
              <a:lnSpc>
                <a:spcPct val="100000"/>
              </a:lnSpc>
              <a:spcBef>
                <a:spcPts val="0"/>
              </a:spcBef>
              <a:spcAft>
                <a:spcPts val="0"/>
              </a:spcAft>
              <a:buSzPts val="900"/>
              <a:buChar char="•"/>
              <a:defRPr/>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lvl="0"/>
            <a:r>
              <a:rPr lang="en-US"/>
              <a:t>Click to edit Master text styles</a:t>
            </a:r>
          </a:p>
        </p:txBody>
      </p:sp>
      <p:sp>
        <p:nvSpPr>
          <p:cNvPr id="130" name="Google Shape;130;p21"/>
          <p:cNvSpPr txBox="1">
            <a:spLocks noGrp="1"/>
          </p:cNvSpPr>
          <p:nvPr>
            <p:ph type="body" idx="5"/>
          </p:nvPr>
        </p:nvSpPr>
        <p:spPr>
          <a:xfrm>
            <a:off x="4332816" y="4273667"/>
            <a:ext cx="4607984" cy="854800"/>
          </a:xfrm>
          <a:prstGeom prst="rect">
            <a:avLst/>
          </a:prstGeom>
          <a:noFill/>
          <a:ln>
            <a:noFill/>
          </a:ln>
        </p:spPr>
        <p:txBody>
          <a:bodyPr spcFirstLastPara="1" wrap="square" lIns="91425" tIns="45700" rIns="0" bIns="45700" anchor="ctr" anchorCtr="0">
            <a:normAutofit/>
          </a:bodyPr>
          <a:lstStyle>
            <a:lvl1pPr marL="143996" lvl="0" indent="0" algn="l">
              <a:lnSpc>
                <a:spcPct val="100000"/>
              </a:lnSpc>
              <a:spcBef>
                <a:spcPts val="0"/>
              </a:spcBef>
              <a:spcAft>
                <a:spcPts val="0"/>
              </a:spcAft>
              <a:buSzPts val="900"/>
              <a:buNone/>
              <a:defRPr/>
            </a:lvl1pPr>
            <a:lvl2pPr marL="1219170" lvl="1" indent="-380990" algn="l">
              <a:lnSpc>
                <a:spcPct val="100000"/>
              </a:lnSpc>
              <a:spcBef>
                <a:spcPts val="0"/>
              </a:spcBef>
              <a:spcAft>
                <a:spcPts val="0"/>
              </a:spcAft>
              <a:buSzPts val="900"/>
              <a:buChar char="•"/>
              <a:defRPr/>
            </a:lvl2pPr>
            <a:lvl3pPr marL="1828754" lvl="2" indent="-380990" algn="l">
              <a:lnSpc>
                <a:spcPct val="100000"/>
              </a:lnSpc>
              <a:spcBef>
                <a:spcPts val="0"/>
              </a:spcBef>
              <a:spcAft>
                <a:spcPts val="0"/>
              </a:spcAft>
              <a:buSzPts val="900"/>
              <a:buChar char="•"/>
              <a:defRPr/>
            </a:lvl3pPr>
            <a:lvl4pPr marL="2438339" lvl="3" indent="-380990" algn="l">
              <a:lnSpc>
                <a:spcPct val="100000"/>
              </a:lnSpc>
              <a:spcBef>
                <a:spcPts val="0"/>
              </a:spcBef>
              <a:spcAft>
                <a:spcPts val="0"/>
              </a:spcAft>
              <a:buSzPts val="900"/>
              <a:buChar char="•"/>
              <a:defRPr/>
            </a:lvl4pPr>
            <a:lvl5pPr marL="3047924" lvl="4" indent="-380990" algn="l">
              <a:lnSpc>
                <a:spcPct val="100000"/>
              </a:lnSpc>
              <a:spcBef>
                <a:spcPts val="0"/>
              </a:spcBef>
              <a:spcAft>
                <a:spcPts val="0"/>
              </a:spcAft>
              <a:buSzPts val="900"/>
              <a:buChar char="•"/>
              <a:defRPr/>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lvl="0"/>
            <a:r>
              <a:rPr lang="en-US"/>
              <a:t>Click to edit Master text styles</a:t>
            </a:r>
          </a:p>
        </p:txBody>
      </p:sp>
      <p:sp>
        <p:nvSpPr>
          <p:cNvPr id="131" name="Google Shape;131;p21"/>
          <p:cNvSpPr txBox="1">
            <a:spLocks noGrp="1"/>
          </p:cNvSpPr>
          <p:nvPr>
            <p:ph type="body" idx="6"/>
          </p:nvPr>
        </p:nvSpPr>
        <p:spPr>
          <a:xfrm>
            <a:off x="4332816" y="5277767"/>
            <a:ext cx="4607984" cy="854800"/>
          </a:xfrm>
          <a:prstGeom prst="rect">
            <a:avLst/>
          </a:prstGeom>
          <a:noFill/>
          <a:ln>
            <a:noFill/>
          </a:ln>
        </p:spPr>
        <p:txBody>
          <a:bodyPr spcFirstLastPara="1" wrap="square" lIns="91425" tIns="45700" rIns="0" bIns="45700" anchor="ctr" anchorCtr="0">
            <a:normAutofit/>
          </a:bodyPr>
          <a:lstStyle>
            <a:lvl1pPr marL="143996" lvl="0" indent="0" algn="l">
              <a:lnSpc>
                <a:spcPct val="100000"/>
              </a:lnSpc>
              <a:spcBef>
                <a:spcPts val="0"/>
              </a:spcBef>
              <a:spcAft>
                <a:spcPts val="0"/>
              </a:spcAft>
              <a:buSzPts val="900"/>
              <a:buNone/>
              <a:defRPr/>
            </a:lvl1pPr>
            <a:lvl2pPr marL="1219170" lvl="1" indent="-380990" algn="l">
              <a:lnSpc>
                <a:spcPct val="100000"/>
              </a:lnSpc>
              <a:spcBef>
                <a:spcPts val="0"/>
              </a:spcBef>
              <a:spcAft>
                <a:spcPts val="0"/>
              </a:spcAft>
              <a:buSzPts val="900"/>
              <a:buChar char="•"/>
              <a:defRPr/>
            </a:lvl2pPr>
            <a:lvl3pPr marL="1828754" lvl="2" indent="-380990" algn="l">
              <a:lnSpc>
                <a:spcPct val="100000"/>
              </a:lnSpc>
              <a:spcBef>
                <a:spcPts val="0"/>
              </a:spcBef>
              <a:spcAft>
                <a:spcPts val="0"/>
              </a:spcAft>
              <a:buSzPts val="900"/>
              <a:buChar char="•"/>
              <a:defRPr/>
            </a:lvl3pPr>
            <a:lvl4pPr marL="2438339" lvl="3" indent="-380990" algn="l">
              <a:lnSpc>
                <a:spcPct val="100000"/>
              </a:lnSpc>
              <a:spcBef>
                <a:spcPts val="0"/>
              </a:spcBef>
              <a:spcAft>
                <a:spcPts val="0"/>
              </a:spcAft>
              <a:buSzPts val="900"/>
              <a:buChar char="•"/>
              <a:defRPr/>
            </a:lvl4pPr>
            <a:lvl5pPr marL="3047924" lvl="4" indent="-380990" algn="l">
              <a:lnSpc>
                <a:spcPct val="100000"/>
              </a:lnSpc>
              <a:spcBef>
                <a:spcPts val="0"/>
              </a:spcBef>
              <a:spcAft>
                <a:spcPts val="0"/>
              </a:spcAft>
              <a:buSzPts val="900"/>
              <a:buChar char="•"/>
              <a:defRPr/>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lvl="0"/>
            <a:r>
              <a:rPr lang="en-US"/>
              <a:t>Click to edit Master text styles</a:t>
            </a:r>
          </a:p>
        </p:txBody>
      </p:sp>
      <p:sp>
        <p:nvSpPr>
          <p:cNvPr id="132" name="Google Shape;132;p21"/>
          <p:cNvSpPr txBox="1">
            <a:spLocks noGrp="1"/>
          </p:cNvSpPr>
          <p:nvPr>
            <p:ph type="body" idx="7" hasCustomPrompt="1"/>
          </p:nvPr>
        </p:nvSpPr>
        <p:spPr>
          <a:xfrm>
            <a:off x="9169614" y="2265396"/>
            <a:ext cx="2217973" cy="854800"/>
          </a:xfrm>
          <a:prstGeom prst="rect">
            <a:avLst/>
          </a:prstGeom>
          <a:noFill/>
          <a:ln>
            <a:noFill/>
          </a:ln>
        </p:spPr>
        <p:txBody>
          <a:bodyPr spcFirstLastPara="1" wrap="square" lIns="91425" tIns="45700" rIns="0" bIns="45700" anchor="ctr" anchorCtr="0">
            <a:normAutofit/>
          </a:bodyPr>
          <a:lstStyle>
            <a:lvl1pPr marL="143996" marR="0" lvl="0" indent="0" algn="l" defTabSz="1219170" rtl="0" eaLnBrk="1" fontAlgn="auto" latinLnBrk="0" hangingPunct="1">
              <a:lnSpc>
                <a:spcPct val="100000"/>
              </a:lnSpc>
              <a:spcBef>
                <a:spcPts val="0"/>
              </a:spcBef>
              <a:spcAft>
                <a:spcPts val="0"/>
              </a:spcAft>
              <a:buClr>
                <a:schemeClr val="accent1"/>
              </a:buClr>
              <a:buSzPts val="900"/>
              <a:buFont typeface="Arial"/>
              <a:buNone/>
              <a:tabLst/>
              <a:defRPr/>
            </a:lvl1pPr>
            <a:lvl2pPr marL="1219170" lvl="1" indent="-380990" algn="l">
              <a:lnSpc>
                <a:spcPct val="100000"/>
              </a:lnSpc>
              <a:spcBef>
                <a:spcPts val="0"/>
              </a:spcBef>
              <a:spcAft>
                <a:spcPts val="0"/>
              </a:spcAft>
              <a:buSzPts val="900"/>
              <a:buChar char="•"/>
              <a:defRPr/>
            </a:lvl2pPr>
            <a:lvl3pPr marL="1828754" lvl="2" indent="-380990" algn="l">
              <a:lnSpc>
                <a:spcPct val="100000"/>
              </a:lnSpc>
              <a:spcBef>
                <a:spcPts val="0"/>
              </a:spcBef>
              <a:spcAft>
                <a:spcPts val="0"/>
              </a:spcAft>
              <a:buSzPts val="900"/>
              <a:buChar char="•"/>
              <a:defRPr/>
            </a:lvl3pPr>
            <a:lvl4pPr marL="2438339" lvl="3" indent="-380990" algn="l">
              <a:lnSpc>
                <a:spcPct val="100000"/>
              </a:lnSpc>
              <a:spcBef>
                <a:spcPts val="0"/>
              </a:spcBef>
              <a:spcAft>
                <a:spcPts val="0"/>
              </a:spcAft>
              <a:buSzPts val="900"/>
              <a:buChar char="•"/>
              <a:defRPr/>
            </a:lvl4pPr>
            <a:lvl5pPr marL="3047924" lvl="4" indent="-380990" algn="l">
              <a:lnSpc>
                <a:spcPct val="100000"/>
              </a:lnSpc>
              <a:spcBef>
                <a:spcPts val="0"/>
              </a:spcBef>
              <a:spcAft>
                <a:spcPts val="0"/>
              </a:spcAft>
              <a:buSzPts val="900"/>
              <a:buChar char="•"/>
              <a:defRPr/>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marL="143996" marR="0" lvl="0" indent="0" algn="l" defTabSz="1219170" rtl="0" eaLnBrk="1" fontAlgn="auto" latinLnBrk="0" hangingPunct="1">
              <a:lnSpc>
                <a:spcPct val="100000"/>
              </a:lnSpc>
              <a:spcBef>
                <a:spcPts val="0"/>
              </a:spcBef>
              <a:spcAft>
                <a:spcPts val="0"/>
              </a:spcAft>
              <a:buClr>
                <a:schemeClr val="accent1"/>
              </a:buClr>
              <a:buSzPts val="900"/>
              <a:buFont typeface="Arial"/>
              <a:buNone/>
              <a:tabLst/>
              <a:defRPr/>
            </a:pPr>
            <a:r>
              <a:rPr lang="fr-FR" sz="1200" b="1" i="0" u="none" strike="noStrike">
                <a:solidFill>
                  <a:srgbClr val="383838"/>
                </a:solidFill>
                <a:effectLst/>
                <a:latin typeface="Arial" panose="020B0604020202020204" pitchFamily="34" charset="0"/>
              </a:rPr>
              <a:t>Client</a:t>
            </a:r>
            <a:r>
              <a:rPr lang="fr-FR" sz="1200" b="0" i="0" u="none" strike="noStrike">
                <a:solidFill>
                  <a:schemeClr val="dk1"/>
                </a:solidFill>
                <a:effectLst/>
                <a:latin typeface="Arial"/>
              </a:rPr>
              <a:t> / M</a:t>
            </a:r>
            <a:r>
              <a:rPr lang="fr-FR" sz="1200" b="1" i="0" u="none" strike="noStrike">
                <a:solidFill>
                  <a:srgbClr val="383838"/>
                </a:solidFill>
                <a:effectLst/>
                <a:latin typeface="Arial" panose="020B0604020202020204" pitchFamily="34" charset="0"/>
              </a:rPr>
              <a:t>ontant</a:t>
            </a:r>
            <a:r>
              <a:rPr lang="fr-FR" sz="1200" b="0" i="0" u="none" strike="noStrike">
                <a:solidFill>
                  <a:schemeClr val="dk1"/>
                </a:solidFill>
                <a:effectLst/>
                <a:latin typeface="Arial"/>
              </a:rPr>
              <a:t> / </a:t>
            </a:r>
            <a:r>
              <a:rPr lang="fr-FR" sz="1200" b="1" i="0" u="none" strike="noStrike">
                <a:solidFill>
                  <a:srgbClr val="383838"/>
                </a:solidFill>
                <a:effectLst/>
                <a:latin typeface="Arial" panose="020B0604020202020204" pitchFamily="34" charset="0"/>
              </a:rPr>
              <a:t>Durée</a:t>
            </a:r>
            <a:endParaRPr lang="fr-FR" b="0">
              <a:effectLst/>
            </a:endParaRPr>
          </a:p>
        </p:txBody>
      </p:sp>
      <p:sp>
        <p:nvSpPr>
          <p:cNvPr id="133" name="Google Shape;133;p21"/>
          <p:cNvSpPr txBox="1">
            <a:spLocks noGrp="1"/>
          </p:cNvSpPr>
          <p:nvPr>
            <p:ph type="body" idx="8" hasCustomPrompt="1"/>
          </p:nvPr>
        </p:nvSpPr>
        <p:spPr>
          <a:xfrm>
            <a:off x="9169614" y="3269531"/>
            <a:ext cx="2217973" cy="854800"/>
          </a:xfrm>
          <a:prstGeom prst="rect">
            <a:avLst/>
          </a:prstGeom>
          <a:noFill/>
          <a:ln>
            <a:noFill/>
          </a:ln>
        </p:spPr>
        <p:txBody>
          <a:bodyPr spcFirstLastPara="1" wrap="square" lIns="91425" tIns="45700" rIns="0" bIns="45700" anchor="ctr" anchorCtr="0">
            <a:normAutofit/>
          </a:bodyPr>
          <a:lstStyle>
            <a:lvl1pPr marL="143996" marR="0" lvl="0" indent="0" algn="l" defTabSz="1219170" rtl="0" eaLnBrk="1" fontAlgn="auto" latinLnBrk="0" hangingPunct="1">
              <a:lnSpc>
                <a:spcPct val="100000"/>
              </a:lnSpc>
              <a:spcBef>
                <a:spcPts val="0"/>
              </a:spcBef>
              <a:spcAft>
                <a:spcPts val="0"/>
              </a:spcAft>
              <a:buClr>
                <a:schemeClr val="accent1"/>
              </a:buClr>
              <a:buSzPts val="900"/>
              <a:buFont typeface="Arial"/>
              <a:buNone/>
              <a:tabLst/>
              <a:defRPr/>
            </a:lvl1pPr>
            <a:lvl2pPr marL="1219170" lvl="1" indent="-380990" algn="l">
              <a:lnSpc>
                <a:spcPct val="100000"/>
              </a:lnSpc>
              <a:spcBef>
                <a:spcPts val="0"/>
              </a:spcBef>
              <a:spcAft>
                <a:spcPts val="0"/>
              </a:spcAft>
              <a:buSzPts val="900"/>
              <a:buChar char="•"/>
              <a:defRPr/>
            </a:lvl2pPr>
            <a:lvl3pPr marL="1828754" lvl="2" indent="-380990" algn="l">
              <a:lnSpc>
                <a:spcPct val="100000"/>
              </a:lnSpc>
              <a:spcBef>
                <a:spcPts val="0"/>
              </a:spcBef>
              <a:spcAft>
                <a:spcPts val="0"/>
              </a:spcAft>
              <a:buSzPts val="900"/>
              <a:buChar char="•"/>
              <a:defRPr/>
            </a:lvl3pPr>
            <a:lvl4pPr marL="2438339" lvl="3" indent="-380990" algn="l">
              <a:lnSpc>
                <a:spcPct val="100000"/>
              </a:lnSpc>
              <a:spcBef>
                <a:spcPts val="0"/>
              </a:spcBef>
              <a:spcAft>
                <a:spcPts val="0"/>
              </a:spcAft>
              <a:buSzPts val="900"/>
              <a:buChar char="•"/>
              <a:defRPr/>
            </a:lvl4pPr>
            <a:lvl5pPr marL="3047924" lvl="4" indent="-380990" algn="l">
              <a:lnSpc>
                <a:spcPct val="100000"/>
              </a:lnSpc>
              <a:spcBef>
                <a:spcPts val="0"/>
              </a:spcBef>
              <a:spcAft>
                <a:spcPts val="0"/>
              </a:spcAft>
              <a:buSzPts val="900"/>
              <a:buChar char="•"/>
              <a:defRPr/>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marL="143996" marR="0" lvl="0" indent="0" algn="l" defTabSz="1219170" rtl="0" eaLnBrk="1" fontAlgn="auto" latinLnBrk="0" hangingPunct="1">
              <a:lnSpc>
                <a:spcPct val="100000"/>
              </a:lnSpc>
              <a:spcBef>
                <a:spcPts val="0"/>
              </a:spcBef>
              <a:spcAft>
                <a:spcPts val="0"/>
              </a:spcAft>
              <a:buClr>
                <a:schemeClr val="accent1"/>
              </a:buClr>
              <a:buSzPts val="900"/>
              <a:buFont typeface="Arial"/>
              <a:buNone/>
              <a:tabLst/>
              <a:defRPr/>
            </a:pPr>
            <a:r>
              <a:rPr lang="fr-FR" sz="1200" b="1" i="0" u="none" strike="noStrike">
                <a:solidFill>
                  <a:srgbClr val="383838"/>
                </a:solidFill>
                <a:effectLst/>
                <a:latin typeface="Arial" panose="020B0604020202020204" pitchFamily="34" charset="0"/>
              </a:rPr>
              <a:t>Client</a:t>
            </a:r>
            <a:r>
              <a:rPr lang="fr-FR" sz="1200" b="0" i="0" u="none" strike="noStrike">
                <a:solidFill>
                  <a:schemeClr val="dk1"/>
                </a:solidFill>
                <a:effectLst/>
                <a:latin typeface="Arial"/>
              </a:rPr>
              <a:t> / M</a:t>
            </a:r>
            <a:r>
              <a:rPr lang="fr-FR" sz="1200" b="1" i="0" u="none" strike="noStrike">
                <a:solidFill>
                  <a:srgbClr val="383838"/>
                </a:solidFill>
                <a:effectLst/>
                <a:latin typeface="Arial" panose="020B0604020202020204" pitchFamily="34" charset="0"/>
              </a:rPr>
              <a:t>ontant</a:t>
            </a:r>
            <a:r>
              <a:rPr lang="fr-FR" sz="1200" b="0" i="0" u="none" strike="noStrike">
                <a:solidFill>
                  <a:schemeClr val="dk1"/>
                </a:solidFill>
                <a:effectLst/>
                <a:latin typeface="Arial"/>
              </a:rPr>
              <a:t> / </a:t>
            </a:r>
            <a:r>
              <a:rPr lang="fr-FR" sz="1200" b="1" i="0" u="none" strike="noStrike">
                <a:solidFill>
                  <a:srgbClr val="383838"/>
                </a:solidFill>
                <a:effectLst/>
                <a:latin typeface="Arial" panose="020B0604020202020204" pitchFamily="34" charset="0"/>
              </a:rPr>
              <a:t>Durée</a:t>
            </a:r>
            <a:endParaRPr lang="fr-FR" b="0">
              <a:effectLst/>
            </a:endParaRPr>
          </a:p>
        </p:txBody>
      </p:sp>
      <p:sp>
        <p:nvSpPr>
          <p:cNvPr id="134" name="Google Shape;134;p21"/>
          <p:cNvSpPr txBox="1">
            <a:spLocks noGrp="1"/>
          </p:cNvSpPr>
          <p:nvPr>
            <p:ph type="body" idx="9" hasCustomPrompt="1"/>
          </p:nvPr>
        </p:nvSpPr>
        <p:spPr>
          <a:xfrm>
            <a:off x="9169614" y="4273664"/>
            <a:ext cx="2217973" cy="854800"/>
          </a:xfrm>
          <a:prstGeom prst="rect">
            <a:avLst/>
          </a:prstGeom>
          <a:noFill/>
          <a:ln>
            <a:noFill/>
          </a:ln>
        </p:spPr>
        <p:txBody>
          <a:bodyPr spcFirstLastPara="1" wrap="square" lIns="91425" tIns="45700" rIns="0" bIns="45700" anchor="ctr" anchorCtr="0">
            <a:normAutofit/>
          </a:bodyPr>
          <a:lstStyle>
            <a:lvl1pPr marL="143996" marR="0" lvl="0" indent="0" algn="l" defTabSz="1219170" rtl="0" eaLnBrk="1" fontAlgn="auto" latinLnBrk="0" hangingPunct="1">
              <a:lnSpc>
                <a:spcPct val="100000"/>
              </a:lnSpc>
              <a:spcBef>
                <a:spcPts val="0"/>
              </a:spcBef>
              <a:spcAft>
                <a:spcPts val="0"/>
              </a:spcAft>
              <a:buClr>
                <a:schemeClr val="accent1"/>
              </a:buClr>
              <a:buSzPts val="900"/>
              <a:buFont typeface="Arial"/>
              <a:buNone/>
              <a:tabLst/>
              <a:defRPr/>
            </a:lvl1pPr>
            <a:lvl2pPr marL="1219170" lvl="1" indent="-380990" algn="l">
              <a:lnSpc>
                <a:spcPct val="100000"/>
              </a:lnSpc>
              <a:spcBef>
                <a:spcPts val="0"/>
              </a:spcBef>
              <a:spcAft>
                <a:spcPts val="0"/>
              </a:spcAft>
              <a:buSzPts val="900"/>
              <a:buChar char="•"/>
              <a:defRPr/>
            </a:lvl2pPr>
            <a:lvl3pPr marL="1828754" lvl="2" indent="-380990" algn="l">
              <a:lnSpc>
                <a:spcPct val="100000"/>
              </a:lnSpc>
              <a:spcBef>
                <a:spcPts val="0"/>
              </a:spcBef>
              <a:spcAft>
                <a:spcPts val="0"/>
              </a:spcAft>
              <a:buSzPts val="900"/>
              <a:buChar char="•"/>
              <a:defRPr/>
            </a:lvl3pPr>
            <a:lvl4pPr marL="2438339" lvl="3" indent="-380990" algn="l">
              <a:lnSpc>
                <a:spcPct val="100000"/>
              </a:lnSpc>
              <a:spcBef>
                <a:spcPts val="0"/>
              </a:spcBef>
              <a:spcAft>
                <a:spcPts val="0"/>
              </a:spcAft>
              <a:buSzPts val="900"/>
              <a:buChar char="•"/>
              <a:defRPr/>
            </a:lvl4pPr>
            <a:lvl5pPr marL="3047924" lvl="4" indent="-380990" algn="l">
              <a:lnSpc>
                <a:spcPct val="100000"/>
              </a:lnSpc>
              <a:spcBef>
                <a:spcPts val="0"/>
              </a:spcBef>
              <a:spcAft>
                <a:spcPts val="0"/>
              </a:spcAft>
              <a:buSzPts val="900"/>
              <a:buChar char="•"/>
              <a:defRPr/>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marL="143996" marR="0" lvl="0" indent="0" algn="l" defTabSz="1219170" rtl="0" eaLnBrk="1" fontAlgn="auto" latinLnBrk="0" hangingPunct="1">
              <a:lnSpc>
                <a:spcPct val="100000"/>
              </a:lnSpc>
              <a:spcBef>
                <a:spcPts val="0"/>
              </a:spcBef>
              <a:spcAft>
                <a:spcPts val="0"/>
              </a:spcAft>
              <a:buClr>
                <a:schemeClr val="accent1"/>
              </a:buClr>
              <a:buSzPts val="900"/>
              <a:buFont typeface="Arial"/>
              <a:buNone/>
              <a:tabLst/>
              <a:defRPr/>
            </a:pPr>
            <a:r>
              <a:rPr lang="fr-FR" sz="1200" b="1" i="0" u="none" strike="noStrike">
                <a:solidFill>
                  <a:srgbClr val="383838"/>
                </a:solidFill>
                <a:effectLst/>
                <a:latin typeface="Arial" panose="020B0604020202020204" pitchFamily="34" charset="0"/>
              </a:rPr>
              <a:t>Client</a:t>
            </a:r>
            <a:r>
              <a:rPr lang="fr-FR" sz="1200" b="0" i="0" u="none" strike="noStrike">
                <a:solidFill>
                  <a:schemeClr val="dk1"/>
                </a:solidFill>
                <a:effectLst/>
                <a:latin typeface="Arial"/>
              </a:rPr>
              <a:t> / M</a:t>
            </a:r>
            <a:r>
              <a:rPr lang="fr-FR" sz="1200" b="1" i="0" u="none" strike="noStrike">
                <a:solidFill>
                  <a:srgbClr val="383838"/>
                </a:solidFill>
                <a:effectLst/>
                <a:latin typeface="Arial" panose="020B0604020202020204" pitchFamily="34" charset="0"/>
              </a:rPr>
              <a:t>ontant</a:t>
            </a:r>
            <a:r>
              <a:rPr lang="fr-FR" sz="1200" b="0" i="0" u="none" strike="noStrike">
                <a:solidFill>
                  <a:schemeClr val="dk1"/>
                </a:solidFill>
                <a:effectLst/>
                <a:latin typeface="Arial"/>
              </a:rPr>
              <a:t> / </a:t>
            </a:r>
            <a:r>
              <a:rPr lang="fr-FR" sz="1200" b="1" i="0" u="none" strike="noStrike">
                <a:solidFill>
                  <a:srgbClr val="383838"/>
                </a:solidFill>
                <a:effectLst/>
                <a:latin typeface="Arial" panose="020B0604020202020204" pitchFamily="34" charset="0"/>
              </a:rPr>
              <a:t>Durée</a:t>
            </a:r>
            <a:endParaRPr lang="fr-FR" b="0">
              <a:effectLst/>
            </a:endParaRPr>
          </a:p>
        </p:txBody>
      </p:sp>
      <p:sp>
        <p:nvSpPr>
          <p:cNvPr id="135" name="Google Shape;135;p21"/>
          <p:cNvSpPr txBox="1">
            <a:spLocks noGrp="1"/>
          </p:cNvSpPr>
          <p:nvPr>
            <p:ph type="body" idx="13" hasCustomPrompt="1"/>
          </p:nvPr>
        </p:nvSpPr>
        <p:spPr>
          <a:xfrm>
            <a:off x="9169614" y="5277767"/>
            <a:ext cx="2217973" cy="844000"/>
          </a:xfrm>
          <a:prstGeom prst="rect">
            <a:avLst/>
          </a:prstGeom>
          <a:noFill/>
          <a:ln>
            <a:noFill/>
          </a:ln>
        </p:spPr>
        <p:txBody>
          <a:bodyPr spcFirstLastPara="1" wrap="square" lIns="91425" tIns="45700" rIns="0" bIns="45700" anchor="ctr" anchorCtr="0">
            <a:normAutofit/>
          </a:bodyPr>
          <a:lstStyle>
            <a:lvl1pPr marL="143996" marR="0" lvl="0" indent="0" algn="l" defTabSz="1219170" rtl="0" eaLnBrk="1" fontAlgn="auto" latinLnBrk="0" hangingPunct="1">
              <a:lnSpc>
                <a:spcPct val="100000"/>
              </a:lnSpc>
              <a:spcBef>
                <a:spcPts val="0"/>
              </a:spcBef>
              <a:spcAft>
                <a:spcPts val="0"/>
              </a:spcAft>
              <a:buClr>
                <a:schemeClr val="accent1"/>
              </a:buClr>
              <a:buSzPts val="900"/>
              <a:buFont typeface="Arial"/>
              <a:buNone/>
              <a:tabLst/>
              <a:defRPr/>
            </a:lvl1pPr>
            <a:lvl2pPr marL="1219170" lvl="1" indent="-380990" algn="l">
              <a:lnSpc>
                <a:spcPct val="100000"/>
              </a:lnSpc>
              <a:spcBef>
                <a:spcPts val="0"/>
              </a:spcBef>
              <a:spcAft>
                <a:spcPts val="0"/>
              </a:spcAft>
              <a:buSzPts val="900"/>
              <a:buChar char="•"/>
              <a:defRPr/>
            </a:lvl2pPr>
            <a:lvl3pPr marL="1828754" lvl="2" indent="-380990" algn="l">
              <a:lnSpc>
                <a:spcPct val="100000"/>
              </a:lnSpc>
              <a:spcBef>
                <a:spcPts val="0"/>
              </a:spcBef>
              <a:spcAft>
                <a:spcPts val="0"/>
              </a:spcAft>
              <a:buSzPts val="900"/>
              <a:buChar char="•"/>
              <a:defRPr/>
            </a:lvl3pPr>
            <a:lvl4pPr marL="2438339" lvl="3" indent="-380990" algn="l">
              <a:lnSpc>
                <a:spcPct val="100000"/>
              </a:lnSpc>
              <a:spcBef>
                <a:spcPts val="0"/>
              </a:spcBef>
              <a:spcAft>
                <a:spcPts val="0"/>
              </a:spcAft>
              <a:buSzPts val="900"/>
              <a:buChar char="•"/>
              <a:defRPr/>
            </a:lvl4pPr>
            <a:lvl5pPr marL="3047924" lvl="4" indent="-380990" algn="l">
              <a:lnSpc>
                <a:spcPct val="100000"/>
              </a:lnSpc>
              <a:spcBef>
                <a:spcPts val="0"/>
              </a:spcBef>
              <a:spcAft>
                <a:spcPts val="0"/>
              </a:spcAft>
              <a:buSzPts val="900"/>
              <a:buChar char="•"/>
              <a:defRPr/>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marL="143996" marR="0" lvl="0" indent="0" algn="l" defTabSz="1219170" rtl="0" eaLnBrk="1" fontAlgn="auto" latinLnBrk="0" hangingPunct="1">
              <a:lnSpc>
                <a:spcPct val="100000"/>
              </a:lnSpc>
              <a:spcBef>
                <a:spcPts val="0"/>
              </a:spcBef>
              <a:spcAft>
                <a:spcPts val="0"/>
              </a:spcAft>
              <a:buClr>
                <a:schemeClr val="accent1"/>
              </a:buClr>
              <a:buSzPts val="900"/>
              <a:buFont typeface="Arial"/>
              <a:buNone/>
              <a:tabLst/>
              <a:defRPr/>
            </a:pPr>
            <a:r>
              <a:rPr lang="fr-FR" sz="1200" b="1" i="0" u="none" strike="noStrike">
                <a:solidFill>
                  <a:srgbClr val="383838"/>
                </a:solidFill>
                <a:effectLst/>
                <a:latin typeface="Arial" panose="020B0604020202020204" pitchFamily="34" charset="0"/>
              </a:rPr>
              <a:t>Client</a:t>
            </a:r>
            <a:r>
              <a:rPr lang="fr-FR" sz="1200" b="0" i="0" u="none" strike="noStrike">
                <a:solidFill>
                  <a:schemeClr val="dk1"/>
                </a:solidFill>
                <a:effectLst/>
                <a:latin typeface="Arial"/>
              </a:rPr>
              <a:t> / M</a:t>
            </a:r>
            <a:r>
              <a:rPr lang="fr-FR" sz="1200" b="1" i="0" u="none" strike="noStrike">
                <a:solidFill>
                  <a:srgbClr val="383838"/>
                </a:solidFill>
                <a:effectLst/>
                <a:latin typeface="Arial" panose="020B0604020202020204" pitchFamily="34" charset="0"/>
              </a:rPr>
              <a:t>ontant</a:t>
            </a:r>
            <a:r>
              <a:rPr lang="fr-FR" sz="1200" b="0" i="0" u="none" strike="noStrike">
                <a:solidFill>
                  <a:schemeClr val="dk1"/>
                </a:solidFill>
                <a:effectLst/>
                <a:latin typeface="Arial"/>
              </a:rPr>
              <a:t> / </a:t>
            </a:r>
            <a:r>
              <a:rPr lang="fr-FR" sz="1200" b="1" i="0" u="none" strike="noStrike">
                <a:solidFill>
                  <a:srgbClr val="383838"/>
                </a:solidFill>
                <a:effectLst/>
                <a:latin typeface="Arial" panose="020B0604020202020204" pitchFamily="34" charset="0"/>
              </a:rPr>
              <a:t>Durée</a:t>
            </a:r>
            <a:endParaRPr lang="fr-FR" b="0">
              <a:effectLst/>
            </a:endParaRPr>
          </a:p>
        </p:txBody>
      </p:sp>
      <p:sp>
        <p:nvSpPr>
          <p:cNvPr id="140" name="Google Shape;140;p21"/>
          <p:cNvSpPr txBox="1">
            <a:spLocks noGrp="1"/>
          </p:cNvSpPr>
          <p:nvPr>
            <p:ph type="body" idx="18"/>
          </p:nvPr>
        </p:nvSpPr>
        <p:spPr>
          <a:xfrm>
            <a:off x="2323635" y="2265396"/>
            <a:ext cx="1761067" cy="828704"/>
          </a:xfrm>
          <a:prstGeom prst="rect">
            <a:avLst/>
          </a:prstGeom>
          <a:solidFill>
            <a:schemeClr val="accent4"/>
          </a:solidFill>
          <a:ln>
            <a:noFill/>
          </a:ln>
        </p:spPr>
        <p:txBody>
          <a:bodyPr spcFirstLastPara="1" wrap="square" lIns="91425" tIns="45700" rIns="0" bIns="45700" anchor="t" anchorCtr="0">
            <a:normAutofit/>
          </a:bodyPr>
          <a:lstStyle>
            <a:lvl1pPr marL="143996" lvl="0" indent="0" algn="l">
              <a:lnSpc>
                <a:spcPct val="100000"/>
              </a:lnSpc>
              <a:spcBef>
                <a:spcPts val="0"/>
              </a:spcBef>
              <a:spcAft>
                <a:spcPts val="0"/>
              </a:spcAft>
              <a:buSzPts val="900"/>
              <a:buNone/>
              <a:defRPr b="1"/>
            </a:lvl1pPr>
            <a:lvl2pPr marL="1219170" lvl="1" indent="-304792" algn="l">
              <a:lnSpc>
                <a:spcPct val="100000"/>
              </a:lnSpc>
              <a:spcBef>
                <a:spcPts val="0"/>
              </a:spcBef>
              <a:spcAft>
                <a:spcPts val="0"/>
              </a:spcAft>
              <a:buSzPts val="900"/>
              <a:buNone/>
              <a:defRPr b="1"/>
            </a:lvl2pPr>
            <a:lvl3pPr marL="1828754" lvl="2" indent="-304792" algn="l">
              <a:lnSpc>
                <a:spcPct val="100000"/>
              </a:lnSpc>
              <a:spcBef>
                <a:spcPts val="0"/>
              </a:spcBef>
              <a:spcAft>
                <a:spcPts val="0"/>
              </a:spcAft>
              <a:buSzPts val="900"/>
              <a:buNone/>
              <a:defRPr b="1"/>
            </a:lvl3pPr>
            <a:lvl4pPr marL="2438339" lvl="3" indent="-304792" algn="l">
              <a:lnSpc>
                <a:spcPct val="100000"/>
              </a:lnSpc>
              <a:spcBef>
                <a:spcPts val="0"/>
              </a:spcBef>
              <a:spcAft>
                <a:spcPts val="0"/>
              </a:spcAft>
              <a:buSzPts val="900"/>
              <a:buNone/>
              <a:defRPr b="1"/>
            </a:lvl4pPr>
            <a:lvl5pPr marL="3047924" lvl="4" indent="-304792" algn="l">
              <a:lnSpc>
                <a:spcPct val="100000"/>
              </a:lnSpc>
              <a:spcBef>
                <a:spcPts val="0"/>
              </a:spcBef>
              <a:spcAft>
                <a:spcPts val="0"/>
              </a:spcAft>
              <a:buSzPts val="900"/>
              <a:buNone/>
              <a:defRPr b="1"/>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lvl="0"/>
            <a:r>
              <a:rPr lang="en-US"/>
              <a:t>Click to edit Master text styles</a:t>
            </a:r>
          </a:p>
        </p:txBody>
      </p:sp>
      <p:sp>
        <p:nvSpPr>
          <p:cNvPr id="141" name="Google Shape;141;p21"/>
          <p:cNvSpPr txBox="1">
            <a:spLocks noGrp="1"/>
          </p:cNvSpPr>
          <p:nvPr>
            <p:ph type="body" idx="19"/>
          </p:nvPr>
        </p:nvSpPr>
        <p:spPr>
          <a:xfrm>
            <a:off x="2323635" y="3248851"/>
            <a:ext cx="1761067" cy="854667"/>
          </a:xfrm>
          <a:prstGeom prst="rect">
            <a:avLst/>
          </a:prstGeom>
          <a:solidFill>
            <a:schemeClr val="accent4"/>
          </a:solidFill>
          <a:ln>
            <a:noFill/>
          </a:ln>
        </p:spPr>
        <p:txBody>
          <a:bodyPr spcFirstLastPara="1" wrap="square" lIns="91425" tIns="45700" rIns="0" bIns="45700" anchor="ctr" anchorCtr="0">
            <a:normAutofit/>
          </a:bodyPr>
          <a:lstStyle>
            <a:lvl1pPr marL="143996" lvl="0" indent="0" algn="l">
              <a:lnSpc>
                <a:spcPct val="100000"/>
              </a:lnSpc>
              <a:spcBef>
                <a:spcPts val="0"/>
              </a:spcBef>
              <a:spcAft>
                <a:spcPts val="0"/>
              </a:spcAft>
              <a:buSzPts val="900"/>
              <a:buNone/>
              <a:defRPr b="1"/>
            </a:lvl1pPr>
            <a:lvl2pPr marL="1219170" lvl="1" indent="-304792" algn="l">
              <a:lnSpc>
                <a:spcPct val="100000"/>
              </a:lnSpc>
              <a:spcBef>
                <a:spcPts val="0"/>
              </a:spcBef>
              <a:spcAft>
                <a:spcPts val="0"/>
              </a:spcAft>
              <a:buSzPts val="900"/>
              <a:buNone/>
              <a:defRPr b="1"/>
            </a:lvl2pPr>
            <a:lvl3pPr marL="1828754" lvl="2" indent="-304792" algn="l">
              <a:lnSpc>
                <a:spcPct val="100000"/>
              </a:lnSpc>
              <a:spcBef>
                <a:spcPts val="0"/>
              </a:spcBef>
              <a:spcAft>
                <a:spcPts val="0"/>
              </a:spcAft>
              <a:buSzPts val="900"/>
              <a:buNone/>
              <a:defRPr b="1"/>
            </a:lvl3pPr>
            <a:lvl4pPr marL="2438339" lvl="3" indent="-304792" algn="l">
              <a:lnSpc>
                <a:spcPct val="100000"/>
              </a:lnSpc>
              <a:spcBef>
                <a:spcPts val="0"/>
              </a:spcBef>
              <a:spcAft>
                <a:spcPts val="0"/>
              </a:spcAft>
              <a:buSzPts val="900"/>
              <a:buNone/>
              <a:defRPr b="1"/>
            </a:lvl4pPr>
            <a:lvl5pPr marL="3047924" lvl="4" indent="-304792" algn="l">
              <a:lnSpc>
                <a:spcPct val="100000"/>
              </a:lnSpc>
              <a:spcBef>
                <a:spcPts val="0"/>
              </a:spcBef>
              <a:spcAft>
                <a:spcPts val="0"/>
              </a:spcAft>
              <a:buSzPts val="900"/>
              <a:buNone/>
              <a:defRPr b="1"/>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lvl="0"/>
            <a:r>
              <a:rPr lang="en-US"/>
              <a:t>Click to edit Master text styles</a:t>
            </a:r>
          </a:p>
        </p:txBody>
      </p:sp>
      <p:sp>
        <p:nvSpPr>
          <p:cNvPr id="142" name="Google Shape;142;p21"/>
          <p:cNvSpPr txBox="1">
            <a:spLocks noGrp="1"/>
          </p:cNvSpPr>
          <p:nvPr>
            <p:ph type="body" idx="20"/>
          </p:nvPr>
        </p:nvSpPr>
        <p:spPr>
          <a:xfrm>
            <a:off x="2319867" y="4267767"/>
            <a:ext cx="1761067" cy="854667"/>
          </a:xfrm>
          <a:prstGeom prst="rect">
            <a:avLst/>
          </a:prstGeom>
          <a:solidFill>
            <a:schemeClr val="accent4"/>
          </a:solidFill>
          <a:ln>
            <a:noFill/>
          </a:ln>
        </p:spPr>
        <p:txBody>
          <a:bodyPr spcFirstLastPara="1" wrap="square" lIns="91425" tIns="45700" rIns="0" bIns="45700" anchor="ctr" anchorCtr="0">
            <a:normAutofit/>
          </a:bodyPr>
          <a:lstStyle>
            <a:lvl1pPr marL="143996" lvl="0" indent="0" algn="l">
              <a:lnSpc>
                <a:spcPct val="100000"/>
              </a:lnSpc>
              <a:spcBef>
                <a:spcPts val="0"/>
              </a:spcBef>
              <a:spcAft>
                <a:spcPts val="0"/>
              </a:spcAft>
              <a:buSzPts val="900"/>
              <a:buNone/>
              <a:defRPr b="1"/>
            </a:lvl1pPr>
            <a:lvl2pPr marL="1219170" lvl="1" indent="-304792" algn="l">
              <a:lnSpc>
                <a:spcPct val="100000"/>
              </a:lnSpc>
              <a:spcBef>
                <a:spcPts val="0"/>
              </a:spcBef>
              <a:spcAft>
                <a:spcPts val="0"/>
              </a:spcAft>
              <a:buSzPts val="900"/>
              <a:buNone/>
              <a:defRPr b="1"/>
            </a:lvl2pPr>
            <a:lvl3pPr marL="1828754" lvl="2" indent="-304792" algn="l">
              <a:lnSpc>
                <a:spcPct val="100000"/>
              </a:lnSpc>
              <a:spcBef>
                <a:spcPts val="0"/>
              </a:spcBef>
              <a:spcAft>
                <a:spcPts val="0"/>
              </a:spcAft>
              <a:buSzPts val="900"/>
              <a:buNone/>
              <a:defRPr b="1"/>
            </a:lvl3pPr>
            <a:lvl4pPr marL="2438339" lvl="3" indent="-304792" algn="l">
              <a:lnSpc>
                <a:spcPct val="100000"/>
              </a:lnSpc>
              <a:spcBef>
                <a:spcPts val="0"/>
              </a:spcBef>
              <a:spcAft>
                <a:spcPts val="0"/>
              </a:spcAft>
              <a:buSzPts val="900"/>
              <a:buNone/>
              <a:defRPr b="1"/>
            </a:lvl4pPr>
            <a:lvl5pPr marL="3047924" lvl="4" indent="-304792" algn="l">
              <a:lnSpc>
                <a:spcPct val="100000"/>
              </a:lnSpc>
              <a:spcBef>
                <a:spcPts val="0"/>
              </a:spcBef>
              <a:spcAft>
                <a:spcPts val="0"/>
              </a:spcAft>
              <a:buSzPts val="900"/>
              <a:buNone/>
              <a:defRPr b="1"/>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lvl="0"/>
            <a:r>
              <a:rPr lang="en-US"/>
              <a:t>Click to edit Master text styles</a:t>
            </a:r>
          </a:p>
        </p:txBody>
      </p:sp>
      <p:sp>
        <p:nvSpPr>
          <p:cNvPr id="143" name="Google Shape;143;p21"/>
          <p:cNvSpPr txBox="1">
            <a:spLocks noGrp="1"/>
          </p:cNvSpPr>
          <p:nvPr>
            <p:ph type="body" idx="21"/>
          </p:nvPr>
        </p:nvSpPr>
        <p:spPr>
          <a:xfrm>
            <a:off x="2319867" y="5288359"/>
            <a:ext cx="1761067" cy="854667"/>
          </a:xfrm>
          <a:prstGeom prst="rect">
            <a:avLst/>
          </a:prstGeom>
          <a:solidFill>
            <a:schemeClr val="accent4"/>
          </a:solidFill>
          <a:ln>
            <a:noFill/>
          </a:ln>
        </p:spPr>
        <p:txBody>
          <a:bodyPr spcFirstLastPara="1" wrap="square" lIns="91425" tIns="45700" rIns="0" bIns="45700" anchor="ctr" anchorCtr="0">
            <a:normAutofit/>
          </a:bodyPr>
          <a:lstStyle>
            <a:lvl1pPr marL="143996" lvl="0" indent="0" algn="l">
              <a:lnSpc>
                <a:spcPct val="100000"/>
              </a:lnSpc>
              <a:spcBef>
                <a:spcPts val="0"/>
              </a:spcBef>
              <a:spcAft>
                <a:spcPts val="0"/>
              </a:spcAft>
              <a:buSzPts val="900"/>
              <a:buNone/>
              <a:defRPr b="1"/>
            </a:lvl1pPr>
            <a:lvl2pPr marL="1219170" lvl="1" indent="-304792" algn="l">
              <a:lnSpc>
                <a:spcPct val="100000"/>
              </a:lnSpc>
              <a:spcBef>
                <a:spcPts val="0"/>
              </a:spcBef>
              <a:spcAft>
                <a:spcPts val="0"/>
              </a:spcAft>
              <a:buSzPts val="900"/>
              <a:buNone/>
              <a:defRPr b="1"/>
            </a:lvl2pPr>
            <a:lvl3pPr marL="1828754" lvl="2" indent="-304792" algn="l">
              <a:lnSpc>
                <a:spcPct val="100000"/>
              </a:lnSpc>
              <a:spcBef>
                <a:spcPts val="0"/>
              </a:spcBef>
              <a:spcAft>
                <a:spcPts val="0"/>
              </a:spcAft>
              <a:buSzPts val="900"/>
              <a:buNone/>
              <a:defRPr b="1"/>
            </a:lvl3pPr>
            <a:lvl4pPr marL="2438339" lvl="3" indent="-304792" algn="l">
              <a:lnSpc>
                <a:spcPct val="100000"/>
              </a:lnSpc>
              <a:spcBef>
                <a:spcPts val="0"/>
              </a:spcBef>
              <a:spcAft>
                <a:spcPts val="0"/>
              </a:spcAft>
              <a:buSzPts val="900"/>
              <a:buNone/>
              <a:defRPr b="1"/>
            </a:lvl4pPr>
            <a:lvl5pPr marL="3047924" lvl="4" indent="-304792" algn="l">
              <a:lnSpc>
                <a:spcPct val="100000"/>
              </a:lnSpc>
              <a:spcBef>
                <a:spcPts val="0"/>
              </a:spcBef>
              <a:spcAft>
                <a:spcPts val="0"/>
              </a:spcAft>
              <a:buSzPts val="900"/>
              <a:buNone/>
              <a:defRPr b="1"/>
            </a:lvl5pPr>
            <a:lvl6pPr marL="3657509" lvl="5" indent="-304792" algn="l">
              <a:lnSpc>
                <a:spcPct val="100000"/>
              </a:lnSpc>
              <a:spcBef>
                <a:spcPts val="0"/>
              </a:spcBef>
              <a:spcAft>
                <a:spcPts val="0"/>
              </a:spcAft>
              <a:buSzPts val="1400"/>
              <a:buNone/>
              <a:defRPr/>
            </a:lvl6pPr>
            <a:lvl7pPr marL="4267093" lvl="6" indent="-304792" algn="l">
              <a:lnSpc>
                <a:spcPct val="100000"/>
              </a:lnSpc>
              <a:spcBef>
                <a:spcPts val="0"/>
              </a:spcBef>
              <a:spcAft>
                <a:spcPts val="0"/>
              </a:spcAft>
              <a:buSzPts val="1400"/>
              <a:buNone/>
              <a:defRPr/>
            </a:lvl7pPr>
            <a:lvl8pPr marL="4876678" lvl="7" indent="-304792" algn="l">
              <a:lnSpc>
                <a:spcPct val="100000"/>
              </a:lnSpc>
              <a:spcBef>
                <a:spcPts val="0"/>
              </a:spcBef>
              <a:spcAft>
                <a:spcPts val="0"/>
              </a:spcAft>
              <a:buSzPts val="1400"/>
              <a:buNone/>
              <a:defRPr/>
            </a:lvl8pPr>
            <a:lvl9pPr marL="5486263" lvl="8" indent="-304792" algn="l">
              <a:lnSpc>
                <a:spcPct val="100000"/>
              </a:lnSpc>
              <a:spcBef>
                <a:spcPts val="0"/>
              </a:spcBef>
              <a:spcAft>
                <a:spcPts val="0"/>
              </a:spcAft>
              <a:buSzPts val="1400"/>
              <a:buNone/>
              <a:defRPr/>
            </a:lvl9pPr>
          </a:lstStyle>
          <a:p>
            <a:pPr lvl="0"/>
            <a:r>
              <a:rPr lang="en-US"/>
              <a:t>Click to edit Master text styles</a:t>
            </a:r>
          </a:p>
        </p:txBody>
      </p:sp>
      <p:sp>
        <p:nvSpPr>
          <p:cNvPr id="3" name="Espace réservé pour une image  2">
            <a:extLst>
              <a:ext uri="{FF2B5EF4-FFF2-40B4-BE49-F238E27FC236}">
                <a16:creationId xmlns:a16="http://schemas.microsoft.com/office/drawing/2014/main" id="{9EED7586-396C-7649-AEFC-672B358229AC}"/>
              </a:ext>
            </a:extLst>
          </p:cNvPr>
          <p:cNvSpPr>
            <a:spLocks noGrp="1"/>
          </p:cNvSpPr>
          <p:nvPr>
            <p:ph type="pic" sz="quarter" idx="22" hasCustomPrompt="1"/>
          </p:nvPr>
        </p:nvSpPr>
        <p:spPr>
          <a:xfrm>
            <a:off x="814580" y="2265396"/>
            <a:ext cx="1255521" cy="828704"/>
          </a:xfrm>
        </p:spPr>
        <p:txBody>
          <a:bodyPr anchor="ctr"/>
          <a:lstStyle>
            <a:lvl1pPr marL="228594" indent="0" algn="l">
              <a:buNone/>
              <a:defRPr/>
            </a:lvl1pPr>
          </a:lstStyle>
          <a:p>
            <a:r>
              <a:rPr lang="fr-FR"/>
              <a:t>Logo client</a:t>
            </a:r>
          </a:p>
        </p:txBody>
      </p:sp>
      <p:sp>
        <p:nvSpPr>
          <p:cNvPr id="26" name="Espace réservé pour une image  2">
            <a:extLst>
              <a:ext uri="{FF2B5EF4-FFF2-40B4-BE49-F238E27FC236}">
                <a16:creationId xmlns:a16="http://schemas.microsoft.com/office/drawing/2014/main" id="{53D04792-5116-5C4E-B546-6E77E9A53F58}"/>
              </a:ext>
            </a:extLst>
          </p:cNvPr>
          <p:cNvSpPr>
            <a:spLocks noGrp="1"/>
          </p:cNvSpPr>
          <p:nvPr>
            <p:ph type="pic" sz="quarter" idx="23" hasCustomPrompt="1"/>
          </p:nvPr>
        </p:nvSpPr>
        <p:spPr>
          <a:xfrm>
            <a:off x="814579" y="3243347"/>
            <a:ext cx="1265767" cy="854801"/>
          </a:xfrm>
        </p:spPr>
        <p:txBody>
          <a:bodyPr anchor="ctr"/>
          <a:lstStyle>
            <a:lvl1pPr marL="228594" marR="0" indent="0" algn="l" defTabSz="1219170" rtl="0" eaLnBrk="1" fontAlgn="auto" latinLnBrk="0" hangingPunct="1">
              <a:lnSpc>
                <a:spcPct val="100000"/>
              </a:lnSpc>
              <a:spcBef>
                <a:spcPts val="0"/>
              </a:spcBef>
              <a:spcAft>
                <a:spcPts val="0"/>
              </a:spcAft>
              <a:buClr>
                <a:schemeClr val="accent1"/>
              </a:buClr>
              <a:buSzPts val="900"/>
              <a:buFont typeface="Arial"/>
              <a:buNone/>
              <a:tabLst/>
              <a:defRPr/>
            </a:lvl1pPr>
          </a:lstStyle>
          <a:p>
            <a:pPr marL="228594" marR="0" lvl="0" indent="0" algn="l" defTabSz="1219170" rtl="0" eaLnBrk="1" fontAlgn="auto" latinLnBrk="0" hangingPunct="1">
              <a:lnSpc>
                <a:spcPct val="100000"/>
              </a:lnSpc>
              <a:spcBef>
                <a:spcPts val="0"/>
              </a:spcBef>
              <a:spcAft>
                <a:spcPts val="0"/>
              </a:spcAft>
              <a:buClr>
                <a:schemeClr val="accent1"/>
              </a:buClr>
              <a:buSzPts val="900"/>
              <a:buFont typeface="Arial"/>
              <a:buNone/>
              <a:tabLst/>
              <a:defRPr/>
            </a:pPr>
            <a:r>
              <a:rPr lang="fr-FR"/>
              <a:t>Logo client</a:t>
            </a:r>
          </a:p>
        </p:txBody>
      </p:sp>
      <p:sp>
        <p:nvSpPr>
          <p:cNvPr id="27" name="Espace réservé pour une image  2">
            <a:extLst>
              <a:ext uri="{FF2B5EF4-FFF2-40B4-BE49-F238E27FC236}">
                <a16:creationId xmlns:a16="http://schemas.microsoft.com/office/drawing/2014/main" id="{794CBDCD-EA5A-4C47-9E11-5522F1ECE2BD}"/>
              </a:ext>
            </a:extLst>
          </p:cNvPr>
          <p:cNvSpPr>
            <a:spLocks noGrp="1"/>
          </p:cNvSpPr>
          <p:nvPr>
            <p:ph type="pic" sz="quarter" idx="24" hasCustomPrompt="1"/>
          </p:nvPr>
        </p:nvSpPr>
        <p:spPr>
          <a:xfrm>
            <a:off x="814579" y="4257640"/>
            <a:ext cx="1265767" cy="854801"/>
          </a:xfrm>
        </p:spPr>
        <p:txBody>
          <a:bodyPr anchor="ctr"/>
          <a:lstStyle>
            <a:lvl1pPr marL="228594" marR="0" indent="0" algn="l" defTabSz="1219170" rtl="0" eaLnBrk="1" fontAlgn="auto" latinLnBrk="0" hangingPunct="1">
              <a:lnSpc>
                <a:spcPct val="100000"/>
              </a:lnSpc>
              <a:spcBef>
                <a:spcPts val="0"/>
              </a:spcBef>
              <a:spcAft>
                <a:spcPts val="0"/>
              </a:spcAft>
              <a:buClr>
                <a:schemeClr val="accent1"/>
              </a:buClr>
              <a:buSzPts val="900"/>
              <a:buFont typeface="Arial"/>
              <a:buNone/>
              <a:tabLst/>
              <a:defRPr/>
            </a:lvl1pPr>
          </a:lstStyle>
          <a:p>
            <a:pPr marL="228594" marR="0" lvl="0" indent="0" algn="l" defTabSz="1219170" rtl="0" eaLnBrk="1" fontAlgn="auto" latinLnBrk="0" hangingPunct="1">
              <a:lnSpc>
                <a:spcPct val="100000"/>
              </a:lnSpc>
              <a:spcBef>
                <a:spcPts val="0"/>
              </a:spcBef>
              <a:spcAft>
                <a:spcPts val="0"/>
              </a:spcAft>
              <a:buClr>
                <a:schemeClr val="accent1"/>
              </a:buClr>
              <a:buSzPts val="900"/>
              <a:buFont typeface="Arial"/>
              <a:buNone/>
              <a:tabLst/>
              <a:defRPr/>
            </a:pPr>
            <a:r>
              <a:rPr lang="fr-FR"/>
              <a:t>Logo client</a:t>
            </a:r>
          </a:p>
        </p:txBody>
      </p:sp>
      <p:sp>
        <p:nvSpPr>
          <p:cNvPr id="28" name="Espace réservé pour une image  2">
            <a:extLst>
              <a:ext uri="{FF2B5EF4-FFF2-40B4-BE49-F238E27FC236}">
                <a16:creationId xmlns:a16="http://schemas.microsoft.com/office/drawing/2014/main" id="{39EF3A1D-C478-1B48-BEF8-0679C2622144}"/>
              </a:ext>
            </a:extLst>
          </p:cNvPr>
          <p:cNvSpPr>
            <a:spLocks noGrp="1"/>
          </p:cNvSpPr>
          <p:nvPr>
            <p:ph type="pic" sz="quarter" idx="25" hasCustomPrompt="1"/>
          </p:nvPr>
        </p:nvSpPr>
        <p:spPr>
          <a:xfrm>
            <a:off x="814579" y="5282311"/>
            <a:ext cx="1265767" cy="854667"/>
          </a:xfrm>
        </p:spPr>
        <p:txBody>
          <a:bodyPr anchor="ctr"/>
          <a:lstStyle>
            <a:lvl1pPr marL="228594" marR="0" indent="0" algn="l" defTabSz="1219170" rtl="0" eaLnBrk="1" fontAlgn="auto" latinLnBrk="0" hangingPunct="1">
              <a:lnSpc>
                <a:spcPct val="100000"/>
              </a:lnSpc>
              <a:spcBef>
                <a:spcPts val="0"/>
              </a:spcBef>
              <a:spcAft>
                <a:spcPts val="0"/>
              </a:spcAft>
              <a:buClr>
                <a:schemeClr val="accent1"/>
              </a:buClr>
              <a:buSzPts val="900"/>
              <a:buFont typeface="Arial"/>
              <a:buNone/>
              <a:tabLst/>
              <a:defRPr/>
            </a:lvl1pPr>
          </a:lstStyle>
          <a:p>
            <a:pPr marL="228594" marR="0" lvl="0" indent="0" algn="l" defTabSz="1219170" rtl="0" eaLnBrk="1" fontAlgn="auto" latinLnBrk="0" hangingPunct="1">
              <a:lnSpc>
                <a:spcPct val="100000"/>
              </a:lnSpc>
              <a:spcBef>
                <a:spcPts val="0"/>
              </a:spcBef>
              <a:spcAft>
                <a:spcPts val="0"/>
              </a:spcAft>
              <a:buClr>
                <a:schemeClr val="accent1"/>
              </a:buClr>
              <a:buSzPts val="900"/>
              <a:buFont typeface="Arial"/>
              <a:buNone/>
              <a:tabLst/>
              <a:defRPr/>
            </a:pPr>
            <a:r>
              <a:rPr lang="fr-FR"/>
              <a:t>Logo client</a:t>
            </a:r>
          </a:p>
        </p:txBody>
      </p:sp>
      <p:pic>
        <p:nvPicPr>
          <p:cNvPr id="24" name="Google Shape;95;p45">
            <a:extLst>
              <a:ext uri="{FF2B5EF4-FFF2-40B4-BE49-F238E27FC236}">
                <a16:creationId xmlns:a16="http://schemas.microsoft.com/office/drawing/2014/main" id="{7600E384-B310-6342-9C61-59F0D2AFDDEE}"/>
              </a:ext>
            </a:extLst>
          </p:cNvPr>
          <p:cNvPicPr preferRelativeResize="0"/>
          <p:nvPr/>
        </p:nvPicPr>
        <p:blipFill>
          <a:blip r:embed="rId2"/>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384429314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Slide_20bis">
  <p:cSld name="Slide_20bis">
    <p:bg>
      <p:bgPr>
        <a:solidFill>
          <a:schemeClr val="dk1"/>
        </a:solidFill>
        <a:effectLst/>
      </p:bgPr>
    </p:bg>
    <p:spTree>
      <p:nvGrpSpPr>
        <p:cNvPr id="1" name="Shape 144"/>
        <p:cNvGrpSpPr/>
        <p:nvPr/>
      </p:nvGrpSpPr>
      <p:grpSpPr>
        <a:xfrm>
          <a:off x="0" y="0"/>
          <a:ext cx="0" cy="0"/>
          <a:chOff x="0" y="0"/>
          <a:chExt cx="0" cy="0"/>
        </a:xfrm>
      </p:grpSpPr>
      <p:sp>
        <p:nvSpPr>
          <p:cNvPr id="145" name="Google Shape;145;p17"/>
          <p:cNvSpPr txBox="1">
            <a:spLocks noGrp="1"/>
          </p:cNvSpPr>
          <p:nvPr>
            <p:ph type="title"/>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FFFFFF"/>
              </a:buClr>
              <a:buSzPts val="1800"/>
              <a:buFont typeface="Arial"/>
              <a:buNone/>
              <a:defRPr sz="2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2pPr>
            <a:lvl3pPr marR="0" lvl="2"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3pPr>
            <a:lvl4pPr marR="0" lvl="3"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4pPr>
            <a:lvl5pPr marR="0" lvl="4"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5pPr>
            <a:lvl6pPr marR="0" lvl="5"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6pPr>
            <a:lvl7pPr marR="0" lvl="6"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7pPr>
            <a:lvl8pPr marR="0" lvl="7"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8pPr>
            <a:lvl9pPr marR="0" lvl="8"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9pPr>
          </a:lstStyle>
          <a:p>
            <a:r>
              <a:rPr lang="en-US"/>
              <a:t>Click to edit Master title style</a:t>
            </a:r>
            <a:endParaRPr/>
          </a:p>
        </p:txBody>
      </p:sp>
      <p:sp>
        <p:nvSpPr>
          <p:cNvPr id="146" name="Google Shape;146;p17"/>
          <p:cNvSpPr txBox="1">
            <a:spLocks noGrp="1"/>
          </p:cNvSpPr>
          <p:nvPr>
            <p:ph type="subTitle" idx="1"/>
          </p:nvPr>
        </p:nvSpPr>
        <p:spPr>
          <a:xfrm>
            <a:off x="802400" y="1553300"/>
            <a:ext cx="10587200" cy="6860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FFFFFF"/>
              </a:buClr>
              <a:buSzPts val="1100"/>
              <a:buFont typeface="Arial"/>
              <a:buNone/>
              <a:defRPr sz="1467" b="0" i="0" u="none" strike="noStrike" cap="none">
                <a:solidFill>
                  <a:srgbClr val="FFFFFF"/>
                </a:solidFill>
                <a:latin typeface="Arial"/>
                <a:ea typeface="Arial"/>
                <a:cs typeface="Arial"/>
                <a:sym typeface="Arial"/>
              </a:defRPr>
            </a:lvl1pPr>
            <a:lvl2pPr marR="0" lvl="1"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2pPr>
            <a:lvl3pPr marR="0" lvl="2"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3pPr>
            <a:lvl4pPr marR="0" lvl="3"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4pPr>
            <a:lvl5pPr marR="0" lvl="4"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5pPr>
            <a:lvl6pPr marR="0" lvl="5"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6pPr>
            <a:lvl7pPr marR="0" lvl="6"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7pPr>
            <a:lvl8pPr marR="0" lvl="7"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8pPr>
            <a:lvl9pPr marR="0" lvl="8"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9pPr>
          </a:lstStyle>
          <a:p>
            <a:r>
              <a:rPr lang="en-US"/>
              <a:t>Click to edit Master subtitle style</a:t>
            </a:r>
            <a:endParaRPr/>
          </a:p>
        </p:txBody>
      </p:sp>
      <p:sp>
        <p:nvSpPr>
          <p:cNvPr id="147" name="Google Shape;147;p17"/>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FFFFFF"/>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FFFFFF"/>
              </a:solidFill>
              <a:latin typeface="Arial"/>
              <a:ea typeface="Arial"/>
              <a:cs typeface="Arial"/>
              <a:sym typeface="Arial"/>
            </a:endParaRPr>
          </a:p>
        </p:txBody>
      </p:sp>
      <p:sp>
        <p:nvSpPr>
          <p:cNvPr id="148" name="Google Shape;148;p17"/>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FFFFFF"/>
                </a:solidFill>
                <a:latin typeface="Arial"/>
                <a:ea typeface="Arial"/>
                <a:cs typeface="Arial"/>
                <a:sym typeface="Arial"/>
              </a:rPr>
              <a:t>confidential</a:t>
            </a:r>
            <a:endParaRPr sz="1067" b="0" i="0" u="none" strike="noStrike" cap="none">
              <a:solidFill>
                <a:srgbClr val="FFFFFF"/>
              </a:solidFill>
              <a:latin typeface="Arial"/>
              <a:ea typeface="Arial"/>
              <a:cs typeface="Arial"/>
              <a:sym typeface="Arial"/>
            </a:endParaRPr>
          </a:p>
        </p:txBody>
      </p:sp>
      <p:sp>
        <p:nvSpPr>
          <p:cNvPr id="150" name="Google Shape;150;p17"/>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rgbClr val="FFFFFF"/>
              </a:buClr>
              <a:buSzPts val="800"/>
              <a:buFont typeface="Arial"/>
              <a:buNone/>
              <a:defRPr sz="1067" b="0" i="0" u="none" strike="noStrike" cap="none">
                <a:solidFill>
                  <a:srgbClr val="FFFFFF"/>
                </a:solidFill>
                <a:latin typeface="Arial"/>
                <a:ea typeface="Arial"/>
                <a:cs typeface="Arial"/>
                <a:sym typeface="Arial"/>
              </a:defRPr>
            </a:lvl1pPr>
            <a:lvl2pPr marL="1219170" marR="0" lvl="1"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2pPr>
            <a:lvl3pPr marL="1828754" marR="0" lvl="2"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3pPr>
            <a:lvl4pPr marL="2438339" marR="0" lvl="3"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4pPr>
            <a:lvl5pPr marL="3047924" marR="0" lvl="4"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5pPr>
            <a:lvl6pPr marL="3657509" marR="0" lvl="5"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6pPr>
            <a:lvl7pPr marL="4267093" marR="0" lvl="6"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7pPr>
            <a:lvl8pPr marL="4876678" marR="0" lvl="7"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8pPr>
            <a:lvl9pPr marL="5486263" marR="0" lvl="8"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9pPr>
          </a:lstStyle>
          <a:p>
            <a:pPr lvl="0"/>
            <a:r>
              <a:rPr lang="en-US"/>
              <a:t>Click to edit Master text styles</a:t>
            </a:r>
          </a:p>
        </p:txBody>
      </p:sp>
      <p:pic>
        <p:nvPicPr>
          <p:cNvPr id="8" name="Google Shape;95;p45">
            <a:extLst>
              <a:ext uri="{FF2B5EF4-FFF2-40B4-BE49-F238E27FC236}">
                <a16:creationId xmlns:a16="http://schemas.microsoft.com/office/drawing/2014/main" id="{36464437-B6C7-3042-83D6-C68393AC4234}"/>
              </a:ext>
            </a:extLst>
          </p:cNvPr>
          <p:cNvPicPr preferRelativeResize="0"/>
          <p:nvPr/>
        </p:nvPicPr>
        <p:blipFill>
          <a:blip r:embed="rId2"/>
          <a:srcRect/>
          <a:stretch/>
        </p:blipFill>
        <p:spPr>
          <a:xfrm>
            <a:off x="804333" y="6450452"/>
            <a:ext cx="1339315" cy="156579"/>
          </a:xfrm>
          <a:prstGeom prst="rect">
            <a:avLst/>
          </a:prstGeom>
          <a:noFill/>
          <a:ln>
            <a:noFill/>
          </a:ln>
        </p:spPr>
      </p:pic>
    </p:spTree>
    <p:extLst>
      <p:ext uri="{BB962C8B-B14F-4D97-AF65-F5344CB8AC3E}">
        <p14:creationId xmlns:p14="http://schemas.microsoft.com/office/powerpoint/2010/main" val="348793197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Slide_1bis">
  <p:cSld name="Slide_1bis">
    <p:bg>
      <p:bgPr>
        <a:solidFill>
          <a:schemeClr val="dk1"/>
        </a:solidFill>
        <a:effectLst/>
      </p:bgPr>
    </p:bg>
    <p:spTree>
      <p:nvGrpSpPr>
        <p:cNvPr id="1" name="Shape 159"/>
        <p:cNvGrpSpPr/>
        <p:nvPr/>
      </p:nvGrpSpPr>
      <p:grpSpPr>
        <a:xfrm>
          <a:off x="0" y="0"/>
          <a:ext cx="0" cy="0"/>
          <a:chOff x="0" y="0"/>
          <a:chExt cx="0" cy="0"/>
        </a:xfrm>
      </p:grpSpPr>
      <p:sp>
        <p:nvSpPr>
          <p:cNvPr id="160" name="Google Shape;160;p6"/>
          <p:cNvSpPr txBox="1">
            <a:spLocks noGrp="1"/>
          </p:cNvSpPr>
          <p:nvPr>
            <p:ph type="title"/>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FFFFFF"/>
              </a:buClr>
              <a:buSzPts val="1800"/>
              <a:buFont typeface="Arial"/>
              <a:buNone/>
              <a:defRPr sz="2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2pPr>
            <a:lvl3pPr marR="0" lvl="2"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3pPr>
            <a:lvl4pPr marR="0" lvl="3"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4pPr>
            <a:lvl5pPr marR="0" lvl="4"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5pPr>
            <a:lvl6pPr marR="0" lvl="5"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6pPr>
            <a:lvl7pPr marR="0" lvl="6"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7pPr>
            <a:lvl8pPr marR="0" lvl="7"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8pPr>
            <a:lvl9pPr marR="0" lvl="8"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9pPr>
          </a:lstStyle>
          <a:p>
            <a:r>
              <a:rPr lang="en-US"/>
              <a:t>Click to edit Master title style</a:t>
            </a:r>
            <a:endParaRPr/>
          </a:p>
        </p:txBody>
      </p:sp>
      <p:sp>
        <p:nvSpPr>
          <p:cNvPr id="161" name="Google Shape;161;p6"/>
          <p:cNvSpPr txBox="1">
            <a:spLocks noGrp="1"/>
          </p:cNvSpPr>
          <p:nvPr>
            <p:ph type="subTitle" idx="1"/>
          </p:nvPr>
        </p:nvSpPr>
        <p:spPr>
          <a:xfrm>
            <a:off x="802400" y="1553300"/>
            <a:ext cx="10587200" cy="6764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FFFFFF"/>
              </a:buClr>
              <a:buSzPts val="1100"/>
              <a:buFont typeface="Arial"/>
              <a:buNone/>
              <a:defRPr sz="1467" b="0" i="0" u="none" strike="noStrike" cap="none">
                <a:solidFill>
                  <a:srgbClr val="FFFFFF"/>
                </a:solidFill>
                <a:latin typeface="Arial"/>
                <a:ea typeface="Arial"/>
                <a:cs typeface="Arial"/>
                <a:sym typeface="Arial"/>
              </a:defRPr>
            </a:lvl1pPr>
            <a:lvl2pPr marR="0" lvl="1"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2pPr>
            <a:lvl3pPr marR="0" lvl="2"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3pPr>
            <a:lvl4pPr marR="0" lvl="3"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4pPr>
            <a:lvl5pPr marR="0" lvl="4"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5pPr>
            <a:lvl6pPr marR="0" lvl="5"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6pPr>
            <a:lvl7pPr marR="0" lvl="6"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7pPr>
            <a:lvl8pPr marR="0" lvl="7"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8pPr>
            <a:lvl9pPr marR="0" lvl="8"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9pPr>
          </a:lstStyle>
          <a:p>
            <a:r>
              <a:rPr lang="en-US"/>
              <a:t>Click to edit Master subtitle style</a:t>
            </a:r>
            <a:endParaRPr/>
          </a:p>
        </p:txBody>
      </p:sp>
      <p:sp>
        <p:nvSpPr>
          <p:cNvPr id="162" name="Google Shape;162;p6"/>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FFFFFF"/>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FFFFFF"/>
              </a:solidFill>
              <a:latin typeface="Arial"/>
              <a:ea typeface="Arial"/>
              <a:cs typeface="Arial"/>
              <a:sym typeface="Arial"/>
            </a:endParaRPr>
          </a:p>
        </p:txBody>
      </p:sp>
      <p:sp>
        <p:nvSpPr>
          <p:cNvPr id="163" name="Google Shape;163;p6"/>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FFFFFF"/>
                </a:solidFill>
                <a:latin typeface="Arial"/>
                <a:ea typeface="Arial"/>
                <a:cs typeface="Arial"/>
                <a:sym typeface="Arial"/>
              </a:rPr>
              <a:t>confidential</a:t>
            </a:r>
            <a:endParaRPr sz="1067" b="0" i="0" u="none" strike="noStrike" cap="none">
              <a:solidFill>
                <a:srgbClr val="FFFFFF"/>
              </a:solidFill>
              <a:latin typeface="Arial"/>
              <a:ea typeface="Arial"/>
              <a:cs typeface="Arial"/>
              <a:sym typeface="Arial"/>
            </a:endParaRPr>
          </a:p>
        </p:txBody>
      </p:sp>
      <p:sp>
        <p:nvSpPr>
          <p:cNvPr id="165" name="Google Shape;165;p6"/>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rgbClr val="FFFFFF"/>
              </a:buClr>
              <a:buSzPts val="800"/>
              <a:buFont typeface="Arial"/>
              <a:buNone/>
              <a:defRPr sz="1067" b="0" i="0" u="none" strike="noStrike" cap="none">
                <a:solidFill>
                  <a:srgbClr val="FFFFFF"/>
                </a:solidFill>
                <a:latin typeface="Arial"/>
                <a:ea typeface="Arial"/>
                <a:cs typeface="Arial"/>
                <a:sym typeface="Arial"/>
              </a:defRPr>
            </a:lvl1pPr>
            <a:lvl2pPr marL="1219170" marR="0" lvl="1"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2pPr>
            <a:lvl3pPr marL="1828754" marR="0" lvl="2"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3pPr>
            <a:lvl4pPr marL="2438339" marR="0" lvl="3"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4pPr>
            <a:lvl5pPr marL="3047924" marR="0" lvl="4"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5pPr>
            <a:lvl6pPr marL="3657509" marR="0" lvl="5"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6pPr>
            <a:lvl7pPr marL="4267093" marR="0" lvl="6"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7pPr>
            <a:lvl8pPr marL="4876678" marR="0" lvl="7"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8pPr>
            <a:lvl9pPr marL="5486263" marR="0" lvl="8"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9pPr>
          </a:lstStyle>
          <a:p>
            <a:pPr lvl="0"/>
            <a:r>
              <a:rPr lang="en-US"/>
              <a:t>Click to edit Master text styles</a:t>
            </a:r>
          </a:p>
        </p:txBody>
      </p:sp>
      <p:sp>
        <p:nvSpPr>
          <p:cNvPr id="166" name="Google Shape;166;p6"/>
          <p:cNvSpPr txBox="1">
            <a:spLocks noGrp="1"/>
          </p:cNvSpPr>
          <p:nvPr>
            <p:ph type="body" idx="3"/>
          </p:nvPr>
        </p:nvSpPr>
        <p:spPr>
          <a:xfrm>
            <a:off x="804333" y="2239300"/>
            <a:ext cx="10582967" cy="3892800"/>
          </a:xfrm>
          <a:prstGeom prst="rect">
            <a:avLst/>
          </a:prstGeom>
          <a:noFill/>
          <a:ln>
            <a:noFill/>
          </a:ln>
        </p:spPr>
        <p:txBody>
          <a:bodyPr spcFirstLastPara="1" wrap="square" lIns="0" tIns="0" rIns="54000" bIns="0" anchor="t" anchorCtr="0">
            <a:noAutofit/>
          </a:bodyPr>
          <a:lstStyle>
            <a:lvl1pPr marL="609585" marR="0" lvl="0"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1pPr>
            <a:lvl2pPr marL="1219170" marR="0" lvl="1"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2pPr>
            <a:lvl3pPr marL="1828754" marR="0" lvl="2"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3pPr>
            <a:lvl4pPr marL="2438339" marR="0" lvl="3"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4pPr>
            <a:lvl5pPr marL="3047924" marR="0" lvl="4"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5pPr>
            <a:lvl6pPr marL="3657509" marR="0" lvl="5"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6pPr>
            <a:lvl7pPr marL="4267093" marR="0" lvl="6"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7pPr>
            <a:lvl8pPr marL="4876678" marR="0" lvl="7"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8pPr>
            <a:lvl9pPr marL="5486263" marR="0" lvl="8"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9pPr>
          </a:lstStyle>
          <a:p>
            <a:pPr lvl="0"/>
            <a:r>
              <a:rPr lang="en-US"/>
              <a:t>Click to edit Master text styles</a:t>
            </a:r>
          </a:p>
        </p:txBody>
      </p:sp>
      <p:pic>
        <p:nvPicPr>
          <p:cNvPr id="9" name="Google Shape;95;p45">
            <a:extLst>
              <a:ext uri="{FF2B5EF4-FFF2-40B4-BE49-F238E27FC236}">
                <a16:creationId xmlns:a16="http://schemas.microsoft.com/office/drawing/2014/main" id="{AEABACFF-7976-DE4F-BB5E-70B74D51DC68}"/>
              </a:ext>
            </a:extLst>
          </p:cNvPr>
          <p:cNvPicPr preferRelativeResize="0"/>
          <p:nvPr/>
        </p:nvPicPr>
        <p:blipFill>
          <a:blip r:embed="rId2"/>
          <a:srcRect/>
          <a:stretch/>
        </p:blipFill>
        <p:spPr>
          <a:xfrm>
            <a:off x="804333" y="6450452"/>
            <a:ext cx="1339315" cy="156579"/>
          </a:xfrm>
          <a:prstGeom prst="rect">
            <a:avLst/>
          </a:prstGeom>
          <a:noFill/>
          <a:ln>
            <a:noFill/>
          </a:ln>
        </p:spPr>
      </p:pic>
    </p:spTree>
    <p:extLst>
      <p:ext uri="{BB962C8B-B14F-4D97-AF65-F5344CB8AC3E}">
        <p14:creationId xmlns:p14="http://schemas.microsoft.com/office/powerpoint/2010/main" val="286806299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Slide_4bis">
  <p:cSld name="Slide_4bis">
    <p:bg>
      <p:bgPr>
        <a:solidFill>
          <a:schemeClr val="dk1"/>
        </a:solidFill>
        <a:effectLst/>
      </p:bgPr>
    </p:bg>
    <p:spTree>
      <p:nvGrpSpPr>
        <p:cNvPr id="1" name="Shape 176"/>
        <p:cNvGrpSpPr/>
        <p:nvPr/>
      </p:nvGrpSpPr>
      <p:grpSpPr>
        <a:xfrm>
          <a:off x="0" y="0"/>
          <a:ext cx="0" cy="0"/>
          <a:chOff x="0" y="0"/>
          <a:chExt cx="0" cy="0"/>
        </a:xfrm>
      </p:grpSpPr>
      <p:sp>
        <p:nvSpPr>
          <p:cNvPr id="177" name="Google Shape;177;p26"/>
          <p:cNvSpPr txBox="1">
            <a:spLocks noGrp="1"/>
          </p:cNvSpPr>
          <p:nvPr>
            <p:ph type="title"/>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FFFFFF"/>
              </a:buClr>
              <a:buSzPts val="1800"/>
              <a:buFont typeface="Arial"/>
              <a:buNone/>
              <a:defRPr sz="2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2pPr>
            <a:lvl3pPr marR="0" lvl="2"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3pPr>
            <a:lvl4pPr marR="0" lvl="3"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4pPr>
            <a:lvl5pPr marR="0" lvl="4"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5pPr>
            <a:lvl6pPr marR="0" lvl="5"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6pPr>
            <a:lvl7pPr marR="0" lvl="6"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7pPr>
            <a:lvl8pPr marR="0" lvl="7"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8pPr>
            <a:lvl9pPr marR="0" lvl="8"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9pPr>
          </a:lstStyle>
          <a:p>
            <a:r>
              <a:rPr lang="en-US"/>
              <a:t>Click to edit Master title style</a:t>
            </a:r>
            <a:endParaRPr/>
          </a:p>
        </p:txBody>
      </p:sp>
      <p:sp>
        <p:nvSpPr>
          <p:cNvPr id="178" name="Google Shape;178;p26"/>
          <p:cNvSpPr txBox="1">
            <a:spLocks noGrp="1"/>
          </p:cNvSpPr>
          <p:nvPr>
            <p:ph type="subTitle" idx="1"/>
          </p:nvPr>
        </p:nvSpPr>
        <p:spPr>
          <a:xfrm>
            <a:off x="802400" y="1553300"/>
            <a:ext cx="10587200" cy="6860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FFFFFF"/>
              </a:buClr>
              <a:buSzPts val="1100"/>
              <a:buFont typeface="Arial"/>
              <a:buNone/>
              <a:defRPr sz="1467" b="0" i="0" u="none" strike="noStrike" cap="none">
                <a:solidFill>
                  <a:srgbClr val="FFFFFF"/>
                </a:solidFill>
                <a:latin typeface="Arial"/>
                <a:ea typeface="Arial"/>
                <a:cs typeface="Arial"/>
                <a:sym typeface="Arial"/>
              </a:defRPr>
            </a:lvl1pPr>
            <a:lvl2pPr marR="0" lvl="1"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2pPr>
            <a:lvl3pPr marR="0" lvl="2"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3pPr>
            <a:lvl4pPr marR="0" lvl="3"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4pPr>
            <a:lvl5pPr marR="0" lvl="4"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5pPr>
            <a:lvl6pPr marR="0" lvl="5"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6pPr>
            <a:lvl7pPr marR="0" lvl="6"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7pPr>
            <a:lvl8pPr marR="0" lvl="7"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8pPr>
            <a:lvl9pPr marR="0" lvl="8" algn="l">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9pPr>
          </a:lstStyle>
          <a:p>
            <a:r>
              <a:rPr lang="en-US"/>
              <a:t>Click to edit Master subtitle style</a:t>
            </a:r>
            <a:endParaRPr/>
          </a:p>
        </p:txBody>
      </p:sp>
      <p:sp>
        <p:nvSpPr>
          <p:cNvPr id="179" name="Google Shape;179;p26"/>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FFFFFF"/>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FFFFFF"/>
              </a:solidFill>
              <a:latin typeface="Arial"/>
              <a:ea typeface="Arial"/>
              <a:cs typeface="Arial"/>
              <a:sym typeface="Arial"/>
            </a:endParaRPr>
          </a:p>
        </p:txBody>
      </p:sp>
      <p:sp>
        <p:nvSpPr>
          <p:cNvPr id="180" name="Google Shape;180;p26"/>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FFFFFF"/>
                </a:solidFill>
                <a:latin typeface="Arial"/>
                <a:ea typeface="Arial"/>
                <a:cs typeface="Arial"/>
                <a:sym typeface="Arial"/>
              </a:rPr>
              <a:t>confidential</a:t>
            </a:r>
            <a:endParaRPr sz="1067" b="0" i="0" u="none" strike="noStrike" cap="none">
              <a:solidFill>
                <a:srgbClr val="FFFFFF"/>
              </a:solidFill>
              <a:latin typeface="Arial"/>
              <a:ea typeface="Arial"/>
              <a:cs typeface="Arial"/>
              <a:sym typeface="Arial"/>
            </a:endParaRPr>
          </a:p>
        </p:txBody>
      </p:sp>
      <p:sp>
        <p:nvSpPr>
          <p:cNvPr id="182" name="Google Shape;182;p26"/>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rgbClr val="FFFFFF"/>
              </a:buClr>
              <a:buSzPts val="800"/>
              <a:buFont typeface="Arial"/>
              <a:buNone/>
              <a:defRPr sz="1067" b="0" i="0" u="none" strike="noStrike" cap="none">
                <a:solidFill>
                  <a:srgbClr val="FFFFFF"/>
                </a:solidFill>
                <a:latin typeface="Arial"/>
                <a:ea typeface="Arial"/>
                <a:cs typeface="Arial"/>
                <a:sym typeface="Arial"/>
              </a:defRPr>
            </a:lvl1pPr>
            <a:lvl2pPr marL="1219170" marR="0" lvl="1"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2pPr>
            <a:lvl3pPr marL="1828754" marR="0" lvl="2"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3pPr>
            <a:lvl4pPr marL="2438339" marR="0" lvl="3"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4pPr>
            <a:lvl5pPr marL="3047924" marR="0" lvl="4"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5pPr>
            <a:lvl6pPr marL="3657509" marR="0" lvl="5"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6pPr>
            <a:lvl7pPr marL="4267093" marR="0" lvl="6"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7pPr>
            <a:lvl8pPr marL="4876678" marR="0" lvl="7"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8pPr>
            <a:lvl9pPr marL="5486263" marR="0" lvl="8"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9pPr>
          </a:lstStyle>
          <a:p>
            <a:pPr lvl="0"/>
            <a:r>
              <a:rPr lang="en-US"/>
              <a:t>Click to edit Master text styles</a:t>
            </a:r>
          </a:p>
        </p:txBody>
      </p:sp>
      <p:sp>
        <p:nvSpPr>
          <p:cNvPr id="183" name="Google Shape;183;p26"/>
          <p:cNvSpPr txBox="1">
            <a:spLocks noGrp="1"/>
          </p:cNvSpPr>
          <p:nvPr>
            <p:ph type="body" idx="3"/>
          </p:nvPr>
        </p:nvSpPr>
        <p:spPr>
          <a:xfrm>
            <a:off x="804333" y="2248749"/>
            <a:ext cx="3528484" cy="3874464"/>
          </a:xfrm>
          <a:prstGeom prst="rect">
            <a:avLst/>
          </a:prstGeom>
          <a:noFill/>
          <a:ln>
            <a:noFill/>
          </a:ln>
        </p:spPr>
        <p:txBody>
          <a:bodyPr spcFirstLastPara="1" wrap="square" lIns="0" tIns="0" rIns="54000" bIns="0" anchor="t" anchorCtr="0">
            <a:noAutofit/>
          </a:bodyPr>
          <a:lstStyle>
            <a:lvl1pPr marL="609585" marR="0" lvl="0" indent="-380990" algn="l">
              <a:lnSpc>
                <a:spcPct val="100000"/>
              </a:lnSpc>
              <a:spcBef>
                <a:spcPts val="0"/>
              </a:spcBef>
              <a:spcAft>
                <a:spcPts val="0"/>
              </a:spcAft>
              <a:buClr>
                <a:schemeClr val="accent1"/>
              </a:buClr>
              <a:buSzPts val="900"/>
              <a:buFont typeface="Arial"/>
              <a:buChar char="•"/>
              <a:defRPr sz="1200" b="0" i="0" u="none" strike="noStrike" cap="none">
                <a:solidFill>
                  <a:schemeClr val="lt2"/>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184" name="Google Shape;184;p26"/>
          <p:cNvSpPr txBox="1">
            <a:spLocks noGrp="1"/>
          </p:cNvSpPr>
          <p:nvPr>
            <p:ph type="body" idx="4"/>
          </p:nvPr>
        </p:nvSpPr>
        <p:spPr>
          <a:xfrm>
            <a:off x="4333597" y="2248749"/>
            <a:ext cx="3528484" cy="3874465"/>
          </a:xfrm>
          <a:prstGeom prst="rect">
            <a:avLst/>
          </a:prstGeom>
          <a:noFill/>
          <a:ln>
            <a:noFill/>
          </a:ln>
        </p:spPr>
        <p:txBody>
          <a:bodyPr spcFirstLastPara="1" wrap="square" lIns="0" tIns="0" rIns="54000" bIns="0" anchor="t" anchorCtr="0">
            <a:noAutofit/>
          </a:bodyPr>
          <a:lstStyle>
            <a:lvl1pPr marL="609585" marR="0" lvl="0" indent="-380990" algn="l">
              <a:lnSpc>
                <a:spcPct val="100000"/>
              </a:lnSpc>
              <a:spcBef>
                <a:spcPts val="0"/>
              </a:spcBef>
              <a:spcAft>
                <a:spcPts val="0"/>
              </a:spcAft>
              <a:buClr>
                <a:schemeClr val="accent1"/>
              </a:buClr>
              <a:buSzPts val="900"/>
              <a:buFont typeface="Arial"/>
              <a:buChar char="•"/>
              <a:defRPr sz="1200" b="0" i="0" u="none" strike="noStrike" cap="none">
                <a:solidFill>
                  <a:schemeClr val="lt2"/>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185" name="Google Shape;185;p26"/>
          <p:cNvSpPr txBox="1">
            <a:spLocks noGrp="1"/>
          </p:cNvSpPr>
          <p:nvPr>
            <p:ph type="body" idx="5"/>
          </p:nvPr>
        </p:nvSpPr>
        <p:spPr>
          <a:xfrm>
            <a:off x="7862861" y="2248749"/>
            <a:ext cx="3528484" cy="3874465"/>
          </a:xfrm>
          <a:prstGeom prst="rect">
            <a:avLst/>
          </a:prstGeom>
          <a:noFill/>
          <a:ln>
            <a:noFill/>
          </a:ln>
        </p:spPr>
        <p:txBody>
          <a:bodyPr spcFirstLastPara="1" wrap="square" lIns="0" tIns="0" rIns="54000" bIns="0" anchor="t" anchorCtr="0">
            <a:noAutofit/>
          </a:bodyPr>
          <a:lstStyle>
            <a:lvl1pPr marL="609585" marR="0" lvl="0" indent="-380990" algn="l">
              <a:lnSpc>
                <a:spcPct val="100000"/>
              </a:lnSpc>
              <a:spcBef>
                <a:spcPts val="0"/>
              </a:spcBef>
              <a:spcAft>
                <a:spcPts val="0"/>
              </a:spcAft>
              <a:buClr>
                <a:schemeClr val="accent1"/>
              </a:buClr>
              <a:buSzPts val="900"/>
              <a:buFont typeface="Arial"/>
              <a:buChar char="•"/>
              <a:defRPr sz="1200" b="0" i="0" u="none" strike="noStrike" cap="none">
                <a:solidFill>
                  <a:schemeClr val="lt2"/>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11" name="Google Shape;95;p45">
            <a:extLst>
              <a:ext uri="{FF2B5EF4-FFF2-40B4-BE49-F238E27FC236}">
                <a16:creationId xmlns:a16="http://schemas.microsoft.com/office/drawing/2014/main" id="{09CFC918-A4E9-A84B-A1C6-FCCF1916A714}"/>
              </a:ext>
            </a:extLst>
          </p:cNvPr>
          <p:cNvPicPr preferRelativeResize="0"/>
          <p:nvPr/>
        </p:nvPicPr>
        <p:blipFill>
          <a:blip r:embed="rId2"/>
          <a:srcRect/>
          <a:stretch/>
        </p:blipFill>
        <p:spPr>
          <a:xfrm>
            <a:off x="804333" y="6450452"/>
            <a:ext cx="1339315" cy="156579"/>
          </a:xfrm>
          <a:prstGeom prst="rect">
            <a:avLst/>
          </a:prstGeom>
          <a:noFill/>
          <a:ln>
            <a:noFill/>
          </a:ln>
        </p:spPr>
      </p:pic>
    </p:spTree>
    <p:extLst>
      <p:ext uri="{BB962C8B-B14F-4D97-AF65-F5344CB8AC3E}">
        <p14:creationId xmlns:p14="http://schemas.microsoft.com/office/powerpoint/2010/main" val="25370045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Slide_4">
  <p:cSld name="Slide_4">
    <p:bg>
      <p:bgPr>
        <a:solidFill>
          <a:srgbClr val="FFFFFF"/>
        </a:solidFill>
        <a:effectLst/>
      </p:bgPr>
    </p:bg>
    <p:spTree>
      <p:nvGrpSpPr>
        <p:cNvPr id="1" name="Shape 186"/>
        <p:cNvGrpSpPr/>
        <p:nvPr/>
      </p:nvGrpSpPr>
      <p:grpSpPr>
        <a:xfrm>
          <a:off x="0" y="0"/>
          <a:ext cx="0" cy="0"/>
          <a:chOff x="0" y="0"/>
          <a:chExt cx="0" cy="0"/>
        </a:xfrm>
      </p:grpSpPr>
      <p:sp>
        <p:nvSpPr>
          <p:cNvPr id="187" name="Google Shape;187;p25"/>
          <p:cNvSpPr txBox="1">
            <a:spLocks noGrp="1"/>
          </p:cNvSpPr>
          <p:nvPr>
            <p:ph type="title"/>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188" name="Google Shape;188;p25"/>
          <p:cNvSpPr txBox="1">
            <a:spLocks noGrp="1"/>
          </p:cNvSpPr>
          <p:nvPr>
            <p:ph type="subTitle" idx="1"/>
          </p:nvPr>
        </p:nvSpPr>
        <p:spPr>
          <a:xfrm>
            <a:off x="802400" y="1553300"/>
            <a:ext cx="10587200" cy="6860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189" name="Google Shape;189;p25"/>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190" name="Google Shape;190;p25"/>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191" name="Google Shape;191;p25"/>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193" name="Google Shape;193;p25"/>
          <p:cNvSpPr txBox="1">
            <a:spLocks noGrp="1"/>
          </p:cNvSpPr>
          <p:nvPr>
            <p:ph type="body" idx="3"/>
          </p:nvPr>
        </p:nvSpPr>
        <p:spPr>
          <a:xfrm>
            <a:off x="804333" y="2248749"/>
            <a:ext cx="3528484" cy="3874464"/>
          </a:xfrm>
          <a:prstGeom prst="rect">
            <a:avLst/>
          </a:prstGeom>
          <a:noFill/>
          <a:ln>
            <a:noFill/>
          </a:ln>
        </p:spPr>
        <p:txBody>
          <a:bodyPr spcFirstLastPara="1" wrap="square" lIns="0" tIns="0" rIns="54000" bIns="0" anchor="t" anchorCtr="0">
            <a:noAutofit/>
          </a:bodyPr>
          <a:lstStyle>
            <a:lvl1pPr marL="609585" marR="0" lvl="0" indent="-380990" algn="l">
              <a:lnSpc>
                <a:spcPct val="100000"/>
              </a:lnSpc>
              <a:spcBef>
                <a:spcPts val="0"/>
              </a:spcBef>
              <a:spcAft>
                <a:spcPts val="0"/>
              </a:spcAft>
              <a:buClr>
                <a:schemeClr val="accent1"/>
              </a:buClr>
              <a:buSzPts val="900"/>
              <a:buFont typeface="Arial"/>
              <a:buChar char="•"/>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194" name="Google Shape;194;p25"/>
          <p:cNvSpPr txBox="1">
            <a:spLocks noGrp="1"/>
          </p:cNvSpPr>
          <p:nvPr>
            <p:ph type="body" idx="4"/>
          </p:nvPr>
        </p:nvSpPr>
        <p:spPr>
          <a:xfrm>
            <a:off x="4333597" y="2248749"/>
            <a:ext cx="3528484" cy="3874465"/>
          </a:xfrm>
          <a:prstGeom prst="rect">
            <a:avLst/>
          </a:prstGeom>
          <a:noFill/>
          <a:ln>
            <a:noFill/>
          </a:ln>
        </p:spPr>
        <p:txBody>
          <a:bodyPr spcFirstLastPara="1" wrap="square" lIns="0" tIns="0" rIns="54000" bIns="0" anchor="t" anchorCtr="0">
            <a:noAutofit/>
          </a:bodyPr>
          <a:lstStyle>
            <a:lvl1pPr marL="609585" marR="0" lvl="0" indent="-380990" algn="l">
              <a:lnSpc>
                <a:spcPct val="100000"/>
              </a:lnSpc>
              <a:spcBef>
                <a:spcPts val="0"/>
              </a:spcBef>
              <a:spcAft>
                <a:spcPts val="0"/>
              </a:spcAft>
              <a:buClr>
                <a:schemeClr val="accent1"/>
              </a:buClr>
              <a:buSzPts val="900"/>
              <a:buFont typeface="Arial"/>
              <a:buChar char="•"/>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195" name="Google Shape;195;p25"/>
          <p:cNvSpPr txBox="1">
            <a:spLocks noGrp="1"/>
          </p:cNvSpPr>
          <p:nvPr>
            <p:ph type="body" idx="5"/>
          </p:nvPr>
        </p:nvSpPr>
        <p:spPr>
          <a:xfrm>
            <a:off x="7862861" y="2248749"/>
            <a:ext cx="3528484" cy="3874465"/>
          </a:xfrm>
          <a:prstGeom prst="rect">
            <a:avLst/>
          </a:prstGeom>
          <a:noFill/>
          <a:ln>
            <a:noFill/>
          </a:ln>
        </p:spPr>
        <p:txBody>
          <a:bodyPr spcFirstLastPara="1" wrap="square" lIns="0" tIns="0" rIns="54000" bIns="0" anchor="t" anchorCtr="0">
            <a:noAutofit/>
          </a:bodyPr>
          <a:lstStyle>
            <a:lvl1pPr marL="609585" marR="0" lvl="0" indent="-380990" algn="l">
              <a:lnSpc>
                <a:spcPct val="100000"/>
              </a:lnSpc>
              <a:spcBef>
                <a:spcPts val="0"/>
              </a:spcBef>
              <a:spcAft>
                <a:spcPts val="0"/>
              </a:spcAft>
              <a:buClr>
                <a:schemeClr val="accent1"/>
              </a:buClr>
              <a:buSzPts val="900"/>
              <a:buFont typeface="Arial"/>
              <a:buChar char="•"/>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11" name="Google Shape;95;p45">
            <a:extLst>
              <a:ext uri="{FF2B5EF4-FFF2-40B4-BE49-F238E27FC236}">
                <a16:creationId xmlns:a16="http://schemas.microsoft.com/office/drawing/2014/main" id="{C0F4E4DD-7AC6-EF4B-AFD2-AA233282B9CE}"/>
              </a:ext>
            </a:extLst>
          </p:cNvPr>
          <p:cNvPicPr preferRelativeResize="0"/>
          <p:nvPr/>
        </p:nvPicPr>
        <p:blipFill>
          <a:blip r:embed="rId2"/>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176014416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Slide_3">
  <p:cSld name="Slide_3">
    <p:bg>
      <p:bgPr>
        <a:solidFill>
          <a:srgbClr val="FFFFFF"/>
        </a:solidFill>
        <a:effectLst/>
      </p:bgPr>
    </p:bg>
    <p:spTree>
      <p:nvGrpSpPr>
        <p:cNvPr id="1" name="Shape 196"/>
        <p:cNvGrpSpPr/>
        <p:nvPr/>
      </p:nvGrpSpPr>
      <p:grpSpPr>
        <a:xfrm>
          <a:off x="0" y="0"/>
          <a:ext cx="0" cy="0"/>
          <a:chOff x="0" y="0"/>
          <a:chExt cx="0" cy="0"/>
        </a:xfrm>
      </p:grpSpPr>
      <p:sp>
        <p:nvSpPr>
          <p:cNvPr id="197" name="Google Shape;197;p8"/>
          <p:cNvSpPr txBox="1">
            <a:spLocks noGrp="1"/>
          </p:cNvSpPr>
          <p:nvPr>
            <p:ph type="title"/>
          </p:nvPr>
        </p:nvSpPr>
        <p:spPr>
          <a:xfrm>
            <a:off x="800100" y="728833"/>
            <a:ext cx="3532000" cy="54036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198" name="Google Shape;198;p8"/>
          <p:cNvSpPr/>
          <p:nvPr/>
        </p:nvSpPr>
        <p:spPr>
          <a:xfrm rot="-430255">
            <a:off x="-2880266" y="3494700"/>
            <a:ext cx="9164483" cy="9168501"/>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199" name="Google Shape;199;p8"/>
          <p:cNvCxnSpPr/>
          <p:nvPr/>
        </p:nvCxnSpPr>
        <p:spPr>
          <a:xfrm flipH="1">
            <a:off x="3386067" y="2758100"/>
            <a:ext cx="1892400" cy="1803600"/>
          </a:xfrm>
          <a:prstGeom prst="straightConnector1">
            <a:avLst/>
          </a:prstGeom>
          <a:noFill/>
          <a:ln w="9525" cap="flat" cmpd="sng">
            <a:solidFill>
              <a:schemeClr val="accent1"/>
            </a:solidFill>
            <a:prstDash val="solid"/>
            <a:round/>
            <a:headEnd type="none" w="sm" len="sm"/>
            <a:tailEnd type="none" w="sm" len="sm"/>
          </a:ln>
        </p:spPr>
      </p:cxnSp>
      <p:sp>
        <p:nvSpPr>
          <p:cNvPr id="200" name="Google Shape;200;p8"/>
          <p:cNvSpPr/>
          <p:nvPr/>
        </p:nvSpPr>
        <p:spPr>
          <a:xfrm>
            <a:off x="3732000" y="3877300"/>
            <a:ext cx="377200" cy="377200"/>
          </a:xfrm>
          <a:prstGeom prst="ellipse">
            <a:avLst/>
          </a:prstGeom>
          <a:solidFill>
            <a:srgbClr val="FFFFFF"/>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201" name="Google Shape;201;p8"/>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202" name="Google Shape;202;p8"/>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204" name="Google Shape;204;p8"/>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205" name="Google Shape;205;p8"/>
          <p:cNvSpPr txBox="1">
            <a:spLocks noGrp="1"/>
          </p:cNvSpPr>
          <p:nvPr>
            <p:ph type="body" idx="2"/>
          </p:nvPr>
        </p:nvSpPr>
        <p:spPr>
          <a:xfrm>
            <a:off x="4337787" y="728341"/>
            <a:ext cx="3521397" cy="5403600"/>
          </a:xfrm>
          <a:prstGeom prst="rect">
            <a:avLst/>
          </a:prstGeom>
          <a:noFill/>
          <a:ln>
            <a:noFill/>
          </a:ln>
        </p:spPr>
        <p:txBody>
          <a:bodyPr spcFirstLastPara="1" wrap="square" lIns="0" tIns="0" rIns="54000" bIns="0" anchor="t" anchorCtr="0">
            <a:noAutofit/>
          </a:bodyPr>
          <a:lstStyle>
            <a:lvl1pPr marL="609585" marR="0" lvl="0" indent="-304792" algn="l">
              <a:lnSpc>
                <a:spcPct val="100000"/>
              </a:lnSpc>
              <a:spcBef>
                <a:spcPts val="0"/>
              </a:spcBef>
              <a:spcAft>
                <a:spcPts val="0"/>
              </a:spcAft>
              <a:buClr>
                <a:schemeClr val="lt2"/>
              </a:buClr>
              <a:buSzPts val="1400"/>
              <a:buFont typeface="Arial"/>
              <a:buNone/>
              <a:defRPr sz="1200" b="0" i="0" u="none" strike="noStrike" cap="none">
                <a:solidFill>
                  <a:schemeClr val="lt1"/>
                </a:solidFill>
                <a:latin typeface="Arial"/>
                <a:ea typeface="Arial"/>
                <a:cs typeface="Arial"/>
                <a:sym typeface="Arial"/>
              </a:defRPr>
            </a:lvl1pPr>
            <a:lvl2pPr marL="1219170" marR="0" lvl="1"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2pPr>
            <a:lvl3pPr marL="1828754" marR="0" lvl="2"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3pPr>
            <a:lvl4pPr marL="2438339" marR="0" lvl="3"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4pPr>
            <a:lvl5pPr marL="3047924" marR="0" lvl="4"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5pPr>
            <a:lvl6pPr marL="3657509" marR="0" lvl="5"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6pPr>
            <a:lvl7pPr marL="4267093" marR="0" lvl="6"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7pPr>
            <a:lvl8pPr marL="4876678" marR="0" lvl="7"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8pPr>
            <a:lvl9pPr marL="5486263" marR="0" lvl="8"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9pPr>
          </a:lstStyle>
          <a:p>
            <a:pPr lvl="0"/>
            <a:r>
              <a:rPr lang="en-US"/>
              <a:t>Click to edit Master text styles</a:t>
            </a:r>
          </a:p>
        </p:txBody>
      </p:sp>
      <p:sp>
        <p:nvSpPr>
          <p:cNvPr id="206" name="Google Shape;206;p8"/>
          <p:cNvSpPr txBox="1">
            <a:spLocks noGrp="1"/>
          </p:cNvSpPr>
          <p:nvPr>
            <p:ph type="body" idx="3"/>
          </p:nvPr>
        </p:nvSpPr>
        <p:spPr>
          <a:xfrm>
            <a:off x="7883124" y="728341"/>
            <a:ext cx="3521397" cy="5403600"/>
          </a:xfrm>
          <a:prstGeom prst="rect">
            <a:avLst/>
          </a:prstGeom>
          <a:noFill/>
          <a:ln>
            <a:noFill/>
          </a:ln>
        </p:spPr>
        <p:txBody>
          <a:bodyPr spcFirstLastPara="1" wrap="square" lIns="0" tIns="0" rIns="54000" bIns="0" anchor="t" anchorCtr="0">
            <a:noAutofit/>
          </a:bodyPr>
          <a:lstStyle>
            <a:lvl1pPr marL="609585" marR="0" lvl="0" indent="-304792" algn="l">
              <a:lnSpc>
                <a:spcPct val="100000"/>
              </a:lnSpc>
              <a:spcBef>
                <a:spcPts val="0"/>
              </a:spcBef>
              <a:spcAft>
                <a:spcPts val="0"/>
              </a:spcAft>
              <a:buSzPts val="1400"/>
              <a:buFont typeface="Arial"/>
              <a:buNone/>
              <a:defRPr sz="1200" b="0" i="0" u="none" strike="noStrike" cap="none">
                <a:solidFill>
                  <a:schemeClr val="lt1"/>
                </a:solidFill>
                <a:latin typeface="Arial"/>
                <a:ea typeface="Arial"/>
                <a:cs typeface="Arial"/>
                <a:sym typeface="Arial"/>
              </a:defRPr>
            </a:lvl1pPr>
            <a:lvl2pPr marL="1219170" marR="0" lvl="1" indent="-304792" algn="l">
              <a:lnSpc>
                <a:spcPct val="100000"/>
              </a:lnSpc>
              <a:spcBef>
                <a:spcPts val="0"/>
              </a:spcBef>
              <a:spcAft>
                <a:spcPts val="0"/>
              </a:spcAft>
              <a:buSzPts val="1400"/>
              <a:buFont typeface="Arial"/>
              <a:buNone/>
              <a:defRPr sz="1200" b="0" i="0" u="none" strike="noStrike" cap="none">
                <a:latin typeface="Arial"/>
                <a:ea typeface="Arial"/>
                <a:cs typeface="Arial"/>
                <a:sym typeface="Arial"/>
              </a:defRPr>
            </a:lvl2pPr>
            <a:lvl3pPr marL="1828754" marR="0" lvl="2" indent="-304792" algn="l">
              <a:lnSpc>
                <a:spcPct val="100000"/>
              </a:lnSpc>
              <a:spcBef>
                <a:spcPts val="0"/>
              </a:spcBef>
              <a:spcAft>
                <a:spcPts val="0"/>
              </a:spcAft>
              <a:buSzPts val="1400"/>
              <a:buFont typeface="Arial"/>
              <a:buNone/>
              <a:defRPr sz="1200" b="0" i="0" u="none" strike="noStrike" cap="none">
                <a:latin typeface="Arial"/>
                <a:ea typeface="Arial"/>
                <a:cs typeface="Arial"/>
                <a:sym typeface="Arial"/>
              </a:defRPr>
            </a:lvl3pPr>
            <a:lvl4pPr marL="2438339" marR="0" lvl="3" indent="-304792" algn="l">
              <a:lnSpc>
                <a:spcPct val="100000"/>
              </a:lnSpc>
              <a:spcBef>
                <a:spcPts val="0"/>
              </a:spcBef>
              <a:spcAft>
                <a:spcPts val="0"/>
              </a:spcAft>
              <a:buSzPts val="1400"/>
              <a:buFont typeface="Arial"/>
              <a:buNone/>
              <a:defRPr sz="1200" b="0" i="0" u="none" strike="noStrike" cap="none">
                <a:latin typeface="Arial"/>
                <a:ea typeface="Arial"/>
                <a:cs typeface="Arial"/>
                <a:sym typeface="Arial"/>
              </a:defRPr>
            </a:lvl4pPr>
            <a:lvl5pPr marL="3047924" marR="0" lvl="4" indent="-304792" algn="l">
              <a:lnSpc>
                <a:spcPct val="100000"/>
              </a:lnSpc>
              <a:spcBef>
                <a:spcPts val="0"/>
              </a:spcBef>
              <a:spcAft>
                <a:spcPts val="0"/>
              </a:spcAft>
              <a:buSzPts val="1400"/>
              <a:buFont typeface="Arial"/>
              <a:buNone/>
              <a:defRPr sz="1200" b="0" i="0" u="none" strike="noStrike" cap="none">
                <a:latin typeface="Arial"/>
                <a:ea typeface="Arial"/>
                <a:cs typeface="Arial"/>
                <a:sym typeface="Arial"/>
              </a:defRPr>
            </a:lvl5pPr>
            <a:lvl6pPr marL="3657509" marR="0" lvl="5" indent="-304792" algn="l">
              <a:lnSpc>
                <a:spcPct val="100000"/>
              </a:lnSpc>
              <a:spcBef>
                <a:spcPts val="0"/>
              </a:spcBef>
              <a:spcAft>
                <a:spcPts val="0"/>
              </a:spcAft>
              <a:buSzPts val="1400"/>
              <a:buFont typeface="Arial"/>
              <a:buNone/>
              <a:defRPr sz="1867" b="0" i="0" u="none" strike="noStrike" cap="none">
                <a:latin typeface="Arial"/>
                <a:ea typeface="Arial"/>
                <a:cs typeface="Arial"/>
                <a:sym typeface="Arial"/>
              </a:defRPr>
            </a:lvl6pPr>
            <a:lvl7pPr marL="4267093" marR="0" lvl="6" indent="-304792" algn="l">
              <a:lnSpc>
                <a:spcPct val="100000"/>
              </a:lnSpc>
              <a:spcBef>
                <a:spcPts val="0"/>
              </a:spcBef>
              <a:spcAft>
                <a:spcPts val="0"/>
              </a:spcAft>
              <a:buSzPts val="1400"/>
              <a:buFont typeface="Arial"/>
              <a:buNone/>
              <a:defRPr sz="1867" b="0" i="0" u="none" strike="noStrike" cap="none">
                <a:latin typeface="Arial"/>
                <a:ea typeface="Arial"/>
                <a:cs typeface="Arial"/>
                <a:sym typeface="Arial"/>
              </a:defRPr>
            </a:lvl7pPr>
            <a:lvl8pPr marL="4876678" marR="0" lvl="7" indent="-304792" algn="l">
              <a:lnSpc>
                <a:spcPct val="100000"/>
              </a:lnSpc>
              <a:spcBef>
                <a:spcPts val="0"/>
              </a:spcBef>
              <a:spcAft>
                <a:spcPts val="0"/>
              </a:spcAft>
              <a:buSzPts val="1400"/>
              <a:buFont typeface="Arial"/>
              <a:buNone/>
              <a:defRPr sz="1867" b="0" i="0" u="none" strike="noStrike" cap="none">
                <a:latin typeface="Arial"/>
                <a:ea typeface="Arial"/>
                <a:cs typeface="Arial"/>
                <a:sym typeface="Arial"/>
              </a:defRPr>
            </a:lvl8pPr>
            <a:lvl9pPr marL="5486263" marR="0" lvl="8" indent="-304792" algn="l">
              <a:lnSpc>
                <a:spcPct val="100000"/>
              </a:lnSpc>
              <a:spcBef>
                <a:spcPts val="0"/>
              </a:spcBef>
              <a:spcAft>
                <a:spcPts val="0"/>
              </a:spcAft>
              <a:buSzPts val="1400"/>
              <a:buFont typeface="Arial"/>
              <a:buNone/>
              <a:defRPr sz="1867" b="0" i="0" u="none" strike="noStrike" cap="none">
                <a:latin typeface="Arial"/>
                <a:ea typeface="Arial"/>
                <a:cs typeface="Arial"/>
                <a:sym typeface="Arial"/>
              </a:defRPr>
            </a:lvl9pPr>
          </a:lstStyle>
          <a:p>
            <a:pPr lvl="0"/>
            <a:r>
              <a:rPr lang="en-US"/>
              <a:t>Click to edit Master text styles</a:t>
            </a:r>
          </a:p>
        </p:txBody>
      </p:sp>
      <p:pic>
        <p:nvPicPr>
          <p:cNvPr id="12" name="Google Shape;95;p45">
            <a:extLst>
              <a:ext uri="{FF2B5EF4-FFF2-40B4-BE49-F238E27FC236}">
                <a16:creationId xmlns:a16="http://schemas.microsoft.com/office/drawing/2014/main" id="{E7BCB43C-ED62-734B-9EA0-B8DC2B7F5C0A}"/>
              </a:ext>
            </a:extLst>
          </p:cNvPr>
          <p:cNvPicPr preferRelativeResize="0"/>
          <p:nvPr/>
        </p:nvPicPr>
        <p:blipFill>
          <a:blip r:embed="rId2"/>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33436621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inhoud 2"/>
          <p:cNvSpPr>
            <a:spLocks noGrp="1"/>
          </p:cNvSpPr>
          <p:nvPr>
            <p:ph idx="1" hasCustomPrompt="1"/>
          </p:nvPr>
        </p:nvSpPr>
        <p:spPr>
          <a:xfrm>
            <a:off x="6096000" y="1623061"/>
            <a:ext cx="5486400" cy="452596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198966" y="6400801"/>
            <a:ext cx="917701" cy="276224"/>
          </a:xfrm>
        </p:spPr>
        <p:txBody>
          <a:bodyPr/>
          <a:lstStyle/>
          <a:p>
            <a:fld id="{A5BF5FAA-1273-48C9-A418-A52A86AE5014}"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Picture Placeholder 8">
            <a:extLst>
              <a:ext uri="{FF2B5EF4-FFF2-40B4-BE49-F238E27FC236}">
                <a16:creationId xmlns:a16="http://schemas.microsoft.com/office/drawing/2014/main" id="{BB3D6B10-2C43-486B-952D-3902C8CB09A2}"/>
              </a:ext>
            </a:extLst>
          </p:cNvPr>
          <p:cNvSpPr>
            <a:spLocks noGrp="1"/>
          </p:cNvSpPr>
          <p:nvPr>
            <p:ph type="pic" sz="quarter" idx="13"/>
          </p:nvPr>
        </p:nvSpPr>
        <p:spPr>
          <a:xfrm>
            <a:off x="609600" y="1622426"/>
            <a:ext cx="5486400" cy="4525963"/>
          </a:xfrm>
        </p:spPr>
        <p:txBody>
          <a:bodyPr/>
          <a:lstStyle/>
          <a:p>
            <a:r>
              <a:rPr lang="en-US"/>
              <a:t>Click icon to add picture</a:t>
            </a:r>
            <a:endParaRPr lang="fr-BE" dirty="0"/>
          </a:p>
        </p:txBody>
      </p:sp>
    </p:spTree>
    <p:extLst>
      <p:ext uri="{BB962C8B-B14F-4D97-AF65-F5344CB8AC3E}">
        <p14:creationId xmlns:p14="http://schemas.microsoft.com/office/powerpoint/2010/main" val="10318844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Slide_3bis">
  <p:cSld name="Slide_3bis">
    <p:bg>
      <p:bgPr>
        <a:solidFill>
          <a:schemeClr val="dk1"/>
        </a:solidFill>
        <a:effectLst/>
      </p:bgPr>
    </p:bg>
    <p:spTree>
      <p:nvGrpSpPr>
        <p:cNvPr id="1" name="Shape 207"/>
        <p:cNvGrpSpPr/>
        <p:nvPr/>
      </p:nvGrpSpPr>
      <p:grpSpPr>
        <a:xfrm>
          <a:off x="0" y="0"/>
          <a:ext cx="0" cy="0"/>
          <a:chOff x="0" y="0"/>
          <a:chExt cx="0" cy="0"/>
        </a:xfrm>
      </p:grpSpPr>
      <p:sp>
        <p:nvSpPr>
          <p:cNvPr id="208" name="Google Shape;208;p24"/>
          <p:cNvSpPr/>
          <p:nvPr/>
        </p:nvSpPr>
        <p:spPr>
          <a:xfrm rot="-430255">
            <a:off x="-2880316" y="3494706"/>
            <a:ext cx="9164483" cy="9168501"/>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209" name="Google Shape;209;p24"/>
          <p:cNvCxnSpPr/>
          <p:nvPr/>
        </p:nvCxnSpPr>
        <p:spPr>
          <a:xfrm flipH="1">
            <a:off x="3386067" y="2758100"/>
            <a:ext cx="1892400" cy="1803600"/>
          </a:xfrm>
          <a:prstGeom prst="straightConnector1">
            <a:avLst/>
          </a:prstGeom>
          <a:noFill/>
          <a:ln w="9525" cap="flat" cmpd="sng">
            <a:solidFill>
              <a:schemeClr val="accent1"/>
            </a:solidFill>
            <a:prstDash val="solid"/>
            <a:round/>
            <a:headEnd type="none" w="sm" len="sm"/>
            <a:tailEnd type="none" w="sm" len="sm"/>
          </a:ln>
        </p:spPr>
      </p:cxnSp>
      <p:sp>
        <p:nvSpPr>
          <p:cNvPr id="210" name="Google Shape;210;p24"/>
          <p:cNvSpPr/>
          <p:nvPr/>
        </p:nvSpPr>
        <p:spPr>
          <a:xfrm>
            <a:off x="3732000" y="3877300"/>
            <a:ext cx="377200" cy="377200"/>
          </a:xfrm>
          <a:prstGeom prst="ellipse">
            <a:avLst/>
          </a:prstGeom>
          <a:solidFill>
            <a:schemeClr val="dk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211" name="Google Shape;211;p24"/>
          <p:cNvSpPr txBox="1">
            <a:spLocks noGrp="1"/>
          </p:cNvSpPr>
          <p:nvPr>
            <p:ph type="title"/>
          </p:nvPr>
        </p:nvSpPr>
        <p:spPr>
          <a:xfrm>
            <a:off x="811418" y="728340"/>
            <a:ext cx="3497460" cy="5404159"/>
          </a:xfrm>
          <a:prstGeom prst="rect">
            <a:avLst/>
          </a:prstGeom>
          <a:noFill/>
          <a:ln>
            <a:noFill/>
          </a:ln>
        </p:spPr>
        <p:txBody>
          <a:bodyPr spcFirstLastPara="1" wrap="square" lIns="0" tIns="0" rIns="54000" bIns="0" anchor="t" anchorCtr="0">
            <a:noAutofit/>
          </a:bodyPr>
          <a:lstStyle>
            <a:lvl1pPr marR="0" lvl="0" algn="l" rtl="0">
              <a:lnSpc>
                <a:spcPct val="100000"/>
              </a:lnSpc>
              <a:spcBef>
                <a:spcPts val="0"/>
              </a:spcBef>
              <a:spcAft>
                <a:spcPts val="0"/>
              </a:spcAft>
              <a:buClr>
                <a:schemeClr val="lt2"/>
              </a:buClr>
              <a:buSzPts val="1800"/>
              <a:buFont typeface="Arial"/>
              <a:buNone/>
              <a:defRPr sz="2400" b="1" i="0" u="none" strike="noStrike" cap="none">
                <a:solidFill>
                  <a:schemeClr val="lt2"/>
                </a:solidFill>
                <a:latin typeface="Arial"/>
                <a:ea typeface="Arial"/>
                <a:cs typeface="Arial"/>
                <a:sym typeface="Arial"/>
              </a:defRPr>
            </a:lvl1pPr>
            <a:lvl2pPr marR="0" lvl="1" algn="l" rtl="0">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2pPr>
            <a:lvl3pPr marR="0" lvl="2" algn="l" rtl="0">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3pPr>
            <a:lvl4pPr marR="0" lvl="3" algn="l" rtl="0">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4pPr>
            <a:lvl5pPr marR="0" lvl="4" algn="l" rtl="0">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5pPr>
            <a:lvl6pPr marR="0" lvl="5" algn="l" rtl="0">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6pPr>
            <a:lvl7pPr marR="0" lvl="6" algn="l" rtl="0">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7pPr>
            <a:lvl8pPr marR="0" lvl="7" algn="l" rtl="0">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8pPr>
            <a:lvl9pPr marR="0" lvl="8" algn="l" rtl="0">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9pPr>
          </a:lstStyle>
          <a:p>
            <a:r>
              <a:rPr lang="en-US"/>
              <a:t>Click to edit Master title style</a:t>
            </a:r>
            <a:endParaRPr/>
          </a:p>
        </p:txBody>
      </p:sp>
      <p:sp>
        <p:nvSpPr>
          <p:cNvPr id="212" name="Google Shape;212;p24"/>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FFFFFF"/>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FFFFFF"/>
              </a:solidFill>
              <a:latin typeface="Arial"/>
              <a:ea typeface="Arial"/>
              <a:cs typeface="Arial"/>
              <a:sym typeface="Arial"/>
            </a:endParaRPr>
          </a:p>
        </p:txBody>
      </p:sp>
      <p:sp>
        <p:nvSpPr>
          <p:cNvPr id="213" name="Google Shape;213;p24"/>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FFFFFF"/>
                </a:solidFill>
                <a:latin typeface="Arial"/>
                <a:ea typeface="Arial"/>
                <a:cs typeface="Arial"/>
                <a:sym typeface="Arial"/>
              </a:rPr>
              <a:t>confidential</a:t>
            </a:r>
            <a:endParaRPr sz="1067" b="0" i="0" u="none" strike="noStrike" cap="none">
              <a:solidFill>
                <a:srgbClr val="FFFFFF"/>
              </a:solidFill>
              <a:latin typeface="Arial"/>
              <a:ea typeface="Arial"/>
              <a:cs typeface="Arial"/>
              <a:sym typeface="Arial"/>
            </a:endParaRPr>
          </a:p>
        </p:txBody>
      </p:sp>
      <p:sp>
        <p:nvSpPr>
          <p:cNvPr id="215" name="Google Shape;215;p24"/>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lt2"/>
              </a:buClr>
              <a:buSzPts val="800"/>
              <a:buFont typeface="Arial"/>
              <a:buNone/>
              <a:defRPr sz="1067" b="0" i="0" u="none" strike="noStrike" cap="none">
                <a:solidFill>
                  <a:schemeClr val="lt2"/>
                </a:solidFill>
                <a:latin typeface="Arial"/>
                <a:ea typeface="Arial"/>
                <a:cs typeface="Arial"/>
                <a:sym typeface="Arial"/>
              </a:defRPr>
            </a:lvl1pPr>
            <a:lvl2pPr marL="1219170" marR="0" lvl="1" indent="-372524" algn="r">
              <a:lnSpc>
                <a:spcPct val="100000"/>
              </a:lnSpc>
              <a:spcBef>
                <a:spcPts val="0"/>
              </a:spcBef>
              <a:spcAft>
                <a:spcPts val="0"/>
              </a:spcAft>
              <a:buClr>
                <a:schemeClr val="lt2"/>
              </a:buClr>
              <a:buSzPts val="800"/>
              <a:buFont typeface="Arial"/>
              <a:buChar char="○"/>
              <a:defRPr sz="1067" b="0" i="0" u="none" strike="noStrike" cap="none">
                <a:solidFill>
                  <a:schemeClr val="lt2"/>
                </a:solidFill>
                <a:latin typeface="Arial"/>
                <a:ea typeface="Arial"/>
                <a:cs typeface="Arial"/>
                <a:sym typeface="Arial"/>
              </a:defRPr>
            </a:lvl2pPr>
            <a:lvl3pPr marL="1828754" marR="0" lvl="2" indent="-372524" algn="r">
              <a:lnSpc>
                <a:spcPct val="100000"/>
              </a:lnSpc>
              <a:spcBef>
                <a:spcPts val="0"/>
              </a:spcBef>
              <a:spcAft>
                <a:spcPts val="0"/>
              </a:spcAft>
              <a:buClr>
                <a:schemeClr val="lt2"/>
              </a:buClr>
              <a:buSzPts val="800"/>
              <a:buFont typeface="Arial"/>
              <a:buChar char="■"/>
              <a:defRPr sz="1067" b="0" i="0" u="none" strike="noStrike" cap="none">
                <a:solidFill>
                  <a:schemeClr val="lt2"/>
                </a:solidFill>
                <a:latin typeface="Arial"/>
                <a:ea typeface="Arial"/>
                <a:cs typeface="Arial"/>
                <a:sym typeface="Arial"/>
              </a:defRPr>
            </a:lvl3pPr>
            <a:lvl4pPr marL="2438339" marR="0" lvl="3" indent="-372524" algn="r">
              <a:lnSpc>
                <a:spcPct val="100000"/>
              </a:lnSpc>
              <a:spcBef>
                <a:spcPts val="0"/>
              </a:spcBef>
              <a:spcAft>
                <a:spcPts val="0"/>
              </a:spcAft>
              <a:buClr>
                <a:schemeClr val="lt2"/>
              </a:buClr>
              <a:buSzPts val="800"/>
              <a:buFont typeface="Arial"/>
              <a:buChar char="●"/>
              <a:defRPr sz="1067" b="0" i="0" u="none" strike="noStrike" cap="none">
                <a:solidFill>
                  <a:schemeClr val="lt2"/>
                </a:solidFill>
                <a:latin typeface="Arial"/>
                <a:ea typeface="Arial"/>
                <a:cs typeface="Arial"/>
                <a:sym typeface="Arial"/>
              </a:defRPr>
            </a:lvl4pPr>
            <a:lvl5pPr marL="3047924" marR="0" lvl="4" indent="-372524" algn="r">
              <a:lnSpc>
                <a:spcPct val="100000"/>
              </a:lnSpc>
              <a:spcBef>
                <a:spcPts val="0"/>
              </a:spcBef>
              <a:spcAft>
                <a:spcPts val="0"/>
              </a:spcAft>
              <a:buClr>
                <a:schemeClr val="lt2"/>
              </a:buClr>
              <a:buSzPts val="800"/>
              <a:buFont typeface="Arial"/>
              <a:buChar char="○"/>
              <a:defRPr sz="1067" b="0" i="0" u="none" strike="noStrike" cap="none">
                <a:solidFill>
                  <a:schemeClr val="lt2"/>
                </a:solidFill>
                <a:latin typeface="Arial"/>
                <a:ea typeface="Arial"/>
                <a:cs typeface="Arial"/>
                <a:sym typeface="Arial"/>
              </a:defRPr>
            </a:lvl5pPr>
            <a:lvl6pPr marL="3657509" marR="0" lvl="5" indent="-372524" algn="r">
              <a:lnSpc>
                <a:spcPct val="100000"/>
              </a:lnSpc>
              <a:spcBef>
                <a:spcPts val="0"/>
              </a:spcBef>
              <a:spcAft>
                <a:spcPts val="0"/>
              </a:spcAft>
              <a:buClr>
                <a:schemeClr val="lt2"/>
              </a:buClr>
              <a:buSzPts val="800"/>
              <a:buFont typeface="Arial"/>
              <a:buChar char="■"/>
              <a:defRPr sz="1067" b="0" i="0" u="none" strike="noStrike" cap="none">
                <a:solidFill>
                  <a:schemeClr val="lt2"/>
                </a:solidFill>
                <a:latin typeface="Arial"/>
                <a:ea typeface="Arial"/>
                <a:cs typeface="Arial"/>
                <a:sym typeface="Arial"/>
              </a:defRPr>
            </a:lvl6pPr>
            <a:lvl7pPr marL="4267093" marR="0" lvl="6" indent="-372524" algn="r">
              <a:lnSpc>
                <a:spcPct val="100000"/>
              </a:lnSpc>
              <a:spcBef>
                <a:spcPts val="0"/>
              </a:spcBef>
              <a:spcAft>
                <a:spcPts val="0"/>
              </a:spcAft>
              <a:buClr>
                <a:schemeClr val="lt2"/>
              </a:buClr>
              <a:buSzPts val="800"/>
              <a:buFont typeface="Arial"/>
              <a:buChar char="●"/>
              <a:defRPr sz="1067" b="0" i="0" u="none" strike="noStrike" cap="none">
                <a:solidFill>
                  <a:schemeClr val="lt2"/>
                </a:solidFill>
                <a:latin typeface="Arial"/>
                <a:ea typeface="Arial"/>
                <a:cs typeface="Arial"/>
                <a:sym typeface="Arial"/>
              </a:defRPr>
            </a:lvl7pPr>
            <a:lvl8pPr marL="4876678" marR="0" lvl="7" indent="-372524" algn="r">
              <a:lnSpc>
                <a:spcPct val="100000"/>
              </a:lnSpc>
              <a:spcBef>
                <a:spcPts val="0"/>
              </a:spcBef>
              <a:spcAft>
                <a:spcPts val="0"/>
              </a:spcAft>
              <a:buClr>
                <a:schemeClr val="lt2"/>
              </a:buClr>
              <a:buSzPts val="800"/>
              <a:buFont typeface="Arial"/>
              <a:buChar char="○"/>
              <a:defRPr sz="1067" b="0" i="0" u="none" strike="noStrike" cap="none">
                <a:solidFill>
                  <a:schemeClr val="lt2"/>
                </a:solidFill>
                <a:latin typeface="Arial"/>
                <a:ea typeface="Arial"/>
                <a:cs typeface="Arial"/>
                <a:sym typeface="Arial"/>
              </a:defRPr>
            </a:lvl8pPr>
            <a:lvl9pPr marL="5486263" marR="0" lvl="8" indent="-372524" algn="r">
              <a:lnSpc>
                <a:spcPct val="100000"/>
              </a:lnSpc>
              <a:spcBef>
                <a:spcPts val="0"/>
              </a:spcBef>
              <a:spcAft>
                <a:spcPts val="0"/>
              </a:spcAft>
              <a:buClr>
                <a:schemeClr val="lt2"/>
              </a:buClr>
              <a:buSzPts val="800"/>
              <a:buFont typeface="Arial"/>
              <a:buChar char="■"/>
              <a:defRPr sz="1067" b="0" i="0" u="none" strike="noStrike" cap="none">
                <a:solidFill>
                  <a:schemeClr val="lt2"/>
                </a:solidFill>
                <a:latin typeface="Arial"/>
                <a:ea typeface="Arial"/>
                <a:cs typeface="Arial"/>
                <a:sym typeface="Arial"/>
              </a:defRPr>
            </a:lvl9pPr>
          </a:lstStyle>
          <a:p>
            <a:pPr lvl="0"/>
            <a:r>
              <a:rPr lang="en-US"/>
              <a:t>Click to edit Master text styles</a:t>
            </a:r>
          </a:p>
        </p:txBody>
      </p:sp>
      <p:sp>
        <p:nvSpPr>
          <p:cNvPr id="216" name="Google Shape;216;p24"/>
          <p:cNvSpPr txBox="1">
            <a:spLocks noGrp="1"/>
          </p:cNvSpPr>
          <p:nvPr>
            <p:ph type="body" idx="2"/>
          </p:nvPr>
        </p:nvSpPr>
        <p:spPr>
          <a:xfrm>
            <a:off x="4337787" y="728341"/>
            <a:ext cx="3521397" cy="5403600"/>
          </a:xfrm>
          <a:prstGeom prst="rect">
            <a:avLst/>
          </a:prstGeom>
          <a:noFill/>
          <a:ln>
            <a:noFill/>
          </a:ln>
        </p:spPr>
        <p:txBody>
          <a:bodyPr spcFirstLastPara="1" wrap="square" lIns="0" tIns="0" rIns="54000" bIns="0" anchor="t" anchorCtr="0">
            <a:noAutofit/>
          </a:bodyPr>
          <a:lstStyle>
            <a:lvl1pPr marL="609585" marR="0" lvl="0"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1pPr>
            <a:lvl2pPr marL="1219170" marR="0" lvl="1"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2pPr>
            <a:lvl3pPr marL="1828754" marR="0" lvl="2"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3pPr>
            <a:lvl4pPr marL="2438339" marR="0" lvl="3"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4pPr>
            <a:lvl5pPr marL="3047924" marR="0" lvl="4"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5pPr>
            <a:lvl6pPr marL="3657509" marR="0" lvl="5"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6pPr>
            <a:lvl7pPr marL="4267093" marR="0" lvl="6"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7pPr>
            <a:lvl8pPr marL="4876678" marR="0" lvl="7"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8pPr>
            <a:lvl9pPr marL="5486263" marR="0" lvl="8"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9pPr>
          </a:lstStyle>
          <a:p>
            <a:pPr lvl="0"/>
            <a:r>
              <a:rPr lang="en-US"/>
              <a:t>Click to edit Master text styles</a:t>
            </a:r>
          </a:p>
        </p:txBody>
      </p:sp>
      <p:sp>
        <p:nvSpPr>
          <p:cNvPr id="217" name="Google Shape;217;p24"/>
          <p:cNvSpPr txBox="1">
            <a:spLocks noGrp="1"/>
          </p:cNvSpPr>
          <p:nvPr>
            <p:ph type="body" idx="3"/>
          </p:nvPr>
        </p:nvSpPr>
        <p:spPr>
          <a:xfrm>
            <a:off x="7883124" y="728341"/>
            <a:ext cx="3521397" cy="5403600"/>
          </a:xfrm>
          <a:prstGeom prst="rect">
            <a:avLst/>
          </a:prstGeom>
          <a:noFill/>
          <a:ln>
            <a:noFill/>
          </a:ln>
        </p:spPr>
        <p:txBody>
          <a:bodyPr spcFirstLastPara="1" wrap="square" lIns="0" tIns="0" rIns="54000" bIns="0" anchor="t" anchorCtr="0">
            <a:noAutofit/>
          </a:bodyPr>
          <a:lstStyle>
            <a:lvl1pPr marL="609585" marR="0" lvl="0"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1pPr>
            <a:lvl2pPr marL="1219170" marR="0" lvl="1"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2pPr>
            <a:lvl3pPr marL="1828754" marR="0" lvl="2"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3pPr>
            <a:lvl4pPr marL="2438339" marR="0" lvl="3"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4pPr>
            <a:lvl5pPr marL="3047924" marR="0" lvl="4" indent="-304792" algn="l">
              <a:lnSpc>
                <a:spcPct val="100000"/>
              </a:lnSpc>
              <a:spcBef>
                <a:spcPts val="0"/>
              </a:spcBef>
              <a:spcAft>
                <a:spcPts val="0"/>
              </a:spcAft>
              <a:buClr>
                <a:schemeClr val="lt2"/>
              </a:buClr>
              <a:buSzPts val="1400"/>
              <a:buFont typeface="Arial"/>
              <a:buNone/>
              <a:defRPr sz="1200" b="0" i="0" u="none" strike="noStrike" cap="none">
                <a:solidFill>
                  <a:schemeClr val="lt2"/>
                </a:solidFill>
                <a:latin typeface="Arial"/>
                <a:ea typeface="Arial"/>
                <a:cs typeface="Arial"/>
                <a:sym typeface="Arial"/>
              </a:defRPr>
            </a:lvl5pPr>
            <a:lvl6pPr marL="3657509" marR="0" lvl="5"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6pPr>
            <a:lvl7pPr marL="4267093" marR="0" lvl="6"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7pPr>
            <a:lvl8pPr marL="4876678" marR="0" lvl="7"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8pPr>
            <a:lvl9pPr marL="5486263" marR="0" lvl="8" indent="-304792"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9pPr>
          </a:lstStyle>
          <a:p>
            <a:pPr lvl="0"/>
            <a:r>
              <a:rPr lang="en-US"/>
              <a:t>Click to edit Master text styles</a:t>
            </a:r>
          </a:p>
        </p:txBody>
      </p:sp>
      <p:pic>
        <p:nvPicPr>
          <p:cNvPr id="12" name="Google Shape;95;p45">
            <a:extLst>
              <a:ext uri="{FF2B5EF4-FFF2-40B4-BE49-F238E27FC236}">
                <a16:creationId xmlns:a16="http://schemas.microsoft.com/office/drawing/2014/main" id="{3FE2FACF-7831-5347-8511-D8B8744EDFFC}"/>
              </a:ext>
            </a:extLst>
          </p:cNvPr>
          <p:cNvPicPr preferRelativeResize="0"/>
          <p:nvPr/>
        </p:nvPicPr>
        <p:blipFill>
          <a:blip r:embed="rId2"/>
          <a:srcRect/>
          <a:stretch/>
        </p:blipFill>
        <p:spPr>
          <a:xfrm>
            <a:off x="804333" y="6450452"/>
            <a:ext cx="1339315" cy="156579"/>
          </a:xfrm>
          <a:prstGeom prst="rect">
            <a:avLst/>
          </a:prstGeom>
          <a:noFill/>
          <a:ln>
            <a:noFill/>
          </a:ln>
        </p:spPr>
      </p:pic>
    </p:spTree>
    <p:extLst>
      <p:ext uri="{BB962C8B-B14F-4D97-AF65-F5344CB8AC3E}">
        <p14:creationId xmlns:p14="http://schemas.microsoft.com/office/powerpoint/2010/main" val="157090092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Slide_7">
  <p:cSld name="Slide_7">
    <p:bg>
      <p:bgPr>
        <a:solidFill>
          <a:srgbClr val="FFFFFF"/>
        </a:solidFill>
        <a:effectLst/>
      </p:bgPr>
    </p:bg>
    <p:spTree>
      <p:nvGrpSpPr>
        <p:cNvPr id="1" name="Shape 218"/>
        <p:cNvGrpSpPr/>
        <p:nvPr/>
      </p:nvGrpSpPr>
      <p:grpSpPr>
        <a:xfrm>
          <a:off x="0" y="0"/>
          <a:ext cx="0" cy="0"/>
          <a:chOff x="0" y="0"/>
          <a:chExt cx="0" cy="0"/>
        </a:xfrm>
      </p:grpSpPr>
      <p:sp>
        <p:nvSpPr>
          <p:cNvPr id="219" name="Google Shape;219;p14"/>
          <p:cNvSpPr txBox="1">
            <a:spLocks noGrp="1"/>
          </p:cNvSpPr>
          <p:nvPr>
            <p:ph type="title"/>
          </p:nvPr>
        </p:nvSpPr>
        <p:spPr>
          <a:xfrm>
            <a:off x="800100" y="698500"/>
            <a:ext cx="3532000" cy="1232000"/>
          </a:xfrm>
          <a:prstGeom prst="rect">
            <a:avLst/>
          </a:prstGeom>
          <a:noFill/>
          <a:ln>
            <a:noFill/>
          </a:ln>
        </p:spPr>
        <p:txBody>
          <a:bodyPr spcFirstLastPara="1" wrap="square" lIns="0" tIns="0" rIns="91425"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220" name="Google Shape;220;p14"/>
          <p:cNvSpPr txBox="1">
            <a:spLocks noGrp="1"/>
          </p:cNvSpPr>
          <p:nvPr>
            <p:ph type="subTitle" idx="1"/>
          </p:nvPr>
        </p:nvSpPr>
        <p:spPr>
          <a:xfrm>
            <a:off x="800100" y="1930501"/>
            <a:ext cx="3532000" cy="743767"/>
          </a:xfrm>
          <a:prstGeom prst="rect">
            <a:avLst/>
          </a:prstGeom>
          <a:noFill/>
          <a:ln>
            <a:noFill/>
          </a:ln>
        </p:spPr>
        <p:txBody>
          <a:bodyPr spcFirstLastPara="1" wrap="square" lIns="0" tIns="0" rIns="91425"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221" name="Google Shape;221;p14"/>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222" name="Google Shape;222;p14"/>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224" name="Google Shape;224;p14"/>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225" name="Google Shape;225;p14"/>
          <p:cNvSpPr txBox="1">
            <a:spLocks noGrp="1"/>
          </p:cNvSpPr>
          <p:nvPr>
            <p:ph type="body" idx="3"/>
          </p:nvPr>
        </p:nvSpPr>
        <p:spPr>
          <a:xfrm>
            <a:off x="4332099" y="1930500"/>
            <a:ext cx="3389500" cy="4201648"/>
          </a:xfrm>
          <a:prstGeom prst="rect">
            <a:avLst/>
          </a:prstGeom>
          <a:noFill/>
          <a:ln w="76200" cap="flat" cmpd="sng">
            <a:solidFill>
              <a:srgbClr val="E1E1E1"/>
            </a:solidFill>
            <a:prstDash val="solid"/>
            <a:round/>
            <a:headEnd type="none" w="sm" len="sm"/>
            <a:tailEnd type="none" w="sm" len="sm"/>
          </a:ln>
        </p:spPr>
        <p:txBody>
          <a:bodyPr spcFirstLastPara="1" wrap="square" lIns="54000" tIns="45700" rIns="54000" bIns="45700" anchor="t" anchorCtr="0">
            <a:noAutofit/>
          </a:bodyPr>
          <a:lstStyle>
            <a:lvl1pPr marL="609585" marR="0" lvl="0" indent="-304792" algn="l">
              <a:lnSpc>
                <a:spcPct val="100000"/>
              </a:lnSpc>
              <a:spcBef>
                <a:spcPts val="80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26" name="Google Shape;226;p14"/>
          <p:cNvSpPr txBox="1">
            <a:spLocks noGrp="1"/>
          </p:cNvSpPr>
          <p:nvPr>
            <p:ph type="body" idx="4"/>
          </p:nvPr>
        </p:nvSpPr>
        <p:spPr>
          <a:xfrm>
            <a:off x="8029146" y="1930499"/>
            <a:ext cx="3358521" cy="4201647"/>
          </a:xfrm>
          <a:prstGeom prst="rect">
            <a:avLst/>
          </a:prstGeom>
          <a:noFill/>
          <a:ln w="76200" cap="flat" cmpd="sng">
            <a:solidFill>
              <a:srgbClr val="E1E1E1"/>
            </a:solidFill>
            <a:prstDash val="solid"/>
            <a:round/>
            <a:headEnd type="none" w="sm" len="sm"/>
            <a:tailEnd type="none" w="sm" len="sm"/>
          </a:ln>
        </p:spPr>
        <p:txBody>
          <a:bodyPr spcFirstLastPara="1" wrap="square" lIns="54000" tIns="45700" rIns="54000" bIns="45700" anchor="t" anchorCtr="0">
            <a:noAutofit/>
          </a:bodyPr>
          <a:lstStyle>
            <a:lvl1pPr marL="609585" marR="0" lvl="0" indent="-304792" algn="l">
              <a:lnSpc>
                <a:spcPct val="100000"/>
              </a:lnSpc>
              <a:spcBef>
                <a:spcPts val="80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27" name="Google Shape;227;p14"/>
          <p:cNvSpPr txBox="1">
            <a:spLocks noGrp="1"/>
          </p:cNvSpPr>
          <p:nvPr>
            <p:ph type="body" idx="5"/>
          </p:nvPr>
        </p:nvSpPr>
        <p:spPr>
          <a:xfrm>
            <a:off x="4345548" y="738343"/>
            <a:ext cx="3376051" cy="1192156"/>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28" name="Google Shape;228;p14"/>
          <p:cNvSpPr txBox="1">
            <a:spLocks noGrp="1"/>
          </p:cNvSpPr>
          <p:nvPr>
            <p:ph type="body" idx="6"/>
          </p:nvPr>
        </p:nvSpPr>
        <p:spPr>
          <a:xfrm>
            <a:off x="8026779" y="738343"/>
            <a:ext cx="3376052" cy="1192156"/>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29" name="Google Shape;229;p14"/>
          <p:cNvSpPr txBox="1">
            <a:spLocks noGrp="1"/>
          </p:cNvSpPr>
          <p:nvPr>
            <p:ph type="body" idx="7"/>
          </p:nvPr>
        </p:nvSpPr>
        <p:spPr>
          <a:xfrm>
            <a:off x="800100" y="2674148"/>
            <a:ext cx="3532000" cy="3458000"/>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13" name="Google Shape;95;p45">
            <a:extLst>
              <a:ext uri="{FF2B5EF4-FFF2-40B4-BE49-F238E27FC236}">
                <a16:creationId xmlns:a16="http://schemas.microsoft.com/office/drawing/2014/main" id="{533F2605-F77B-AB44-9199-D0CD201E2B9F}"/>
              </a:ext>
            </a:extLst>
          </p:cNvPr>
          <p:cNvPicPr preferRelativeResize="0"/>
          <p:nvPr/>
        </p:nvPicPr>
        <p:blipFill>
          <a:blip r:embed="rId2"/>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63313661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Slide_11bis">
  <p:cSld name="Slide_11bis">
    <p:bg>
      <p:bgPr>
        <a:solidFill>
          <a:srgbClr val="FFFFFF"/>
        </a:solidFill>
        <a:effectLst/>
      </p:bgPr>
    </p:bg>
    <p:spTree>
      <p:nvGrpSpPr>
        <p:cNvPr id="1" name="Shape 230"/>
        <p:cNvGrpSpPr/>
        <p:nvPr/>
      </p:nvGrpSpPr>
      <p:grpSpPr>
        <a:xfrm>
          <a:off x="0" y="0"/>
          <a:ext cx="0" cy="0"/>
          <a:chOff x="0" y="0"/>
          <a:chExt cx="0" cy="0"/>
        </a:xfrm>
      </p:grpSpPr>
      <p:pic>
        <p:nvPicPr>
          <p:cNvPr id="231" name="Google Shape;231;p15"/>
          <p:cNvPicPr preferRelativeResize="0"/>
          <p:nvPr/>
        </p:nvPicPr>
        <p:blipFill rotWithShape="1">
          <a:blip r:embed="rId2">
            <a:alphaModFix/>
          </a:blip>
          <a:srcRect/>
          <a:stretch/>
        </p:blipFill>
        <p:spPr>
          <a:xfrm>
            <a:off x="-1428800" y="2844349"/>
            <a:ext cx="2560501" cy="2709799"/>
          </a:xfrm>
          <a:prstGeom prst="rect">
            <a:avLst/>
          </a:prstGeom>
          <a:noFill/>
          <a:ln>
            <a:noFill/>
          </a:ln>
        </p:spPr>
      </p:pic>
      <p:sp>
        <p:nvSpPr>
          <p:cNvPr id="232" name="Google Shape;232;p15"/>
          <p:cNvSpPr/>
          <p:nvPr/>
        </p:nvSpPr>
        <p:spPr>
          <a:xfrm rot="-430255">
            <a:off x="6920717" y="-7680077"/>
            <a:ext cx="9164483" cy="9168501"/>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sp>
        <p:nvSpPr>
          <p:cNvPr id="233" name="Google Shape;233;p15"/>
          <p:cNvSpPr txBox="1">
            <a:spLocks noGrp="1"/>
          </p:cNvSpPr>
          <p:nvPr>
            <p:ph type="title"/>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234" name="Google Shape;234;p15"/>
          <p:cNvSpPr txBox="1">
            <a:spLocks noGrp="1"/>
          </p:cNvSpPr>
          <p:nvPr>
            <p:ph type="subTitle" idx="1"/>
          </p:nvPr>
        </p:nvSpPr>
        <p:spPr>
          <a:xfrm>
            <a:off x="804333" y="1553300"/>
            <a:ext cx="10585267" cy="6860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235" name="Google Shape;235;p15"/>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236" name="Google Shape;236;p15"/>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238" name="Google Shape;238;p15"/>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239" name="Google Shape;239;p15"/>
          <p:cNvSpPr txBox="1">
            <a:spLocks noGrp="1"/>
          </p:cNvSpPr>
          <p:nvPr>
            <p:ph type="body" idx="3"/>
          </p:nvPr>
        </p:nvSpPr>
        <p:spPr>
          <a:xfrm>
            <a:off x="804333" y="3526051"/>
            <a:ext cx="3527767" cy="2606000"/>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40" name="Google Shape;240;p15"/>
          <p:cNvSpPr txBox="1">
            <a:spLocks noGrp="1"/>
          </p:cNvSpPr>
          <p:nvPr>
            <p:ph type="body" idx="4"/>
          </p:nvPr>
        </p:nvSpPr>
        <p:spPr>
          <a:xfrm>
            <a:off x="804333" y="2475335"/>
            <a:ext cx="3527767" cy="365200"/>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467" b="1"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41" name="Google Shape;241;p15"/>
          <p:cNvSpPr txBox="1">
            <a:spLocks noGrp="1"/>
          </p:cNvSpPr>
          <p:nvPr>
            <p:ph type="body" idx="5"/>
          </p:nvPr>
        </p:nvSpPr>
        <p:spPr>
          <a:xfrm>
            <a:off x="804333" y="2908108"/>
            <a:ext cx="3527767" cy="365200"/>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333" b="0" i="1"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42" name="Google Shape;242;p15"/>
          <p:cNvSpPr txBox="1">
            <a:spLocks noGrp="1"/>
          </p:cNvSpPr>
          <p:nvPr>
            <p:ph type="body" idx="6"/>
          </p:nvPr>
        </p:nvSpPr>
        <p:spPr>
          <a:xfrm>
            <a:off x="4335553" y="3526052"/>
            <a:ext cx="3527767" cy="2606000"/>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43" name="Google Shape;243;p15"/>
          <p:cNvSpPr txBox="1">
            <a:spLocks noGrp="1"/>
          </p:cNvSpPr>
          <p:nvPr>
            <p:ph type="body" idx="7"/>
          </p:nvPr>
        </p:nvSpPr>
        <p:spPr>
          <a:xfrm>
            <a:off x="4335553" y="2475336"/>
            <a:ext cx="3527767" cy="365200"/>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467" b="1"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44" name="Google Shape;244;p15"/>
          <p:cNvSpPr txBox="1">
            <a:spLocks noGrp="1"/>
          </p:cNvSpPr>
          <p:nvPr>
            <p:ph type="body" idx="8"/>
          </p:nvPr>
        </p:nvSpPr>
        <p:spPr>
          <a:xfrm>
            <a:off x="4335553" y="2908109"/>
            <a:ext cx="3527767" cy="365200"/>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333" b="0" i="1"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45" name="Google Shape;245;p15"/>
          <p:cNvSpPr txBox="1">
            <a:spLocks noGrp="1"/>
          </p:cNvSpPr>
          <p:nvPr>
            <p:ph type="body" idx="9"/>
          </p:nvPr>
        </p:nvSpPr>
        <p:spPr>
          <a:xfrm>
            <a:off x="7866773" y="3526052"/>
            <a:ext cx="3527767" cy="2606000"/>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46" name="Google Shape;246;p15"/>
          <p:cNvSpPr txBox="1">
            <a:spLocks noGrp="1"/>
          </p:cNvSpPr>
          <p:nvPr>
            <p:ph type="body" idx="13"/>
          </p:nvPr>
        </p:nvSpPr>
        <p:spPr>
          <a:xfrm>
            <a:off x="7866773" y="2475336"/>
            <a:ext cx="3527767" cy="365200"/>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467" b="1"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47" name="Google Shape;247;p15"/>
          <p:cNvSpPr txBox="1">
            <a:spLocks noGrp="1"/>
          </p:cNvSpPr>
          <p:nvPr>
            <p:ph type="body" idx="14"/>
          </p:nvPr>
        </p:nvSpPr>
        <p:spPr>
          <a:xfrm>
            <a:off x="7866773" y="2908109"/>
            <a:ext cx="3527767" cy="365200"/>
          </a:xfrm>
          <a:prstGeom prst="rect">
            <a:avLst/>
          </a:prstGeom>
          <a:noFill/>
          <a:ln>
            <a:noFill/>
          </a:ln>
        </p:spPr>
        <p:txBody>
          <a:bodyPr spcFirstLastPara="1" wrap="square" lIns="0" tIns="0" rIns="91425"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333" b="0" i="1"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19" name="Google Shape;95;p45">
            <a:extLst>
              <a:ext uri="{FF2B5EF4-FFF2-40B4-BE49-F238E27FC236}">
                <a16:creationId xmlns:a16="http://schemas.microsoft.com/office/drawing/2014/main" id="{B31AE5F6-69DE-8F41-AD5A-919EB53F7497}"/>
              </a:ext>
            </a:extLst>
          </p:cNvPr>
          <p:cNvPicPr preferRelativeResize="0"/>
          <p:nvPr/>
        </p:nvPicPr>
        <p:blipFill>
          <a:blip r:embed="rId3"/>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389468752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Slide_12">
  <p:cSld name="Slide_12">
    <p:bg>
      <p:bgPr>
        <a:solidFill>
          <a:srgbClr val="FFFFFF"/>
        </a:solidFill>
        <a:effectLst/>
      </p:bgPr>
    </p:bg>
    <p:spTree>
      <p:nvGrpSpPr>
        <p:cNvPr id="1" name="Shape 248"/>
        <p:cNvGrpSpPr/>
        <p:nvPr/>
      </p:nvGrpSpPr>
      <p:grpSpPr>
        <a:xfrm>
          <a:off x="0" y="0"/>
          <a:ext cx="0" cy="0"/>
          <a:chOff x="0" y="0"/>
          <a:chExt cx="0" cy="0"/>
        </a:xfrm>
      </p:grpSpPr>
      <p:sp>
        <p:nvSpPr>
          <p:cNvPr id="249" name="Google Shape;249;p16"/>
          <p:cNvSpPr txBox="1">
            <a:spLocks noGrp="1"/>
          </p:cNvSpPr>
          <p:nvPr>
            <p:ph type="body" idx="1"/>
          </p:nvPr>
        </p:nvSpPr>
        <p:spPr>
          <a:xfrm>
            <a:off x="7871959" y="722800"/>
            <a:ext cx="3527900" cy="5412400"/>
          </a:xfrm>
          <a:prstGeom prst="rect">
            <a:avLst/>
          </a:prstGeom>
          <a:solidFill>
            <a:schemeClr val="accent5"/>
          </a:solidFill>
          <a:ln>
            <a:noFill/>
          </a:ln>
        </p:spPr>
        <p:txBody>
          <a:bodyPr spcFirstLastPara="1" wrap="square" lIns="54000" tIns="45700" rIns="54000" bIns="45700" anchor="ctr" anchorCtr="0">
            <a:noAutofit/>
          </a:bodyPr>
          <a:lstStyle>
            <a:lvl1pPr marL="609585" marR="0" lvl="0" indent="-304792" algn="ctr">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50" name="Google Shape;250;p16"/>
          <p:cNvSpPr txBox="1">
            <a:spLocks noGrp="1"/>
          </p:cNvSpPr>
          <p:nvPr>
            <p:ph type="body" idx="2"/>
          </p:nvPr>
        </p:nvSpPr>
        <p:spPr>
          <a:xfrm>
            <a:off x="804333" y="719667"/>
            <a:ext cx="3527900" cy="5412400"/>
          </a:xfrm>
          <a:prstGeom prst="rect">
            <a:avLst/>
          </a:prstGeom>
          <a:solidFill>
            <a:schemeClr val="accent5"/>
          </a:solidFill>
          <a:ln>
            <a:noFill/>
          </a:ln>
        </p:spPr>
        <p:txBody>
          <a:bodyPr spcFirstLastPara="1" wrap="square" lIns="54000" tIns="45700" rIns="54000" bIns="45700" anchor="ctr" anchorCtr="0">
            <a:noAutofit/>
          </a:bodyPr>
          <a:lstStyle>
            <a:lvl1pPr marL="609585" marR="0" lvl="0" indent="-304792" algn="ctr">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51" name="Google Shape;251;p16"/>
          <p:cNvSpPr txBox="1">
            <a:spLocks noGrp="1"/>
          </p:cNvSpPr>
          <p:nvPr>
            <p:ph type="body" idx="3"/>
          </p:nvPr>
        </p:nvSpPr>
        <p:spPr>
          <a:xfrm>
            <a:off x="4331285" y="722800"/>
            <a:ext cx="3527900" cy="5412400"/>
          </a:xfrm>
          <a:prstGeom prst="rect">
            <a:avLst/>
          </a:prstGeom>
          <a:solidFill>
            <a:schemeClr val="lt2"/>
          </a:solidFill>
          <a:ln>
            <a:noFill/>
          </a:ln>
        </p:spPr>
        <p:txBody>
          <a:bodyPr spcFirstLastPara="1" wrap="square" lIns="54000" tIns="45700" rIns="54000" bIns="45700" anchor="ctr" anchorCtr="0">
            <a:noAutofit/>
          </a:bodyPr>
          <a:lstStyle>
            <a:lvl1pPr marL="609585" marR="0" lvl="0" indent="-304792" algn="ctr">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252" name="Google Shape;252;p16"/>
          <p:cNvPicPr preferRelativeResize="0"/>
          <p:nvPr/>
        </p:nvPicPr>
        <p:blipFill rotWithShape="1">
          <a:blip r:embed="rId2">
            <a:alphaModFix/>
          </a:blip>
          <a:srcRect/>
          <a:stretch/>
        </p:blipFill>
        <p:spPr>
          <a:xfrm>
            <a:off x="3941749" y="3038475"/>
            <a:ext cx="781051" cy="781051"/>
          </a:xfrm>
          <a:prstGeom prst="rect">
            <a:avLst/>
          </a:prstGeom>
          <a:noFill/>
          <a:ln>
            <a:noFill/>
          </a:ln>
        </p:spPr>
      </p:pic>
      <p:pic>
        <p:nvPicPr>
          <p:cNvPr id="253" name="Google Shape;253;p16"/>
          <p:cNvPicPr preferRelativeResize="0"/>
          <p:nvPr/>
        </p:nvPicPr>
        <p:blipFill rotWithShape="1">
          <a:blip r:embed="rId3">
            <a:alphaModFix/>
          </a:blip>
          <a:srcRect/>
          <a:stretch/>
        </p:blipFill>
        <p:spPr>
          <a:xfrm>
            <a:off x="7469240" y="3098799"/>
            <a:ext cx="781049" cy="660400"/>
          </a:xfrm>
          <a:prstGeom prst="rect">
            <a:avLst/>
          </a:prstGeom>
          <a:noFill/>
          <a:ln>
            <a:noFill/>
          </a:ln>
        </p:spPr>
      </p:pic>
      <p:sp>
        <p:nvSpPr>
          <p:cNvPr id="254" name="Google Shape;254;p16"/>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255" name="Google Shape;255;p16"/>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257" name="Google Shape;257;p16"/>
          <p:cNvSpPr txBox="1">
            <a:spLocks noGrp="1"/>
          </p:cNvSpPr>
          <p:nvPr>
            <p:ph type="body" idx="4"/>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pic>
        <p:nvPicPr>
          <p:cNvPr id="11" name="Google Shape;95;p45">
            <a:extLst>
              <a:ext uri="{FF2B5EF4-FFF2-40B4-BE49-F238E27FC236}">
                <a16:creationId xmlns:a16="http://schemas.microsoft.com/office/drawing/2014/main" id="{AB370E3C-338F-3E49-A7E2-7AE8E43E07E2}"/>
              </a:ext>
            </a:extLst>
          </p:cNvPr>
          <p:cNvPicPr preferRelativeResize="0"/>
          <p:nvPr/>
        </p:nvPicPr>
        <p:blipFill>
          <a:blip r:embed="rId4"/>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38180514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Slide_6">
  <p:cSld name="Slide_6">
    <p:bg>
      <p:bgPr>
        <a:solidFill>
          <a:srgbClr val="FFFFFF"/>
        </a:solidFill>
        <a:effectLst/>
      </p:bgPr>
    </p:bg>
    <p:spTree>
      <p:nvGrpSpPr>
        <p:cNvPr id="1" name="Shape 258"/>
        <p:cNvGrpSpPr/>
        <p:nvPr/>
      </p:nvGrpSpPr>
      <p:grpSpPr>
        <a:xfrm>
          <a:off x="0" y="0"/>
          <a:ext cx="0" cy="0"/>
          <a:chOff x="0" y="0"/>
          <a:chExt cx="0" cy="0"/>
        </a:xfrm>
      </p:grpSpPr>
      <p:sp>
        <p:nvSpPr>
          <p:cNvPr id="259" name="Google Shape;259;p27"/>
          <p:cNvSpPr txBox="1">
            <a:spLocks noGrp="1"/>
          </p:cNvSpPr>
          <p:nvPr>
            <p:ph type="title"/>
          </p:nvPr>
        </p:nvSpPr>
        <p:spPr>
          <a:xfrm>
            <a:off x="800100" y="719666"/>
            <a:ext cx="3377048" cy="1210833"/>
          </a:xfrm>
          <a:prstGeom prst="rect">
            <a:avLst/>
          </a:prstGeom>
          <a:noFill/>
          <a:ln>
            <a:noFill/>
          </a:ln>
        </p:spPr>
        <p:txBody>
          <a:bodyPr spcFirstLastPara="1" wrap="square" lIns="0" tIns="0" rIns="91425"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260" name="Google Shape;260;p27"/>
          <p:cNvSpPr txBox="1">
            <a:spLocks noGrp="1"/>
          </p:cNvSpPr>
          <p:nvPr>
            <p:ph type="subTitle" idx="1"/>
          </p:nvPr>
        </p:nvSpPr>
        <p:spPr>
          <a:xfrm>
            <a:off x="800100" y="1930501"/>
            <a:ext cx="3377048" cy="1011484"/>
          </a:xfrm>
          <a:prstGeom prst="rect">
            <a:avLst/>
          </a:prstGeom>
          <a:noFill/>
          <a:ln>
            <a:noFill/>
          </a:ln>
        </p:spPr>
        <p:txBody>
          <a:bodyPr spcFirstLastPara="1" wrap="square" lIns="0" tIns="0" rIns="91425"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pic>
        <p:nvPicPr>
          <p:cNvPr id="261" name="Google Shape;261;p27"/>
          <p:cNvPicPr preferRelativeResize="0"/>
          <p:nvPr/>
        </p:nvPicPr>
        <p:blipFill rotWithShape="1">
          <a:blip r:embed="rId2">
            <a:alphaModFix/>
          </a:blip>
          <a:srcRect/>
          <a:stretch/>
        </p:blipFill>
        <p:spPr>
          <a:xfrm>
            <a:off x="7669258" y="2301207"/>
            <a:ext cx="380999" cy="264584"/>
          </a:xfrm>
          <a:prstGeom prst="rect">
            <a:avLst/>
          </a:prstGeom>
          <a:noFill/>
          <a:ln>
            <a:noFill/>
          </a:ln>
        </p:spPr>
      </p:pic>
      <p:sp>
        <p:nvSpPr>
          <p:cNvPr id="262" name="Google Shape;262;p27"/>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263" name="Google Shape;263;p27"/>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265" name="Google Shape;265;p27"/>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266" name="Google Shape;266;p27"/>
          <p:cNvSpPr txBox="1">
            <a:spLocks noGrp="1"/>
          </p:cNvSpPr>
          <p:nvPr>
            <p:ph type="body" idx="3"/>
          </p:nvPr>
        </p:nvSpPr>
        <p:spPr>
          <a:xfrm>
            <a:off x="803067" y="2951433"/>
            <a:ext cx="3377048" cy="3190000"/>
          </a:xfrm>
          <a:prstGeom prst="rect">
            <a:avLst/>
          </a:prstGeom>
          <a:noFill/>
          <a:ln>
            <a:noFill/>
          </a:ln>
        </p:spPr>
        <p:txBody>
          <a:bodyPr spcFirstLastPara="1" wrap="square" lIns="0" tIns="0" rIns="54000"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67" name="Google Shape;267;p27"/>
          <p:cNvSpPr txBox="1">
            <a:spLocks noGrp="1"/>
          </p:cNvSpPr>
          <p:nvPr>
            <p:ph type="body" idx="4"/>
          </p:nvPr>
        </p:nvSpPr>
        <p:spPr>
          <a:xfrm>
            <a:off x="4332818" y="719666"/>
            <a:ext cx="7054969" cy="1210833"/>
          </a:xfrm>
          <a:prstGeom prst="rect">
            <a:avLst/>
          </a:prstGeom>
          <a:noFill/>
          <a:ln>
            <a:noFill/>
          </a:ln>
        </p:spPr>
        <p:txBody>
          <a:bodyPr spcFirstLastPara="1" wrap="square" lIns="0" tIns="0" rIns="0" bIns="0" anchor="t" anchorCtr="0">
            <a:noAutofit/>
          </a:bodyPr>
          <a:lstStyle>
            <a:lvl1pPr marL="609585" marR="0" lvl="0" indent="-304792" algn="ctr">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ctr">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ctr">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ctr">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ctr">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ctr">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ctr">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ctr">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ctr">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68" name="Google Shape;268;p27"/>
          <p:cNvSpPr txBox="1">
            <a:spLocks noGrp="1"/>
          </p:cNvSpPr>
          <p:nvPr>
            <p:ph type="body" idx="5"/>
          </p:nvPr>
        </p:nvSpPr>
        <p:spPr>
          <a:xfrm>
            <a:off x="4332101" y="2951434"/>
            <a:ext cx="7055567" cy="3180551"/>
          </a:xfrm>
          <a:prstGeom prst="rect">
            <a:avLst/>
          </a:prstGeom>
          <a:noFill/>
          <a:ln w="76200" cap="flat" cmpd="sng">
            <a:solidFill>
              <a:srgbClr val="E1E1E1"/>
            </a:solidFill>
            <a:prstDash val="solid"/>
            <a:round/>
            <a:headEnd type="none" w="sm" len="sm"/>
            <a:tailEnd type="none" w="sm" len="sm"/>
          </a:ln>
        </p:spPr>
        <p:txBody>
          <a:bodyPr spcFirstLastPara="1" wrap="square" lIns="91425" tIns="45700" rIns="91425" bIns="45700" anchor="ctr" anchorCtr="0">
            <a:noAutofit/>
          </a:bodyPr>
          <a:lstStyle>
            <a:lvl1pPr marL="609585" marR="0" lvl="0" indent="-304792" algn="ctr">
              <a:lnSpc>
                <a:spcPct val="100000"/>
              </a:lnSpc>
              <a:spcBef>
                <a:spcPts val="0"/>
              </a:spcBef>
              <a:spcAft>
                <a:spcPts val="0"/>
              </a:spcAft>
              <a:buClr>
                <a:srgbClr val="000000"/>
              </a:buClr>
              <a:buSzPts val="1400"/>
              <a:buFont typeface="Arial"/>
              <a:buNone/>
              <a:defRPr sz="1200" b="1" i="0" u="none" strike="noStrike" cap="none">
                <a:solidFill>
                  <a:schemeClr val="dk1"/>
                </a:solidFill>
                <a:latin typeface="Arial"/>
                <a:ea typeface="Arial"/>
                <a:cs typeface="Arial"/>
                <a:sym typeface="Arial"/>
              </a:defRPr>
            </a:lvl1pPr>
            <a:lvl2pPr marL="1219170" marR="0" lvl="1" indent="-304792" algn="ctr">
              <a:lnSpc>
                <a:spcPct val="100000"/>
              </a:lnSpc>
              <a:spcBef>
                <a:spcPts val="0"/>
              </a:spcBef>
              <a:spcAft>
                <a:spcPts val="0"/>
              </a:spcAft>
              <a:buClr>
                <a:srgbClr val="000000"/>
              </a:buClr>
              <a:buSzPts val="1400"/>
              <a:buFont typeface="Arial"/>
              <a:buNone/>
              <a:defRPr sz="1200" b="1" i="0" u="none" strike="noStrike" cap="none">
                <a:solidFill>
                  <a:schemeClr val="dk1"/>
                </a:solidFill>
                <a:latin typeface="Arial"/>
                <a:ea typeface="Arial"/>
                <a:cs typeface="Arial"/>
                <a:sym typeface="Arial"/>
              </a:defRPr>
            </a:lvl2pPr>
            <a:lvl3pPr marL="1828754" marR="0" lvl="2" indent="-304792" algn="ctr">
              <a:lnSpc>
                <a:spcPct val="100000"/>
              </a:lnSpc>
              <a:spcBef>
                <a:spcPts val="0"/>
              </a:spcBef>
              <a:spcAft>
                <a:spcPts val="0"/>
              </a:spcAft>
              <a:buClr>
                <a:srgbClr val="000000"/>
              </a:buClr>
              <a:buSzPts val="1400"/>
              <a:buFont typeface="Arial"/>
              <a:buNone/>
              <a:defRPr sz="1200" b="1" i="0" u="none" strike="noStrike" cap="none">
                <a:solidFill>
                  <a:schemeClr val="dk1"/>
                </a:solidFill>
                <a:latin typeface="Arial"/>
                <a:ea typeface="Arial"/>
                <a:cs typeface="Arial"/>
                <a:sym typeface="Arial"/>
              </a:defRPr>
            </a:lvl3pPr>
            <a:lvl4pPr marL="2438339" marR="0" lvl="3" indent="-304792" algn="ctr">
              <a:lnSpc>
                <a:spcPct val="100000"/>
              </a:lnSpc>
              <a:spcBef>
                <a:spcPts val="0"/>
              </a:spcBef>
              <a:spcAft>
                <a:spcPts val="0"/>
              </a:spcAft>
              <a:buClr>
                <a:srgbClr val="000000"/>
              </a:buClr>
              <a:buSzPts val="1400"/>
              <a:buFont typeface="Arial"/>
              <a:buNone/>
              <a:defRPr sz="1200" b="1" i="0" u="none" strike="noStrike" cap="none">
                <a:solidFill>
                  <a:schemeClr val="dk1"/>
                </a:solidFill>
                <a:latin typeface="Arial"/>
                <a:ea typeface="Arial"/>
                <a:cs typeface="Arial"/>
                <a:sym typeface="Arial"/>
              </a:defRPr>
            </a:lvl4pPr>
            <a:lvl5pPr marL="3047924" marR="0" lvl="4" indent="-304792" algn="ctr">
              <a:lnSpc>
                <a:spcPct val="100000"/>
              </a:lnSpc>
              <a:spcBef>
                <a:spcPts val="0"/>
              </a:spcBef>
              <a:spcAft>
                <a:spcPts val="0"/>
              </a:spcAft>
              <a:buClr>
                <a:srgbClr val="000000"/>
              </a:buClr>
              <a:buSzPts val="1400"/>
              <a:buFont typeface="Arial"/>
              <a:buNone/>
              <a:defRPr sz="1200" b="1" i="0" u="none" strike="noStrike" cap="none">
                <a:solidFill>
                  <a:schemeClr val="dk1"/>
                </a:solidFill>
                <a:latin typeface="Arial"/>
                <a:ea typeface="Arial"/>
                <a:cs typeface="Arial"/>
                <a:sym typeface="Arial"/>
              </a:defRPr>
            </a:lvl5pPr>
            <a:lvl6pPr marL="3657509" marR="0" lvl="5" indent="-304792" algn="ctr">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ctr">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ctr">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ctr">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12" name="Google Shape;95;p45">
            <a:extLst>
              <a:ext uri="{FF2B5EF4-FFF2-40B4-BE49-F238E27FC236}">
                <a16:creationId xmlns:a16="http://schemas.microsoft.com/office/drawing/2014/main" id="{A5D8F78B-3163-DB4A-857B-815DE52D4B11}"/>
              </a:ext>
            </a:extLst>
          </p:cNvPr>
          <p:cNvPicPr preferRelativeResize="0"/>
          <p:nvPr/>
        </p:nvPicPr>
        <p:blipFill>
          <a:blip r:embed="rId3"/>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45251843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Slide_8">
  <p:cSld name="Slide_8">
    <p:bg>
      <p:bgPr>
        <a:solidFill>
          <a:srgbClr val="FFFFFF"/>
        </a:solidFill>
        <a:effectLst/>
      </p:bgPr>
    </p:bg>
    <p:spTree>
      <p:nvGrpSpPr>
        <p:cNvPr id="1" name="Shape 269"/>
        <p:cNvGrpSpPr/>
        <p:nvPr/>
      </p:nvGrpSpPr>
      <p:grpSpPr>
        <a:xfrm>
          <a:off x="0" y="0"/>
          <a:ext cx="0" cy="0"/>
          <a:chOff x="0" y="0"/>
          <a:chExt cx="0" cy="0"/>
        </a:xfrm>
      </p:grpSpPr>
      <p:sp>
        <p:nvSpPr>
          <p:cNvPr id="270" name="Google Shape;270;p28"/>
          <p:cNvSpPr txBox="1">
            <a:spLocks noGrp="1"/>
          </p:cNvSpPr>
          <p:nvPr>
            <p:ph type="title"/>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271" name="Google Shape;271;p28"/>
          <p:cNvSpPr txBox="1">
            <a:spLocks noGrp="1"/>
          </p:cNvSpPr>
          <p:nvPr>
            <p:ph type="subTitle" idx="1"/>
          </p:nvPr>
        </p:nvSpPr>
        <p:spPr>
          <a:xfrm>
            <a:off x="802400" y="1553300"/>
            <a:ext cx="10587200" cy="4484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272" name="Google Shape;272;p28"/>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273" name="Google Shape;273;p28"/>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275" name="Google Shape;275;p28"/>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276" name="Google Shape;276;p28"/>
          <p:cNvSpPr txBox="1">
            <a:spLocks noGrp="1"/>
          </p:cNvSpPr>
          <p:nvPr>
            <p:ph type="body" idx="3"/>
          </p:nvPr>
        </p:nvSpPr>
        <p:spPr>
          <a:xfrm>
            <a:off x="812799" y="2916700"/>
            <a:ext cx="5283200" cy="3215200"/>
          </a:xfrm>
          <a:prstGeom prst="rect">
            <a:avLst/>
          </a:prstGeom>
          <a:noFill/>
          <a:ln>
            <a:noFill/>
          </a:ln>
        </p:spPr>
        <p:txBody>
          <a:bodyPr spcFirstLastPara="1" wrap="square" lIns="0" tIns="0" rIns="54000"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77" name="Google Shape;277;p28"/>
          <p:cNvSpPr txBox="1">
            <a:spLocks noGrp="1"/>
          </p:cNvSpPr>
          <p:nvPr>
            <p:ph type="title" idx="4"/>
          </p:nvPr>
        </p:nvSpPr>
        <p:spPr>
          <a:xfrm>
            <a:off x="800099" y="2156000"/>
            <a:ext cx="5295900" cy="606400"/>
          </a:xfrm>
          <a:prstGeom prst="rect">
            <a:avLst/>
          </a:prstGeom>
          <a:solidFill>
            <a:schemeClr val="accent1"/>
          </a:solid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000000"/>
              </a:buClr>
              <a:buSzPts val="1300"/>
              <a:buFont typeface="Arial"/>
              <a:buNone/>
              <a:defRPr sz="1733" b="1"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278" name="Google Shape;278;p28"/>
          <p:cNvSpPr txBox="1">
            <a:spLocks noGrp="1"/>
          </p:cNvSpPr>
          <p:nvPr>
            <p:ph type="body" idx="5"/>
          </p:nvPr>
        </p:nvSpPr>
        <p:spPr>
          <a:xfrm>
            <a:off x="6107611" y="2916700"/>
            <a:ext cx="5283200" cy="3215200"/>
          </a:xfrm>
          <a:prstGeom prst="rect">
            <a:avLst/>
          </a:prstGeom>
          <a:noFill/>
          <a:ln>
            <a:noFill/>
          </a:ln>
        </p:spPr>
        <p:txBody>
          <a:bodyPr spcFirstLastPara="1" wrap="square" lIns="0" tIns="0" rIns="54000"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79" name="Google Shape;279;p28"/>
          <p:cNvSpPr txBox="1"/>
          <p:nvPr/>
        </p:nvSpPr>
        <p:spPr>
          <a:xfrm>
            <a:off x="6094910" y="2156000"/>
            <a:ext cx="5295900" cy="606400"/>
          </a:xfrm>
          <a:prstGeom prst="rect">
            <a:avLst/>
          </a:prstGeom>
          <a:solidFill>
            <a:schemeClr val="accent1"/>
          </a:solidFill>
          <a:ln w="19050" cap="flat" cmpd="sng">
            <a:solidFill>
              <a:schemeClr val="lt2"/>
            </a:solidFill>
            <a:prstDash val="solid"/>
            <a:round/>
            <a:headEnd type="none" w="sm" len="sm"/>
            <a:tailEnd type="none" w="sm" len="sm"/>
          </a:ln>
        </p:spPr>
        <p:txBody>
          <a:bodyPr spcFirstLastPara="1" wrap="square" lIns="121900" tIns="121900" rIns="121900" bIns="121900" anchor="ctr" anchorCtr="0">
            <a:noAutofit/>
          </a:bodyPr>
          <a:lstStyle/>
          <a:p>
            <a:pPr marL="191995" marR="0" lvl="0" indent="-191995" algn="l" rtl="0">
              <a:lnSpc>
                <a:spcPct val="100000"/>
              </a:lnSpc>
              <a:spcBef>
                <a:spcPts val="0"/>
              </a:spcBef>
              <a:spcAft>
                <a:spcPts val="0"/>
              </a:spcAft>
              <a:buClr>
                <a:srgbClr val="000000"/>
              </a:buClr>
              <a:buSzPts val="1300"/>
              <a:buFont typeface="Arial"/>
              <a:buNone/>
            </a:pPr>
            <a:endParaRPr sz="1733" b="1" i="0" u="none" strike="noStrike" cap="none">
              <a:solidFill>
                <a:srgbClr val="000000"/>
              </a:solidFill>
              <a:latin typeface="Arial"/>
              <a:ea typeface="Arial"/>
              <a:cs typeface="Arial"/>
              <a:sym typeface="Arial"/>
            </a:endParaRPr>
          </a:p>
        </p:txBody>
      </p:sp>
      <p:pic>
        <p:nvPicPr>
          <p:cNvPr id="12" name="Google Shape;95;p45">
            <a:extLst>
              <a:ext uri="{FF2B5EF4-FFF2-40B4-BE49-F238E27FC236}">
                <a16:creationId xmlns:a16="http://schemas.microsoft.com/office/drawing/2014/main" id="{809D2AF4-BE63-C842-829E-00930451A455}"/>
              </a:ext>
            </a:extLst>
          </p:cNvPr>
          <p:cNvPicPr preferRelativeResize="0"/>
          <p:nvPr/>
        </p:nvPicPr>
        <p:blipFill>
          <a:blip r:embed="rId2"/>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22862066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Slide_9">
  <p:cSld name="Slide_9">
    <p:bg>
      <p:bgPr>
        <a:solidFill>
          <a:srgbClr val="FFFFFF"/>
        </a:solidFill>
        <a:effectLst/>
      </p:bgPr>
    </p:bg>
    <p:spTree>
      <p:nvGrpSpPr>
        <p:cNvPr id="1" name="Shape 280"/>
        <p:cNvGrpSpPr/>
        <p:nvPr/>
      </p:nvGrpSpPr>
      <p:grpSpPr>
        <a:xfrm>
          <a:off x="0" y="0"/>
          <a:ext cx="0" cy="0"/>
          <a:chOff x="0" y="0"/>
          <a:chExt cx="0" cy="0"/>
        </a:xfrm>
      </p:grpSpPr>
      <p:sp>
        <p:nvSpPr>
          <p:cNvPr id="281" name="Google Shape;281;p29"/>
          <p:cNvSpPr txBox="1">
            <a:spLocks noGrp="1"/>
          </p:cNvSpPr>
          <p:nvPr>
            <p:ph type="title"/>
          </p:nvPr>
        </p:nvSpPr>
        <p:spPr>
          <a:xfrm>
            <a:off x="800100" y="719666"/>
            <a:ext cx="3532000" cy="5412433"/>
          </a:xfrm>
          <a:prstGeom prst="rect">
            <a:avLst/>
          </a:prstGeom>
          <a:noFill/>
          <a:ln>
            <a:noFill/>
          </a:ln>
        </p:spPr>
        <p:txBody>
          <a:bodyPr spcFirstLastPara="1" wrap="square" lIns="0" tIns="0" rIns="91425"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282" name="Google Shape;282;p29"/>
          <p:cNvSpPr txBox="1">
            <a:spLocks noGrp="1"/>
          </p:cNvSpPr>
          <p:nvPr>
            <p:ph type="subTitle" idx="1"/>
          </p:nvPr>
        </p:nvSpPr>
        <p:spPr>
          <a:xfrm>
            <a:off x="4332267" y="728480"/>
            <a:ext cx="7055200" cy="7712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283" name="Google Shape;283;p29"/>
          <p:cNvSpPr/>
          <p:nvPr/>
        </p:nvSpPr>
        <p:spPr>
          <a:xfrm rot="-430255">
            <a:off x="-4683666" y="4165567"/>
            <a:ext cx="9164483" cy="9168501"/>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284" name="Google Shape;284;p29"/>
          <p:cNvCxnSpPr/>
          <p:nvPr/>
        </p:nvCxnSpPr>
        <p:spPr>
          <a:xfrm flipH="1">
            <a:off x="1582667" y="3428967"/>
            <a:ext cx="1892400" cy="1803600"/>
          </a:xfrm>
          <a:prstGeom prst="straightConnector1">
            <a:avLst/>
          </a:prstGeom>
          <a:noFill/>
          <a:ln w="9525" cap="flat" cmpd="sng">
            <a:solidFill>
              <a:schemeClr val="accent1"/>
            </a:solidFill>
            <a:prstDash val="solid"/>
            <a:round/>
            <a:headEnd type="none" w="sm" len="sm"/>
            <a:tailEnd type="none" w="sm" len="sm"/>
          </a:ln>
        </p:spPr>
      </p:cxnSp>
      <p:sp>
        <p:nvSpPr>
          <p:cNvPr id="285" name="Google Shape;285;p29"/>
          <p:cNvSpPr/>
          <p:nvPr/>
        </p:nvSpPr>
        <p:spPr>
          <a:xfrm>
            <a:off x="1928600" y="4548167"/>
            <a:ext cx="377200" cy="377200"/>
          </a:xfrm>
          <a:prstGeom prst="ellipse">
            <a:avLst/>
          </a:prstGeom>
          <a:solidFill>
            <a:srgbClr val="FFFFFF"/>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286" name="Google Shape;286;p29"/>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287" name="Google Shape;287;p29"/>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289" name="Google Shape;289;p29"/>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290" name="Google Shape;290;p29"/>
          <p:cNvSpPr txBox="1">
            <a:spLocks noGrp="1"/>
          </p:cNvSpPr>
          <p:nvPr>
            <p:ph type="body" idx="3"/>
          </p:nvPr>
        </p:nvSpPr>
        <p:spPr>
          <a:xfrm>
            <a:off x="4332833" y="4017567"/>
            <a:ext cx="3408800" cy="2113200"/>
          </a:xfrm>
          <a:prstGeom prst="rect">
            <a:avLst/>
          </a:prstGeom>
          <a:noFill/>
          <a:ln>
            <a:noFill/>
          </a:ln>
        </p:spPr>
        <p:txBody>
          <a:bodyPr spcFirstLastPara="1" wrap="square" lIns="0" tIns="0" rIns="0"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91" name="Google Shape;291;p29"/>
          <p:cNvSpPr txBox="1">
            <a:spLocks noGrp="1"/>
          </p:cNvSpPr>
          <p:nvPr>
            <p:ph type="title" idx="4"/>
          </p:nvPr>
        </p:nvSpPr>
        <p:spPr>
          <a:xfrm>
            <a:off x="4332833" y="3244033"/>
            <a:ext cx="3408800" cy="633200"/>
          </a:xfrm>
          <a:prstGeom prst="rect">
            <a:avLst/>
          </a:prstGeom>
          <a:solidFill>
            <a:schemeClr val="accent1"/>
          </a:solidFill>
          <a:ln>
            <a:noFill/>
          </a:ln>
        </p:spPr>
        <p:txBody>
          <a:bodyPr spcFirstLastPara="1" wrap="square" lIns="91425" tIns="91425" rIns="91425" bIns="91425" anchor="ctr" anchorCtr="0">
            <a:noAutofit/>
          </a:bodyPr>
          <a:lstStyle>
            <a:lvl1pPr marR="0" lvl="0" algn="ctr" rtl="0">
              <a:lnSpc>
                <a:spcPct val="100000"/>
              </a:lnSpc>
              <a:spcBef>
                <a:spcPts val="0"/>
              </a:spcBef>
              <a:spcAft>
                <a:spcPts val="0"/>
              </a:spcAft>
              <a:buClr>
                <a:srgbClr val="000000"/>
              </a:buClr>
              <a:buSzPts val="1300"/>
              <a:buFont typeface="Arial"/>
              <a:buNone/>
              <a:defRPr sz="1733" b="1"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292" name="Google Shape;292;p29"/>
          <p:cNvSpPr txBox="1">
            <a:spLocks noGrp="1"/>
          </p:cNvSpPr>
          <p:nvPr>
            <p:ph type="body" idx="5"/>
          </p:nvPr>
        </p:nvSpPr>
        <p:spPr>
          <a:xfrm>
            <a:off x="4400200" y="1833333"/>
            <a:ext cx="3275600" cy="1232000"/>
          </a:xfrm>
          <a:prstGeom prst="rect">
            <a:avLst/>
          </a:prstGeom>
          <a:solidFill>
            <a:srgbClr val="FFFFFF"/>
          </a:solidFill>
          <a:ln w="76200" cap="flat" cmpd="sng">
            <a:solidFill>
              <a:schemeClr val="accent5"/>
            </a:solidFill>
            <a:prstDash val="solid"/>
            <a:miter lim="8000"/>
            <a:headEnd type="none" w="sm" len="sm"/>
            <a:tailEnd type="none" w="sm" len="sm"/>
          </a:ln>
        </p:spPr>
        <p:txBody>
          <a:bodyPr spcFirstLastPara="1" wrap="square" lIns="91425" tIns="91425" rIns="91425" bIns="91425" anchor="ctr" anchorCtr="0">
            <a:noAutofit/>
          </a:bodyPr>
          <a:lstStyle>
            <a:lvl1pPr marL="609585" marR="0" lvl="0" indent="-304792" algn="ctr">
              <a:lnSpc>
                <a:spcPct val="100000"/>
              </a:lnSpc>
              <a:spcBef>
                <a:spcPts val="0"/>
              </a:spcBef>
              <a:spcAft>
                <a:spcPts val="0"/>
              </a:spcAft>
              <a:buClr>
                <a:srgbClr val="000000"/>
              </a:buClr>
              <a:buSzPts val="1100"/>
              <a:buFont typeface="Arial"/>
              <a:buNone/>
              <a:defRPr sz="1467" b="1" i="1" u="none" strike="noStrike" cap="none">
                <a:solidFill>
                  <a:srgbClr val="000000"/>
                </a:solidFill>
                <a:latin typeface="Arial"/>
                <a:ea typeface="Arial"/>
                <a:cs typeface="Arial"/>
                <a:sym typeface="Arial"/>
              </a:defRPr>
            </a:lvl1pPr>
            <a:lvl2pPr marL="1219170" marR="0" lvl="1"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2pPr>
            <a:lvl3pPr marL="1828754" marR="0" lvl="2"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3pPr>
            <a:lvl4pPr marL="2438339" marR="0" lvl="3"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4pPr>
            <a:lvl5pPr marL="3047924" marR="0" lvl="4"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5pPr>
            <a:lvl6pPr marL="3657509" marR="0" lvl="5"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6pPr>
            <a:lvl7pPr marL="4267093" marR="0" lvl="6"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7pPr>
            <a:lvl8pPr marL="4876678" marR="0" lvl="7"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8pPr>
            <a:lvl9pPr marL="5486263" marR="0" lvl="8"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93" name="Google Shape;293;p29"/>
          <p:cNvSpPr txBox="1">
            <a:spLocks noGrp="1"/>
          </p:cNvSpPr>
          <p:nvPr>
            <p:ph type="body" idx="6"/>
          </p:nvPr>
        </p:nvSpPr>
        <p:spPr>
          <a:xfrm>
            <a:off x="7980767" y="4030067"/>
            <a:ext cx="3408800" cy="2113200"/>
          </a:xfrm>
          <a:prstGeom prst="rect">
            <a:avLst/>
          </a:prstGeom>
          <a:noFill/>
          <a:ln>
            <a:noFill/>
          </a:ln>
        </p:spPr>
        <p:txBody>
          <a:bodyPr spcFirstLastPara="1" wrap="square" lIns="0" tIns="0" rIns="0"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294" name="Google Shape;294;p29"/>
          <p:cNvSpPr txBox="1">
            <a:spLocks noGrp="1"/>
          </p:cNvSpPr>
          <p:nvPr>
            <p:ph type="title" idx="7"/>
          </p:nvPr>
        </p:nvSpPr>
        <p:spPr>
          <a:xfrm>
            <a:off x="7980767" y="3256533"/>
            <a:ext cx="3408800" cy="633200"/>
          </a:xfrm>
          <a:prstGeom prst="rect">
            <a:avLst/>
          </a:prstGeom>
          <a:solidFill>
            <a:schemeClr val="accent1"/>
          </a:solidFill>
          <a:ln>
            <a:noFill/>
          </a:ln>
        </p:spPr>
        <p:txBody>
          <a:bodyPr spcFirstLastPara="1" wrap="square" lIns="91425" tIns="91425" rIns="91425" bIns="91425" anchor="ctr" anchorCtr="0">
            <a:noAutofit/>
          </a:bodyPr>
          <a:lstStyle>
            <a:lvl1pPr marR="0" lvl="0" algn="ctr" rtl="0">
              <a:lnSpc>
                <a:spcPct val="100000"/>
              </a:lnSpc>
              <a:spcBef>
                <a:spcPts val="0"/>
              </a:spcBef>
              <a:spcAft>
                <a:spcPts val="0"/>
              </a:spcAft>
              <a:buClr>
                <a:srgbClr val="000000"/>
              </a:buClr>
              <a:buSzPts val="1300"/>
              <a:buFont typeface="Arial"/>
              <a:buNone/>
              <a:defRPr sz="1733" b="1"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295" name="Google Shape;295;p29"/>
          <p:cNvSpPr txBox="1">
            <a:spLocks noGrp="1"/>
          </p:cNvSpPr>
          <p:nvPr>
            <p:ph type="body" idx="8"/>
          </p:nvPr>
        </p:nvSpPr>
        <p:spPr>
          <a:xfrm>
            <a:off x="8034533" y="1845833"/>
            <a:ext cx="3297200" cy="1232000"/>
          </a:xfrm>
          <a:prstGeom prst="rect">
            <a:avLst/>
          </a:prstGeom>
          <a:solidFill>
            <a:srgbClr val="FFFFFF"/>
          </a:solidFill>
          <a:ln w="76200" cap="flat" cmpd="sng">
            <a:solidFill>
              <a:schemeClr val="accent5"/>
            </a:solidFill>
            <a:prstDash val="solid"/>
            <a:miter lim="8000"/>
            <a:headEnd type="none" w="sm" len="sm"/>
            <a:tailEnd type="none" w="sm" len="sm"/>
          </a:ln>
        </p:spPr>
        <p:txBody>
          <a:bodyPr spcFirstLastPara="1" wrap="square" lIns="91425" tIns="91425" rIns="91425" bIns="91425" anchor="ctr" anchorCtr="0">
            <a:noAutofit/>
          </a:bodyPr>
          <a:lstStyle>
            <a:lvl1pPr marL="609585" marR="0" lvl="0" indent="-304792" algn="ctr">
              <a:lnSpc>
                <a:spcPct val="100000"/>
              </a:lnSpc>
              <a:spcBef>
                <a:spcPts val="0"/>
              </a:spcBef>
              <a:spcAft>
                <a:spcPts val="0"/>
              </a:spcAft>
              <a:buClr>
                <a:srgbClr val="000000"/>
              </a:buClr>
              <a:buSzPts val="1100"/>
              <a:buFont typeface="Arial"/>
              <a:buNone/>
              <a:defRPr sz="1467" b="1" i="1" u="none" strike="noStrike" cap="none">
                <a:solidFill>
                  <a:srgbClr val="000000"/>
                </a:solidFill>
                <a:latin typeface="Arial"/>
                <a:ea typeface="Arial"/>
                <a:cs typeface="Arial"/>
                <a:sym typeface="Arial"/>
              </a:defRPr>
            </a:lvl1pPr>
            <a:lvl2pPr marL="1219170" marR="0" lvl="1"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2pPr>
            <a:lvl3pPr marL="1828754" marR="0" lvl="2"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3pPr>
            <a:lvl4pPr marL="2438339" marR="0" lvl="3"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4pPr>
            <a:lvl5pPr marL="3047924" marR="0" lvl="4"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5pPr>
            <a:lvl6pPr marL="3657509" marR="0" lvl="5"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6pPr>
            <a:lvl7pPr marL="4267093" marR="0" lvl="6"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7pPr>
            <a:lvl8pPr marL="4876678" marR="0" lvl="7"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8pPr>
            <a:lvl9pPr marL="5486263" marR="0" lvl="8" indent="-397923" algn="l">
              <a:lnSpc>
                <a:spcPct val="100000"/>
              </a:lnSpc>
              <a:spcBef>
                <a:spcPts val="0"/>
              </a:spcBef>
              <a:spcAft>
                <a:spcPts val="0"/>
              </a:spcAft>
              <a:buClr>
                <a:srgbClr val="000000"/>
              </a:buClr>
              <a:buSzPts val="1100"/>
              <a:buFont typeface="Arial"/>
              <a:buChar char="■"/>
              <a:defRPr sz="1467" b="1" i="1"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17" name="Google Shape;95;p45">
            <a:extLst>
              <a:ext uri="{FF2B5EF4-FFF2-40B4-BE49-F238E27FC236}">
                <a16:creationId xmlns:a16="http://schemas.microsoft.com/office/drawing/2014/main" id="{37C4743D-2F8A-0C41-9CA0-8ADD8127B3BC}"/>
              </a:ext>
            </a:extLst>
          </p:cNvPr>
          <p:cNvPicPr preferRelativeResize="0"/>
          <p:nvPr/>
        </p:nvPicPr>
        <p:blipFill>
          <a:blip r:embed="rId2"/>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30071206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Slide_10">
  <p:cSld name="Slide_10">
    <p:bg>
      <p:bgPr>
        <a:solidFill>
          <a:srgbClr val="FFFFFF"/>
        </a:solidFill>
        <a:effectLst/>
      </p:bgPr>
    </p:bg>
    <p:spTree>
      <p:nvGrpSpPr>
        <p:cNvPr id="1" name="Shape 296"/>
        <p:cNvGrpSpPr/>
        <p:nvPr/>
      </p:nvGrpSpPr>
      <p:grpSpPr>
        <a:xfrm>
          <a:off x="0" y="0"/>
          <a:ext cx="0" cy="0"/>
          <a:chOff x="0" y="0"/>
          <a:chExt cx="0" cy="0"/>
        </a:xfrm>
      </p:grpSpPr>
      <p:sp>
        <p:nvSpPr>
          <p:cNvPr id="297" name="Google Shape;297;p30"/>
          <p:cNvSpPr txBox="1">
            <a:spLocks noGrp="1"/>
          </p:cNvSpPr>
          <p:nvPr>
            <p:ph type="body" idx="1"/>
          </p:nvPr>
        </p:nvSpPr>
        <p:spPr>
          <a:xfrm>
            <a:off x="3333500" y="2265433"/>
            <a:ext cx="4718000" cy="854800"/>
          </a:xfrm>
          <a:prstGeom prst="rect">
            <a:avLst/>
          </a:prstGeom>
          <a:solidFill>
            <a:schemeClr val="accent5"/>
          </a:solidFill>
          <a:ln>
            <a:noFill/>
          </a:ln>
        </p:spPr>
        <p:txBody>
          <a:bodyPr spcFirstLastPara="1" wrap="square" lIns="91425" tIns="91425" rIns="91425" bIns="91425" anchor="ctr" anchorCtr="0">
            <a:noAutofit/>
          </a:bodyPr>
          <a:lstStyle>
            <a:lvl1pPr marL="609585" marR="0" lvl="0" indent="-304792" algn="l">
              <a:lnSpc>
                <a:spcPct val="100000"/>
              </a:lnSpc>
              <a:spcBef>
                <a:spcPts val="0"/>
              </a:spcBef>
              <a:spcAft>
                <a:spcPts val="0"/>
              </a:spcAft>
              <a:buClr>
                <a:schemeClr val="dk2"/>
              </a:buClr>
              <a:buSzPts val="900"/>
              <a:buFont typeface="Arial"/>
              <a:buNone/>
              <a:defRPr sz="1200" b="0" i="0" u="none" strike="noStrike" cap="none">
                <a:solidFill>
                  <a:schemeClr val="dk2"/>
                </a:solidFill>
                <a:latin typeface="Arial"/>
                <a:ea typeface="Arial"/>
                <a:cs typeface="Arial"/>
                <a:sym typeface="Arial"/>
              </a:defRPr>
            </a:lvl1pPr>
            <a:lvl2pPr marL="1219170" marR="0" lvl="1"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6pPr>
            <a:lvl7pPr marL="4267093" marR="0" lvl="6"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7pPr>
            <a:lvl8pPr marL="4876678" marR="0" lvl="7"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8pPr>
            <a:lvl9pPr marL="5486263" marR="0" lvl="8"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298" name="Google Shape;298;p30"/>
          <p:cNvSpPr txBox="1">
            <a:spLocks noGrp="1"/>
          </p:cNvSpPr>
          <p:nvPr>
            <p:ph type="body" idx="2"/>
          </p:nvPr>
        </p:nvSpPr>
        <p:spPr>
          <a:xfrm>
            <a:off x="3335531" y="3269533"/>
            <a:ext cx="4718000" cy="854800"/>
          </a:xfrm>
          <a:prstGeom prst="rect">
            <a:avLst/>
          </a:prstGeom>
          <a:solidFill>
            <a:schemeClr val="accent5"/>
          </a:solidFill>
          <a:ln>
            <a:noFill/>
          </a:ln>
        </p:spPr>
        <p:txBody>
          <a:bodyPr spcFirstLastPara="1" wrap="square" lIns="91425" tIns="91425" rIns="91425" bIns="91425" anchor="ctr" anchorCtr="0">
            <a:noAutofit/>
          </a:bodyPr>
          <a:lstStyle>
            <a:lvl1pPr marL="609585" marR="0" lvl="0" indent="-304792" algn="l">
              <a:lnSpc>
                <a:spcPct val="100000"/>
              </a:lnSpc>
              <a:spcBef>
                <a:spcPts val="0"/>
              </a:spcBef>
              <a:spcAft>
                <a:spcPts val="0"/>
              </a:spcAft>
              <a:buClr>
                <a:schemeClr val="dk2"/>
              </a:buClr>
              <a:buSzPts val="900"/>
              <a:buFont typeface="Arial"/>
              <a:buNone/>
              <a:defRPr sz="1200" b="0" i="0" u="none" strike="noStrike" cap="none">
                <a:solidFill>
                  <a:schemeClr val="dk2"/>
                </a:solidFill>
                <a:latin typeface="Arial"/>
                <a:ea typeface="Arial"/>
                <a:cs typeface="Arial"/>
                <a:sym typeface="Arial"/>
              </a:defRPr>
            </a:lvl1pPr>
            <a:lvl2pPr marL="1219170" marR="0" lvl="1"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6pPr>
            <a:lvl7pPr marL="4267093" marR="0" lvl="6"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7pPr>
            <a:lvl8pPr marL="4876678" marR="0" lvl="7"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8pPr>
            <a:lvl9pPr marL="5486263" marR="0" lvl="8"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299" name="Google Shape;299;p30"/>
          <p:cNvSpPr txBox="1">
            <a:spLocks noGrp="1"/>
          </p:cNvSpPr>
          <p:nvPr>
            <p:ph type="title"/>
          </p:nvPr>
        </p:nvSpPr>
        <p:spPr>
          <a:xfrm>
            <a:off x="803467" y="3321619"/>
            <a:ext cx="2324000" cy="750800"/>
          </a:xfrm>
          <a:prstGeom prst="rect">
            <a:avLst/>
          </a:prstGeom>
          <a:solidFill>
            <a:schemeClr val="accent4"/>
          </a:solidFill>
          <a:ln w="76200" cap="flat" cmpd="sng">
            <a:solidFill>
              <a:srgbClr val="E0E0DF"/>
            </a:solidFill>
            <a:prstDash val="solid"/>
            <a:miter lim="8000"/>
            <a:headEnd type="none" w="sm" len="sm"/>
            <a:tailEnd type="none" w="sm" len="sm"/>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000000"/>
              </a:buClr>
              <a:buSzPts val="1100"/>
              <a:buFont typeface="Arial"/>
              <a:buNone/>
              <a:defRPr sz="1467" b="1"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300" name="Google Shape;300;p30"/>
          <p:cNvSpPr txBox="1">
            <a:spLocks noGrp="1"/>
          </p:cNvSpPr>
          <p:nvPr>
            <p:ph type="body" idx="3"/>
          </p:nvPr>
        </p:nvSpPr>
        <p:spPr>
          <a:xfrm>
            <a:off x="3335531" y="4273667"/>
            <a:ext cx="4718000" cy="854800"/>
          </a:xfrm>
          <a:prstGeom prst="rect">
            <a:avLst/>
          </a:prstGeom>
          <a:solidFill>
            <a:schemeClr val="accent5"/>
          </a:solidFill>
          <a:ln>
            <a:noFill/>
          </a:ln>
        </p:spPr>
        <p:txBody>
          <a:bodyPr spcFirstLastPara="1" wrap="square" lIns="91425" tIns="91425" rIns="91425" bIns="91425" anchor="ctr" anchorCtr="0">
            <a:noAutofit/>
          </a:bodyPr>
          <a:lstStyle>
            <a:lvl1pPr marL="609585" marR="0" lvl="0" indent="-304792" algn="l">
              <a:lnSpc>
                <a:spcPct val="100000"/>
              </a:lnSpc>
              <a:spcBef>
                <a:spcPts val="0"/>
              </a:spcBef>
              <a:spcAft>
                <a:spcPts val="0"/>
              </a:spcAft>
              <a:buClr>
                <a:schemeClr val="dk2"/>
              </a:buClr>
              <a:buSzPts val="900"/>
              <a:buFont typeface="Arial"/>
              <a:buNone/>
              <a:defRPr sz="1200" b="0" i="0" u="none" strike="noStrike" cap="none">
                <a:solidFill>
                  <a:schemeClr val="dk2"/>
                </a:solidFill>
                <a:latin typeface="Arial"/>
                <a:ea typeface="Arial"/>
                <a:cs typeface="Arial"/>
                <a:sym typeface="Arial"/>
              </a:defRPr>
            </a:lvl1pPr>
            <a:lvl2pPr marL="1219170" marR="0" lvl="1"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6pPr>
            <a:lvl7pPr marL="4267093" marR="0" lvl="6"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7pPr>
            <a:lvl8pPr marL="4876678" marR="0" lvl="7"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8pPr>
            <a:lvl9pPr marL="5486263" marR="0" lvl="8"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301" name="Google Shape;301;p30"/>
          <p:cNvSpPr txBox="1">
            <a:spLocks noGrp="1"/>
          </p:cNvSpPr>
          <p:nvPr>
            <p:ph type="title" idx="4"/>
          </p:nvPr>
        </p:nvSpPr>
        <p:spPr>
          <a:xfrm>
            <a:off x="803467" y="4325737"/>
            <a:ext cx="2324000" cy="750800"/>
          </a:xfrm>
          <a:prstGeom prst="rect">
            <a:avLst/>
          </a:prstGeom>
          <a:solidFill>
            <a:schemeClr val="accent4"/>
          </a:solidFill>
          <a:ln w="76200" cap="flat" cmpd="sng">
            <a:solidFill>
              <a:srgbClr val="E0E0DF"/>
            </a:solidFill>
            <a:prstDash val="solid"/>
            <a:miter lim="8000"/>
            <a:headEnd type="none" w="sm" len="sm"/>
            <a:tailEnd type="none" w="sm" len="sm"/>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000000"/>
              </a:buClr>
              <a:buSzPts val="1100"/>
              <a:buFont typeface="Arial"/>
              <a:buNone/>
              <a:defRPr sz="1467" b="1"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302" name="Google Shape;302;p30"/>
          <p:cNvSpPr txBox="1">
            <a:spLocks noGrp="1"/>
          </p:cNvSpPr>
          <p:nvPr>
            <p:ph type="body" idx="5"/>
          </p:nvPr>
        </p:nvSpPr>
        <p:spPr>
          <a:xfrm>
            <a:off x="3335531" y="5277767"/>
            <a:ext cx="4718000" cy="854800"/>
          </a:xfrm>
          <a:prstGeom prst="rect">
            <a:avLst/>
          </a:prstGeom>
          <a:solidFill>
            <a:schemeClr val="accent5"/>
          </a:solidFill>
          <a:ln>
            <a:noFill/>
          </a:ln>
        </p:spPr>
        <p:txBody>
          <a:bodyPr spcFirstLastPara="1" wrap="square" lIns="91425" tIns="91425" rIns="91425" bIns="91425" anchor="ctr" anchorCtr="0">
            <a:noAutofit/>
          </a:bodyPr>
          <a:lstStyle>
            <a:lvl1pPr marL="609585" marR="0" lvl="0" indent="-304792" algn="l">
              <a:lnSpc>
                <a:spcPct val="100000"/>
              </a:lnSpc>
              <a:spcBef>
                <a:spcPts val="0"/>
              </a:spcBef>
              <a:spcAft>
                <a:spcPts val="0"/>
              </a:spcAft>
              <a:buClr>
                <a:schemeClr val="dk2"/>
              </a:buClr>
              <a:buSzPts val="900"/>
              <a:buFont typeface="Arial"/>
              <a:buNone/>
              <a:defRPr sz="1200" b="0" i="0" u="none" strike="noStrike" cap="none">
                <a:solidFill>
                  <a:schemeClr val="dk2"/>
                </a:solidFill>
                <a:latin typeface="Arial"/>
                <a:ea typeface="Arial"/>
                <a:cs typeface="Arial"/>
                <a:sym typeface="Arial"/>
              </a:defRPr>
            </a:lvl1pPr>
            <a:lvl2pPr marL="1219170" marR="0" lvl="1"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2pPr>
            <a:lvl3pPr marL="1828754" marR="0" lvl="2"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3pPr>
            <a:lvl4pPr marL="2438339" marR="0" lvl="3"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4pPr>
            <a:lvl5pPr marL="3047924" marR="0" lvl="4"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5pPr>
            <a:lvl6pPr marL="3657509" marR="0" lvl="5"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6pPr>
            <a:lvl7pPr marL="4267093" marR="0" lvl="6"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7pPr>
            <a:lvl8pPr marL="4876678" marR="0" lvl="7"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8pPr>
            <a:lvl9pPr marL="5486263" marR="0" lvl="8" indent="-380990" algn="l">
              <a:lnSpc>
                <a:spcPct val="100000"/>
              </a:lnSpc>
              <a:spcBef>
                <a:spcPts val="0"/>
              </a:spcBef>
              <a:spcAft>
                <a:spcPts val="0"/>
              </a:spcAft>
              <a:buClr>
                <a:schemeClr val="dk2"/>
              </a:buClr>
              <a:buSzPts val="900"/>
              <a:buFont typeface="Arial"/>
              <a:buChar char="■"/>
              <a:defRPr sz="1200"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303" name="Google Shape;303;p30"/>
          <p:cNvSpPr txBox="1">
            <a:spLocks noGrp="1"/>
          </p:cNvSpPr>
          <p:nvPr>
            <p:ph type="title" idx="6"/>
          </p:nvPr>
        </p:nvSpPr>
        <p:spPr>
          <a:xfrm>
            <a:off x="803467" y="5329856"/>
            <a:ext cx="2324000" cy="750800"/>
          </a:xfrm>
          <a:prstGeom prst="rect">
            <a:avLst/>
          </a:prstGeom>
          <a:solidFill>
            <a:schemeClr val="accent4"/>
          </a:solidFill>
          <a:ln w="76200" cap="flat" cmpd="sng">
            <a:solidFill>
              <a:srgbClr val="E0E0DF"/>
            </a:solidFill>
            <a:prstDash val="solid"/>
            <a:miter lim="8000"/>
            <a:headEnd type="none" w="sm" len="sm"/>
            <a:tailEnd type="none" w="sm" len="sm"/>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000000"/>
              </a:buClr>
              <a:buSzPts val="1100"/>
              <a:buFont typeface="Arial"/>
              <a:buNone/>
              <a:defRPr sz="1467" b="1"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304" name="Google Shape;304;p30"/>
          <p:cNvSpPr txBox="1">
            <a:spLocks noGrp="1"/>
          </p:cNvSpPr>
          <p:nvPr>
            <p:ph type="title" idx="7"/>
          </p:nvPr>
        </p:nvSpPr>
        <p:spPr>
          <a:xfrm>
            <a:off x="803467" y="2317519"/>
            <a:ext cx="2324000" cy="750800"/>
          </a:xfrm>
          <a:prstGeom prst="rect">
            <a:avLst/>
          </a:prstGeom>
          <a:solidFill>
            <a:schemeClr val="accent4"/>
          </a:solidFill>
          <a:ln w="76200" cap="flat" cmpd="sng">
            <a:solidFill>
              <a:srgbClr val="E0E0DF"/>
            </a:solidFill>
            <a:prstDash val="solid"/>
            <a:miter lim="8000"/>
            <a:headEnd type="none" w="sm" len="sm"/>
            <a:tailEnd type="none" w="sm" len="sm"/>
          </a:ln>
        </p:spPr>
        <p:txBody>
          <a:bodyPr spcFirstLastPara="1" wrap="square" lIns="91425" tIns="91425" rIns="91425" bIns="91425" anchor="ctr" anchorCtr="0">
            <a:noAutofit/>
          </a:bodyPr>
          <a:lstStyle>
            <a:lvl1pPr marR="0" lvl="0" algn="l" rtl="0">
              <a:lnSpc>
                <a:spcPct val="100000"/>
              </a:lnSpc>
              <a:spcBef>
                <a:spcPts val="0"/>
              </a:spcBef>
              <a:spcAft>
                <a:spcPts val="0"/>
              </a:spcAft>
              <a:buClr>
                <a:srgbClr val="000000"/>
              </a:buClr>
              <a:buSzPts val="1100"/>
              <a:buFont typeface="Arial"/>
              <a:buNone/>
              <a:defRPr sz="1467" b="1"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300"/>
              <a:buFont typeface="Arial"/>
              <a:buNone/>
              <a:defRPr sz="1733"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305" name="Google Shape;305;p30"/>
          <p:cNvSpPr txBox="1">
            <a:spLocks noGrp="1"/>
          </p:cNvSpPr>
          <p:nvPr>
            <p:ph type="title" idx="8"/>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306" name="Google Shape;306;p30"/>
          <p:cNvSpPr txBox="1">
            <a:spLocks noGrp="1"/>
          </p:cNvSpPr>
          <p:nvPr>
            <p:ph type="subTitle" idx="9"/>
          </p:nvPr>
        </p:nvSpPr>
        <p:spPr>
          <a:xfrm>
            <a:off x="802400" y="1553300"/>
            <a:ext cx="10587200" cy="6860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307" name="Google Shape;307;p30"/>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308" name="Google Shape;308;p30"/>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310" name="Google Shape;310;p30"/>
          <p:cNvSpPr txBox="1">
            <a:spLocks noGrp="1"/>
          </p:cNvSpPr>
          <p:nvPr>
            <p:ph type="body" idx="13"/>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311" name="Google Shape;311;p30"/>
          <p:cNvSpPr txBox="1">
            <a:spLocks noGrp="1"/>
          </p:cNvSpPr>
          <p:nvPr>
            <p:ph type="body" idx="14"/>
          </p:nvPr>
        </p:nvSpPr>
        <p:spPr>
          <a:xfrm>
            <a:off x="8554387" y="2265396"/>
            <a:ext cx="2833392" cy="854800"/>
          </a:xfrm>
          <a:prstGeom prst="rect">
            <a:avLst/>
          </a:prstGeom>
          <a:solidFill>
            <a:schemeClr val="accent5"/>
          </a:solidFill>
          <a:ln>
            <a:noFill/>
          </a:ln>
        </p:spPr>
        <p:txBody>
          <a:bodyPr spcFirstLastPara="1" wrap="square" lIns="54000" tIns="45700" rIns="91425" bIns="45700" anchor="ctr" anchorCtr="0">
            <a:noAutofit/>
          </a:bodyPr>
          <a:lstStyle>
            <a:lvl1pPr marL="609585" marR="0" lvl="0"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12" name="Google Shape;312;p30"/>
          <p:cNvSpPr txBox="1">
            <a:spLocks noGrp="1"/>
          </p:cNvSpPr>
          <p:nvPr>
            <p:ph type="body" idx="15"/>
          </p:nvPr>
        </p:nvSpPr>
        <p:spPr>
          <a:xfrm>
            <a:off x="8554387" y="3269531"/>
            <a:ext cx="2833392" cy="854800"/>
          </a:xfrm>
          <a:prstGeom prst="rect">
            <a:avLst/>
          </a:prstGeom>
          <a:solidFill>
            <a:schemeClr val="accent5"/>
          </a:solidFill>
          <a:ln>
            <a:noFill/>
          </a:ln>
        </p:spPr>
        <p:txBody>
          <a:bodyPr spcFirstLastPara="1" wrap="square" lIns="54000" tIns="45700" rIns="91425" bIns="45700" anchor="ctr" anchorCtr="0">
            <a:noAutofit/>
          </a:bodyPr>
          <a:lstStyle>
            <a:lvl1pPr marL="609585" marR="0" lvl="0"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13" name="Google Shape;313;p30"/>
          <p:cNvSpPr txBox="1">
            <a:spLocks noGrp="1"/>
          </p:cNvSpPr>
          <p:nvPr>
            <p:ph type="body" idx="16"/>
          </p:nvPr>
        </p:nvSpPr>
        <p:spPr>
          <a:xfrm>
            <a:off x="8554387" y="4273664"/>
            <a:ext cx="2833392" cy="854800"/>
          </a:xfrm>
          <a:prstGeom prst="rect">
            <a:avLst/>
          </a:prstGeom>
          <a:solidFill>
            <a:schemeClr val="accent5"/>
          </a:solidFill>
          <a:ln>
            <a:noFill/>
          </a:ln>
        </p:spPr>
        <p:txBody>
          <a:bodyPr spcFirstLastPara="1" wrap="square" lIns="54000" tIns="45700" rIns="91425" bIns="45700" anchor="ctr" anchorCtr="0">
            <a:noAutofit/>
          </a:bodyPr>
          <a:lstStyle>
            <a:lvl1pPr marL="609585" marR="0" lvl="0"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14" name="Google Shape;314;p30"/>
          <p:cNvSpPr txBox="1">
            <a:spLocks noGrp="1"/>
          </p:cNvSpPr>
          <p:nvPr>
            <p:ph type="body" idx="17"/>
          </p:nvPr>
        </p:nvSpPr>
        <p:spPr>
          <a:xfrm>
            <a:off x="8554387" y="5277767"/>
            <a:ext cx="2833392" cy="844000"/>
          </a:xfrm>
          <a:prstGeom prst="rect">
            <a:avLst/>
          </a:prstGeom>
          <a:solidFill>
            <a:schemeClr val="accent5"/>
          </a:solidFill>
          <a:ln>
            <a:noFill/>
          </a:ln>
        </p:spPr>
        <p:txBody>
          <a:bodyPr spcFirstLastPara="1" wrap="square" lIns="54000" tIns="45700" rIns="91425" bIns="45700" anchor="ctr" anchorCtr="0">
            <a:noAutofit/>
          </a:bodyPr>
          <a:lstStyle>
            <a:lvl1pPr marL="609585" marR="0" lvl="0"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1" i="0" u="none" strike="noStrike" cap="none">
                <a:solidFill>
                  <a:schemeClr val="dk2"/>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20" name="Google Shape;95;p45">
            <a:extLst>
              <a:ext uri="{FF2B5EF4-FFF2-40B4-BE49-F238E27FC236}">
                <a16:creationId xmlns:a16="http://schemas.microsoft.com/office/drawing/2014/main" id="{75D810C4-0F8B-6F4F-9B50-D9E2153F91A6}"/>
              </a:ext>
            </a:extLst>
          </p:cNvPr>
          <p:cNvPicPr preferRelativeResize="0"/>
          <p:nvPr/>
        </p:nvPicPr>
        <p:blipFill>
          <a:blip r:embed="rId2"/>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48452469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Slide_11">
  <p:cSld name="Slide_11">
    <p:bg>
      <p:bgPr>
        <a:solidFill>
          <a:srgbClr val="FFFFFF"/>
        </a:solidFill>
        <a:effectLst/>
      </p:bgPr>
    </p:bg>
    <p:spTree>
      <p:nvGrpSpPr>
        <p:cNvPr id="1" name="Shape 315"/>
        <p:cNvGrpSpPr/>
        <p:nvPr/>
      </p:nvGrpSpPr>
      <p:grpSpPr>
        <a:xfrm>
          <a:off x="0" y="0"/>
          <a:ext cx="0" cy="0"/>
          <a:chOff x="0" y="0"/>
          <a:chExt cx="0" cy="0"/>
        </a:xfrm>
      </p:grpSpPr>
      <p:pic>
        <p:nvPicPr>
          <p:cNvPr id="316" name="Google Shape;316;p31"/>
          <p:cNvPicPr preferRelativeResize="0"/>
          <p:nvPr/>
        </p:nvPicPr>
        <p:blipFill rotWithShape="1">
          <a:blip r:embed="rId2">
            <a:alphaModFix/>
          </a:blip>
          <a:srcRect/>
          <a:stretch/>
        </p:blipFill>
        <p:spPr>
          <a:xfrm>
            <a:off x="-1428800" y="2844349"/>
            <a:ext cx="2560501" cy="2709799"/>
          </a:xfrm>
          <a:prstGeom prst="rect">
            <a:avLst/>
          </a:prstGeom>
          <a:noFill/>
          <a:ln>
            <a:noFill/>
          </a:ln>
        </p:spPr>
      </p:pic>
      <p:sp>
        <p:nvSpPr>
          <p:cNvPr id="317" name="Google Shape;317;p31"/>
          <p:cNvSpPr/>
          <p:nvPr/>
        </p:nvSpPr>
        <p:spPr>
          <a:xfrm rot="-430255">
            <a:off x="6920768" y="-7680083"/>
            <a:ext cx="9164483" cy="9168501"/>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sp>
        <p:nvSpPr>
          <p:cNvPr id="318" name="Google Shape;318;p31"/>
          <p:cNvSpPr txBox="1">
            <a:spLocks noGrp="1"/>
          </p:cNvSpPr>
          <p:nvPr>
            <p:ph type="title"/>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319" name="Google Shape;319;p31"/>
          <p:cNvSpPr txBox="1">
            <a:spLocks noGrp="1"/>
          </p:cNvSpPr>
          <p:nvPr>
            <p:ph type="subTitle" idx="1"/>
          </p:nvPr>
        </p:nvSpPr>
        <p:spPr>
          <a:xfrm>
            <a:off x="802400" y="1553300"/>
            <a:ext cx="10587200" cy="6860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320" name="Google Shape;320;p31"/>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321" name="Google Shape;321;p31"/>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323" name="Google Shape;323;p31"/>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324" name="Google Shape;324;p31"/>
          <p:cNvSpPr>
            <a:spLocks noGrp="1"/>
          </p:cNvSpPr>
          <p:nvPr>
            <p:ph type="pic" idx="3"/>
          </p:nvPr>
        </p:nvSpPr>
        <p:spPr>
          <a:xfrm>
            <a:off x="815120" y="2302492"/>
            <a:ext cx="1101600" cy="1103200"/>
          </a:xfrm>
          <a:prstGeom prst="ellipse">
            <a:avLst/>
          </a:prstGeom>
          <a:solidFill>
            <a:srgbClr val="F3F3F3"/>
          </a:solidFill>
          <a:ln w="9525" cap="rnd" cmpd="sng">
            <a:solidFill>
              <a:schemeClr val="accent1"/>
            </a:solidFill>
            <a:prstDash val="solid"/>
            <a:round/>
            <a:headEnd type="none" w="sm" len="sm"/>
            <a:tailEnd type="none" w="sm" len="sm"/>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9pPr>
          </a:lstStyle>
          <a:p>
            <a:r>
              <a:rPr lang="en-US"/>
              <a:t>Click icon to add picture</a:t>
            </a:r>
            <a:endParaRPr/>
          </a:p>
        </p:txBody>
      </p:sp>
      <p:sp>
        <p:nvSpPr>
          <p:cNvPr id="325" name="Google Shape;325;p31"/>
          <p:cNvSpPr>
            <a:spLocks noGrp="1"/>
          </p:cNvSpPr>
          <p:nvPr>
            <p:ph type="pic" idx="4"/>
          </p:nvPr>
        </p:nvSpPr>
        <p:spPr>
          <a:xfrm>
            <a:off x="4337147" y="2312860"/>
            <a:ext cx="1101600" cy="1103200"/>
          </a:xfrm>
          <a:prstGeom prst="ellipse">
            <a:avLst/>
          </a:prstGeom>
          <a:solidFill>
            <a:srgbClr val="F3F3F3"/>
          </a:solidFill>
          <a:ln w="9525" cap="rnd" cmpd="sng">
            <a:solidFill>
              <a:schemeClr val="accent1"/>
            </a:solidFill>
            <a:prstDash val="solid"/>
            <a:round/>
            <a:headEnd type="none" w="sm" len="sm"/>
            <a:tailEnd type="none" w="sm" len="sm"/>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9pPr>
          </a:lstStyle>
          <a:p>
            <a:r>
              <a:rPr lang="en-US"/>
              <a:t>Click icon to add picture</a:t>
            </a:r>
            <a:endParaRPr/>
          </a:p>
        </p:txBody>
      </p:sp>
      <p:sp>
        <p:nvSpPr>
          <p:cNvPr id="326" name="Google Shape;326;p31"/>
          <p:cNvSpPr>
            <a:spLocks noGrp="1"/>
          </p:cNvSpPr>
          <p:nvPr>
            <p:ph type="pic" idx="5"/>
          </p:nvPr>
        </p:nvSpPr>
        <p:spPr>
          <a:xfrm>
            <a:off x="7859184" y="2327855"/>
            <a:ext cx="1101600" cy="1103200"/>
          </a:xfrm>
          <a:prstGeom prst="ellipse">
            <a:avLst/>
          </a:prstGeom>
          <a:solidFill>
            <a:srgbClr val="F3F3F3"/>
          </a:solidFill>
          <a:ln w="9525" cap="rnd" cmpd="sng">
            <a:solidFill>
              <a:schemeClr val="accent1"/>
            </a:solidFill>
            <a:prstDash val="solid"/>
            <a:round/>
            <a:headEnd type="none" w="sm" len="sm"/>
            <a:tailEnd type="none" w="sm" len="sm"/>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9pPr>
          </a:lstStyle>
          <a:p>
            <a:r>
              <a:rPr lang="en-US"/>
              <a:t>Click icon to add picture</a:t>
            </a:r>
            <a:endParaRPr/>
          </a:p>
        </p:txBody>
      </p:sp>
      <p:sp>
        <p:nvSpPr>
          <p:cNvPr id="327" name="Google Shape;327;p31"/>
          <p:cNvSpPr txBox="1">
            <a:spLocks noGrp="1"/>
          </p:cNvSpPr>
          <p:nvPr>
            <p:ph type="body" idx="6"/>
          </p:nvPr>
        </p:nvSpPr>
        <p:spPr>
          <a:xfrm>
            <a:off x="800100" y="3526051"/>
            <a:ext cx="3532000" cy="2606000"/>
          </a:xfrm>
          <a:prstGeom prst="rect">
            <a:avLst/>
          </a:prstGeom>
          <a:noFill/>
          <a:ln>
            <a:noFill/>
          </a:ln>
        </p:spPr>
        <p:txBody>
          <a:bodyPr spcFirstLastPara="1" wrap="square" lIns="0" tIns="0" rIns="54000"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28" name="Google Shape;328;p31"/>
          <p:cNvSpPr txBox="1">
            <a:spLocks noGrp="1"/>
          </p:cNvSpPr>
          <p:nvPr>
            <p:ph type="body" idx="7"/>
          </p:nvPr>
        </p:nvSpPr>
        <p:spPr>
          <a:xfrm>
            <a:off x="4344287" y="3526051"/>
            <a:ext cx="3532000" cy="2606000"/>
          </a:xfrm>
          <a:prstGeom prst="rect">
            <a:avLst/>
          </a:prstGeom>
          <a:noFill/>
          <a:ln>
            <a:noFill/>
          </a:ln>
        </p:spPr>
        <p:txBody>
          <a:bodyPr spcFirstLastPara="1" wrap="square" lIns="0" tIns="0" rIns="54000"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29" name="Google Shape;329;p31"/>
          <p:cNvSpPr txBox="1">
            <a:spLocks noGrp="1"/>
          </p:cNvSpPr>
          <p:nvPr>
            <p:ph type="body" idx="8"/>
          </p:nvPr>
        </p:nvSpPr>
        <p:spPr>
          <a:xfrm>
            <a:off x="7869571" y="3526051"/>
            <a:ext cx="3532000" cy="2606000"/>
          </a:xfrm>
          <a:prstGeom prst="rect">
            <a:avLst/>
          </a:prstGeom>
          <a:noFill/>
          <a:ln>
            <a:noFill/>
          </a:ln>
        </p:spPr>
        <p:txBody>
          <a:bodyPr spcFirstLastPara="1" wrap="square" lIns="0" tIns="0" rIns="54000" bIns="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30" name="Google Shape;330;p31"/>
          <p:cNvSpPr txBox="1">
            <a:spLocks noGrp="1"/>
          </p:cNvSpPr>
          <p:nvPr>
            <p:ph type="body" idx="9"/>
          </p:nvPr>
        </p:nvSpPr>
        <p:spPr>
          <a:xfrm>
            <a:off x="1916763" y="2373735"/>
            <a:ext cx="2298400" cy="365200"/>
          </a:xfrm>
          <a:prstGeom prst="rect">
            <a:avLst/>
          </a:prstGeom>
          <a:noFill/>
          <a:ln>
            <a:noFill/>
          </a:ln>
        </p:spPr>
        <p:txBody>
          <a:bodyPr spcFirstLastPara="1" wrap="square" lIns="91425" tIns="45700" rIns="91425" bIns="45700" anchor="t" anchorCtr="0">
            <a:noAutofit/>
          </a:bodyPr>
          <a:lstStyle>
            <a:lvl1pPr marL="191995" marR="0" lvl="0" indent="0" algn="l">
              <a:lnSpc>
                <a:spcPct val="100000"/>
              </a:lnSpc>
              <a:spcBef>
                <a:spcPts val="0"/>
              </a:spcBef>
              <a:spcAft>
                <a:spcPts val="0"/>
              </a:spcAft>
              <a:buClr>
                <a:srgbClr val="000000"/>
              </a:buClr>
              <a:buSzPts val="1400"/>
              <a:buFont typeface="Arial"/>
              <a:buNone/>
              <a:defRPr sz="1467" b="1"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31" name="Google Shape;331;p31"/>
          <p:cNvSpPr txBox="1">
            <a:spLocks noGrp="1"/>
          </p:cNvSpPr>
          <p:nvPr>
            <p:ph type="body" idx="13"/>
          </p:nvPr>
        </p:nvSpPr>
        <p:spPr>
          <a:xfrm>
            <a:off x="1916763" y="2908108"/>
            <a:ext cx="2298400" cy="365200"/>
          </a:xfrm>
          <a:prstGeom prst="rect">
            <a:avLst/>
          </a:prstGeom>
          <a:noFill/>
          <a:ln>
            <a:noFill/>
          </a:ln>
        </p:spPr>
        <p:txBody>
          <a:bodyPr spcFirstLastPara="1" wrap="square" lIns="91425" tIns="45700" rIns="91425" bIns="45700" anchor="t" anchorCtr="0">
            <a:noAutofit/>
          </a:bodyPr>
          <a:lstStyle>
            <a:lvl1pPr marL="191995" marR="0" lvl="0" indent="0" algn="l">
              <a:lnSpc>
                <a:spcPct val="100000"/>
              </a:lnSpc>
              <a:spcBef>
                <a:spcPts val="0"/>
              </a:spcBef>
              <a:spcAft>
                <a:spcPts val="0"/>
              </a:spcAft>
              <a:buClr>
                <a:srgbClr val="000000"/>
              </a:buClr>
              <a:buSzPts val="1400"/>
              <a:buFont typeface="Arial"/>
              <a:buNone/>
              <a:defRPr sz="1333" b="0" i="1"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32" name="Google Shape;332;p31"/>
          <p:cNvSpPr txBox="1">
            <a:spLocks noGrp="1"/>
          </p:cNvSpPr>
          <p:nvPr>
            <p:ph type="body" idx="14"/>
          </p:nvPr>
        </p:nvSpPr>
        <p:spPr>
          <a:xfrm>
            <a:off x="5438800" y="2373735"/>
            <a:ext cx="2298400" cy="365200"/>
          </a:xfrm>
          <a:prstGeom prst="rect">
            <a:avLst/>
          </a:prstGeom>
          <a:noFill/>
          <a:ln>
            <a:noFill/>
          </a:ln>
        </p:spPr>
        <p:txBody>
          <a:bodyPr spcFirstLastPara="1" wrap="square" lIns="91425" tIns="45700" rIns="91425" bIns="45700" anchor="t" anchorCtr="0">
            <a:noAutofit/>
          </a:bodyPr>
          <a:lstStyle>
            <a:lvl1pPr marL="191995" marR="0" lvl="0" indent="0" algn="l">
              <a:lnSpc>
                <a:spcPct val="100000"/>
              </a:lnSpc>
              <a:spcBef>
                <a:spcPts val="0"/>
              </a:spcBef>
              <a:spcAft>
                <a:spcPts val="0"/>
              </a:spcAft>
              <a:buClr>
                <a:srgbClr val="000000"/>
              </a:buClr>
              <a:buSzPts val="1400"/>
              <a:buFont typeface="Arial"/>
              <a:buNone/>
              <a:defRPr sz="1467" b="1"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33" name="Google Shape;333;p31"/>
          <p:cNvSpPr txBox="1">
            <a:spLocks noGrp="1"/>
          </p:cNvSpPr>
          <p:nvPr>
            <p:ph type="body" idx="15"/>
          </p:nvPr>
        </p:nvSpPr>
        <p:spPr>
          <a:xfrm>
            <a:off x="5438800" y="2908108"/>
            <a:ext cx="2298400" cy="365200"/>
          </a:xfrm>
          <a:prstGeom prst="rect">
            <a:avLst/>
          </a:prstGeom>
          <a:noFill/>
          <a:ln>
            <a:noFill/>
          </a:ln>
        </p:spPr>
        <p:txBody>
          <a:bodyPr spcFirstLastPara="1" wrap="square" lIns="91425" tIns="45700" rIns="91425" bIns="45700" anchor="t" anchorCtr="0">
            <a:noAutofit/>
          </a:bodyPr>
          <a:lstStyle>
            <a:lvl1pPr marL="191995" marR="0" lvl="0" indent="0" algn="l">
              <a:lnSpc>
                <a:spcPct val="100000"/>
              </a:lnSpc>
              <a:spcBef>
                <a:spcPts val="0"/>
              </a:spcBef>
              <a:spcAft>
                <a:spcPts val="0"/>
              </a:spcAft>
              <a:buClr>
                <a:srgbClr val="000000"/>
              </a:buClr>
              <a:buSzPts val="1400"/>
              <a:buFont typeface="Arial"/>
              <a:buNone/>
              <a:defRPr sz="1333" b="0" i="1"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34" name="Google Shape;334;p31"/>
          <p:cNvSpPr txBox="1">
            <a:spLocks noGrp="1"/>
          </p:cNvSpPr>
          <p:nvPr>
            <p:ph type="body" idx="16"/>
          </p:nvPr>
        </p:nvSpPr>
        <p:spPr>
          <a:xfrm>
            <a:off x="8960837" y="2373735"/>
            <a:ext cx="2298400" cy="365200"/>
          </a:xfrm>
          <a:prstGeom prst="rect">
            <a:avLst/>
          </a:prstGeom>
          <a:noFill/>
          <a:ln>
            <a:noFill/>
          </a:ln>
        </p:spPr>
        <p:txBody>
          <a:bodyPr spcFirstLastPara="1" wrap="square" lIns="91425" tIns="45700" rIns="91425" bIns="45700" anchor="t" anchorCtr="0">
            <a:noAutofit/>
          </a:bodyPr>
          <a:lstStyle>
            <a:lvl1pPr marL="191995" marR="0" lvl="0" indent="0" algn="l">
              <a:lnSpc>
                <a:spcPct val="100000"/>
              </a:lnSpc>
              <a:spcBef>
                <a:spcPts val="0"/>
              </a:spcBef>
              <a:spcAft>
                <a:spcPts val="0"/>
              </a:spcAft>
              <a:buClr>
                <a:srgbClr val="000000"/>
              </a:buClr>
              <a:buSzPts val="1400"/>
              <a:buFont typeface="Arial"/>
              <a:buNone/>
              <a:defRPr sz="1467" b="1"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35" name="Google Shape;335;p31"/>
          <p:cNvSpPr txBox="1">
            <a:spLocks noGrp="1"/>
          </p:cNvSpPr>
          <p:nvPr>
            <p:ph type="body" idx="17"/>
          </p:nvPr>
        </p:nvSpPr>
        <p:spPr>
          <a:xfrm>
            <a:off x="8960837" y="2908108"/>
            <a:ext cx="2298400" cy="365200"/>
          </a:xfrm>
          <a:prstGeom prst="rect">
            <a:avLst/>
          </a:prstGeom>
          <a:noFill/>
          <a:ln>
            <a:noFill/>
          </a:ln>
        </p:spPr>
        <p:txBody>
          <a:bodyPr spcFirstLastPara="1" wrap="square" lIns="91425" tIns="45700" rIns="91425" bIns="45700" anchor="t" anchorCtr="0">
            <a:noAutofit/>
          </a:bodyPr>
          <a:lstStyle>
            <a:lvl1pPr marL="191995" marR="0" lvl="0" indent="0" algn="l">
              <a:lnSpc>
                <a:spcPct val="100000"/>
              </a:lnSpc>
              <a:spcBef>
                <a:spcPts val="0"/>
              </a:spcBef>
              <a:spcAft>
                <a:spcPts val="0"/>
              </a:spcAft>
              <a:buClr>
                <a:srgbClr val="000000"/>
              </a:buClr>
              <a:buSzPts val="1400"/>
              <a:buFont typeface="Arial"/>
              <a:buNone/>
              <a:defRPr sz="1333" b="0" i="1"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22" name="Google Shape;95;p45">
            <a:extLst>
              <a:ext uri="{FF2B5EF4-FFF2-40B4-BE49-F238E27FC236}">
                <a16:creationId xmlns:a16="http://schemas.microsoft.com/office/drawing/2014/main" id="{A0B3E901-459A-C24C-956C-AFD9A5697BE3}"/>
              </a:ext>
            </a:extLst>
          </p:cNvPr>
          <p:cNvPicPr preferRelativeResize="0"/>
          <p:nvPr/>
        </p:nvPicPr>
        <p:blipFill>
          <a:blip r:embed="rId3"/>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244732976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Slide_13">
  <p:cSld name="Slide_13">
    <p:bg>
      <p:bgPr>
        <a:solidFill>
          <a:srgbClr val="FFFFFF"/>
        </a:solidFill>
        <a:effectLst/>
      </p:bgPr>
    </p:bg>
    <p:spTree>
      <p:nvGrpSpPr>
        <p:cNvPr id="1" name="Shape 336"/>
        <p:cNvGrpSpPr/>
        <p:nvPr/>
      </p:nvGrpSpPr>
      <p:grpSpPr>
        <a:xfrm>
          <a:off x="0" y="0"/>
          <a:ext cx="0" cy="0"/>
          <a:chOff x="0" y="0"/>
          <a:chExt cx="0" cy="0"/>
        </a:xfrm>
      </p:grpSpPr>
      <p:sp>
        <p:nvSpPr>
          <p:cNvPr id="337" name="Google Shape;337;p32"/>
          <p:cNvSpPr txBox="1">
            <a:spLocks noGrp="1"/>
          </p:cNvSpPr>
          <p:nvPr>
            <p:ph type="body" idx="1"/>
          </p:nvPr>
        </p:nvSpPr>
        <p:spPr>
          <a:xfrm>
            <a:off x="6096000" y="719667"/>
            <a:ext cx="5291200" cy="5412500"/>
          </a:xfrm>
          <a:prstGeom prst="rect">
            <a:avLst/>
          </a:prstGeom>
          <a:solidFill>
            <a:schemeClr val="accent4"/>
          </a:solidFill>
          <a:ln>
            <a:noFill/>
          </a:ln>
        </p:spPr>
        <p:txBody>
          <a:bodyPr spcFirstLastPara="1" wrap="square" lIns="91425" tIns="45700" rIns="91425" bIns="45700" anchor="ctr" anchorCtr="0">
            <a:noAutofit/>
          </a:bodyPr>
          <a:lstStyle>
            <a:lvl1pPr marL="609585" marR="0" lvl="0" indent="-304792" algn="ctr">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38" name="Google Shape;338;p32"/>
          <p:cNvSpPr txBox="1">
            <a:spLocks noGrp="1"/>
          </p:cNvSpPr>
          <p:nvPr>
            <p:ph type="body" idx="2"/>
          </p:nvPr>
        </p:nvSpPr>
        <p:spPr>
          <a:xfrm>
            <a:off x="799475" y="719667"/>
            <a:ext cx="5291200" cy="5412500"/>
          </a:xfrm>
          <a:prstGeom prst="rect">
            <a:avLst/>
          </a:prstGeom>
          <a:solidFill>
            <a:schemeClr val="accent5"/>
          </a:solidFill>
          <a:ln>
            <a:noFill/>
          </a:ln>
        </p:spPr>
        <p:txBody>
          <a:bodyPr spcFirstLastPara="1" wrap="square" lIns="91425" tIns="45700" rIns="91425" bIns="45700" anchor="ctr" anchorCtr="0">
            <a:noAutofit/>
          </a:bodyPr>
          <a:lstStyle>
            <a:lvl1pPr marL="609585" marR="0" lvl="0" indent="-304792" algn="ctr">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600" b="1"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339" name="Google Shape;339;p32"/>
          <p:cNvPicPr preferRelativeResize="0"/>
          <p:nvPr/>
        </p:nvPicPr>
        <p:blipFill rotWithShape="1">
          <a:blip r:embed="rId2">
            <a:alphaModFix/>
          </a:blip>
          <a:srcRect/>
          <a:stretch/>
        </p:blipFill>
        <p:spPr>
          <a:xfrm>
            <a:off x="5705482" y="3038475"/>
            <a:ext cx="781051" cy="781051"/>
          </a:xfrm>
          <a:prstGeom prst="rect">
            <a:avLst/>
          </a:prstGeom>
          <a:noFill/>
          <a:ln>
            <a:noFill/>
          </a:ln>
        </p:spPr>
      </p:pic>
      <p:sp>
        <p:nvSpPr>
          <p:cNvPr id="340" name="Google Shape;340;p32"/>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341" name="Google Shape;341;p32"/>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343" name="Google Shape;343;p32"/>
          <p:cNvSpPr txBox="1">
            <a:spLocks noGrp="1"/>
          </p:cNvSpPr>
          <p:nvPr>
            <p:ph type="body" idx="3"/>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pic>
        <p:nvPicPr>
          <p:cNvPr id="9" name="Google Shape;95;p45">
            <a:extLst>
              <a:ext uri="{FF2B5EF4-FFF2-40B4-BE49-F238E27FC236}">
                <a16:creationId xmlns:a16="http://schemas.microsoft.com/office/drawing/2014/main" id="{A7B9F28C-ED35-D04D-BC89-955F19073446}"/>
              </a:ext>
            </a:extLst>
          </p:cNvPr>
          <p:cNvPicPr preferRelativeResize="0"/>
          <p:nvPr/>
        </p:nvPicPr>
        <p:blipFill>
          <a:blip r:embed="rId3"/>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34037426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el en object">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609600" y="2011681"/>
            <a:ext cx="10972800" cy="413734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200000" y="6400801"/>
            <a:ext cx="916667" cy="276224"/>
          </a:xfrm>
        </p:spPr>
        <p:txBody>
          <a:bodyPr/>
          <a:lstStyle/>
          <a:p>
            <a:fld id="{71616274-4FE1-42A0-958E-4F8D8C016092}"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tel 1"/>
          <p:cNvSpPr>
            <a:spLocks noGrp="1"/>
          </p:cNvSpPr>
          <p:nvPr>
            <p:ph type="title" hasCustomPrompt="1"/>
          </p:nvPr>
        </p:nvSpPr>
        <p:spPr>
          <a:xfrm>
            <a:off x="609600" y="1183176"/>
            <a:ext cx="10972800" cy="517632"/>
          </a:xfrm>
        </p:spPr>
        <p:txBody>
          <a:bodyPr tIns="0" bIns="0"/>
          <a:lstStyle/>
          <a:p>
            <a:r>
              <a:rPr lang="en-US" dirty="0"/>
              <a:t>This is the title</a:t>
            </a:r>
            <a:endParaRPr lang="nl-BE" dirty="0"/>
          </a:p>
        </p:txBody>
      </p:sp>
      <p:sp>
        <p:nvSpPr>
          <p:cNvPr id="10" name="Tijdelijke aanduiding voor inhoud 2"/>
          <p:cNvSpPr>
            <a:spLocks noGrp="1"/>
          </p:cNvSpPr>
          <p:nvPr>
            <p:ph idx="13"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dirty="0"/>
              <a:t>This is the subtitle</a:t>
            </a:r>
          </a:p>
        </p:txBody>
      </p:sp>
    </p:spTree>
    <p:extLst>
      <p:ext uri="{BB962C8B-B14F-4D97-AF65-F5344CB8AC3E}">
        <p14:creationId xmlns:p14="http://schemas.microsoft.com/office/powerpoint/2010/main" val="2624127992"/>
      </p:ext>
    </p:extLst>
  </p:cSld>
  <p:clrMapOvr>
    <a:masterClrMapping/>
  </p:clrMapOvr>
  <p:extLst>
    <p:ext uri="{DCECCB84-F9BA-43D5-87BE-67443E8EF086}">
      <p15:sldGuideLst xmlns:p15="http://schemas.microsoft.com/office/powerpoint/2012/main">
        <p15:guide id="1" orient="horz" pos="1253" userDrawn="1">
          <p15:clr>
            <a:srgbClr val="FBAE40"/>
          </p15:clr>
        </p15:guide>
        <p15:guide id="2" pos="3840"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Slide_14">
  <p:cSld name="Slide_14">
    <p:bg>
      <p:bgPr>
        <a:solidFill>
          <a:srgbClr val="FFFFFF"/>
        </a:solidFill>
        <a:effectLst/>
      </p:bgPr>
    </p:bg>
    <p:spTree>
      <p:nvGrpSpPr>
        <p:cNvPr id="1" name="Shape 344"/>
        <p:cNvGrpSpPr/>
        <p:nvPr/>
      </p:nvGrpSpPr>
      <p:grpSpPr>
        <a:xfrm>
          <a:off x="0" y="0"/>
          <a:ext cx="0" cy="0"/>
          <a:chOff x="0" y="0"/>
          <a:chExt cx="0" cy="0"/>
        </a:xfrm>
      </p:grpSpPr>
      <p:sp>
        <p:nvSpPr>
          <p:cNvPr id="345" name="Google Shape;345;p33"/>
          <p:cNvSpPr txBox="1">
            <a:spLocks noGrp="1"/>
          </p:cNvSpPr>
          <p:nvPr>
            <p:ph type="body" idx="1"/>
          </p:nvPr>
        </p:nvSpPr>
        <p:spPr>
          <a:xfrm>
            <a:off x="7863983" y="2249293"/>
            <a:ext cx="3524205" cy="3892800"/>
          </a:xfrm>
          <a:prstGeom prst="rect">
            <a:avLst/>
          </a:prstGeom>
          <a:noFill/>
          <a:ln>
            <a:noFill/>
          </a:ln>
        </p:spPr>
        <p:txBody>
          <a:bodyPr spcFirstLastPara="1" wrap="square" lIns="54000" tIns="0" rIns="54000" bIns="0" anchor="ctr" anchorCtr="0">
            <a:noAutofit/>
          </a:bodyPr>
          <a:lstStyle>
            <a:lvl1pPr marL="609585" marR="0" lvl="0" indent="-304792" algn="ctr">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46" name="Google Shape;346;p33"/>
          <p:cNvSpPr txBox="1">
            <a:spLocks noGrp="1"/>
          </p:cNvSpPr>
          <p:nvPr>
            <p:ph type="body" idx="2"/>
          </p:nvPr>
        </p:nvSpPr>
        <p:spPr>
          <a:xfrm>
            <a:off x="4336531" y="2249293"/>
            <a:ext cx="3518707" cy="3892800"/>
          </a:xfrm>
          <a:prstGeom prst="rect">
            <a:avLst/>
          </a:prstGeom>
          <a:noFill/>
          <a:ln>
            <a:noFill/>
          </a:ln>
        </p:spPr>
        <p:txBody>
          <a:bodyPr spcFirstLastPara="1" wrap="square" lIns="54000" tIns="0" rIns="54000" bIns="0" anchor="ctr" anchorCtr="0">
            <a:noAutofit/>
          </a:bodyPr>
          <a:lstStyle>
            <a:lvl1pPr marL="609585" marR="0" lvl="0" indent="-304792" algn="ctr">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47" name="Google Shape;347;p33"/>
          <p:cNvSpPr txBox="1">
            <a:spLocks noGrp="1"/>
          </p:cNvSpPr>
          <p:nvPr>
            <p:ph type="body" idx="3"/>
          </p:nvPr>
        </p:nvSpPr>
        <p:spPr>
          <a:xfrm>
            <a:off x="809079" y="2249293"/>
            <a:ext cx="3518707" cy="3892800"/>
          </a:xfrm>
          <a:prstGeom prst="rect">
            <a:avLst/>
          </a:prstGeom>
          <a:noFill/>
          <a:ln>
            <a:noFill/>
          </a:ln>
        </p:spPr>
        <p:txBody>
          <a:bodyPr spcFirstLastPara="1" wrap="square" lIns="54000" tIns="0" rIns="54000" bIns="0" anchor="ctr" anchorCtr="0">
            <a:noAutofit/>
          </a:bodyPr>
          <a:lstStyle>
            <a:lvl1pPr marL="609585" marR="0" lvl="0" indent="-304792" algn="ctr">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348" name="Google Shape;348;p33"/>
          <p:cNvPicPr preferRelativeResize="0"/>
          <p:nvPr/>
        </p:nvPicPr>
        <p:blipFill rotWithShape="1">
          <a:blip r:embed="rId2">
            <a:alphaModFix/>
          </a:blip>
          <a:srcRect/>
          <a:stretch/>
        </p:blipFill>
        <p:spPr>
          <a:xfrm>
            <a:off x="3941749" y="3749676"/>
            <a:ext cx="781051" cy="781049"/>
          </a:xfrm>
          <a:prstGeom prst="rect">
            <a:avLst/>
          </a:prstGeom>
          <a:noFill/>
          <a:ln>
            <a:noFill/>
          </a:ln>
        </p:spPr>
      </p:pic>
      <p:pic>
        <p:nvPicPr>
          <p:cNvPr id="349" name="Google Shape;349;p33"/>
          <p:cNvPicPr preferRelativeResize="0"/>
          <p:nvPr/>
        </p:nvPicPr>
        <p:blipFill rotWithShape="1">
          <a:blip r:embed="rId3">
            <a:alphaModFix/>
          </a:blip>
          <a:srcRect/>
          <a:stretch/>
        </p:blipFill>
        <p:spPr>
          <a:xfrm>
            <a:off x="7469240" y="3809999"/>
            <a:ext cx="781049" cy="660400"/>
          </a:xfrm>
          <a:prstGeom prst="rect">
            <a:avLst/>
          </a:prstGeom>
          <a:noFill/>
          <a:ln>
            <a:noFill/>
          </a:ln>
        </p:spPr>
      </p:pic>
      <p:sp>
        <p:nvSpPr>
          <p:cNvPr id="350" name="Google Shape;350;p33"/>
          <p:cNvSpPr txBox="1">
            <a:spLocks noGrp="1"/>
          </p:cNvSpPr>
          <p:nvPr>
            <p:ph type="title"/>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351" name="Google Shape;351;p33"/>
          <p:cNvSpPr txBox="1">
            <a:spLocks noGrp="1"/>
          </p:cNvSpPr>
          <p:nvPr>
            <p:ph type="subTitle" idx="4"/>
          </p:nvPr>
        </p:nvSpPr>
        <p:spPr>
          <a:xfrm>
            <a:off x="802400" y="1553300"/>
            <a:ext cx="10587200" cy="6860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352" name="Google Shape;352;p33"/>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353" name="Google Shape;353;p33"/>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355" name="Google Shape;355;p33"/>
          <p:cNvSpPr txBox="1">
            <a:spLocks noGrp="1"/>
          </p:cNvSpPr>
          <p:nvPr>
            <p:ph type="body" idx="5"/>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pic>
        <p:nvPicPr>
          <p:cNvPr id="13" name="Google Shape;95;p45">
            <a:extLst>
              <a:ext uri="{FF2B5EF4-FFF2-40B4-BE49-F238E27FC236}">
                <a16:creationId xmlns:a16="http://schemas.microsoft.com/office/drawing/2014/main" id="{68ED96C6-27F5-6A4F-933F-B364CC6DD6CB}"/>
              </a:ext>
            </a:extLst>
          </p:cNvPr>
          <p:cNvPicPr preferRelativeResize="0"/>
          <p:nvPr/>
        </p:nvPicPr>
        <p:blipFill>
          <a:blip r:embed="rId4"/>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1308733341"/>
      </p:ext>
    </p:extLst>
  </p:cSld>
  <p:clrMapOvr>
    <a:masterClrMapping/>
  </p:clrMapOvr>
  <p:extLst>
    <p:ext uri="{DCECCB84-F9BA-43D5-87BE-67443E8EF086}">
      <p15:sldGuideLst xmlns:p15="http://schemas.microsoft.com/office/powerpoint/2012/main">
        <p15:guide id="1" orient="horz" pos="1977">
          <p15:clr>
            <a:srgbClr val="FA7B17"/>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Slide_15">
  <p:cSld name="Slide_15">
    <p:bg>
      <p:bgPr>
        <a:solidFill>
          <a:srgbClr val="FFFFFF"/>
        </a:solidFill>
        <a:effectLst/>
      </p:bgPr>
    </p:bg>
    <p:spTree>
      <p:nvGrpSpPr>
        <p:cNvPr id="1" name="Shape 356"/>
        <p:cNvGrpSpPr/>
        <p:nvPr/>
      </p:nvGrpSpPr>
      <p:grpSpPr>
        <a:xfrm>
          <a:off x="0" y="0"/>
          <a:ext cx="0" cy="0"/>
          <a:chOff x="0" y="0"/>
          <a:chExt cx="0" cy="0"/>
        </a:xfrm>
      </p:grpSpPr>
      <p:sp>
        <p:nvSpPr>
          <p:cNvPr id="357" name="Google Shape;357;p34"/>
          <p:cNvSpPr/>
          <p:nvPr/>
        </p:nvSpPr>
        <p:spPr>
          <a:xfrm>
            <a:off x="6096000" y="-76200"/>
            <a:ext cx="6324400" cy="7036000"/>
          </a:xfrm>
          <a:prstGeom prst="rect">
            <a:avLst/>
          </a:prstGeom>
          <a:solidFill>
            <a:schemeClr val="accent5"/>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FFFFFF"/>
              </a:solidFill>
              <a:latin typeface="Arial"/>
              <a:ea typeface="Arial"/>
              <a:cs typeface="Arial"/>
              <a:sym typeface="Arial"/>
            </a:endParaRPr>
          </a:p>
        </p:txBody>
      </p:sp>
      <p:pic>
        <p:nvPicPr>
          <p:cNvPr id="358" name="Google Shape;358;p34"/>
          <p:cNvPicPr preferRelativeResize="0"/>
          <p:nvPr/>
        </p:nvPicPr>
        <p:blipFill rotWithShape="1">
          <a:blip r:embed="rId2">
            <a:alphaModFix/>
          </a:blip>
          <a:srcRect/>
          <a:stretch/>
        </p:blipFill>
        <p:spPr>
          <a:xfrm rot="-5400000">
            <a:off x="5705622" y="3914606"/>
            <a:ext cx="780757" cy="542195"/>
          </a:xfrm>
          <a:prstGeom prst="rect">
            <a:avLst/>
          </a:prstGeom>
          <a:noFill/>
          <a:ln>
            <a:noFill/>
          </a:ln>
        </p:spPr>
      </p:pic>
      <p:sp>
        <p:nvSpPr>
          <p:cNvPr id="359" name="Google Shape;359;p34"/>
          <p:cNvSpPr txBox="1">
            <a:spLocks noGrp="1"/>
          </p:cNvSpPr>
          <p:nvPr>
            <p:ph type="title"/>
          </p:nvPr>
        </p:nvSpPr>
        <p:spPr>
          <a:xfrm>
            <a:off x="800100" y="698500"/>
            <a:ext cx="10587200" cy="8548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360" name="Google Shape;360;p34"/>
          <p:cNvSpPr txBox="1">
            <a:spLocks noGrp="1"/>
          </p:cNvSpPr>
          <p:nvPr>
            <p:ph type="subTitle" idx="1"/>
          </p:nvPr>
        </p:nvSpPr>
        <p:spPr>
          <a:xfrm>
            <a:off x="802400" y="1553300"/>
            <a:ext cx="10587200" cy="6860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361" name="Google Shape;361;p34"/>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363" name="Google Shape;363;p34"/>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364" name="Google Shape;364;p34"/>
          <p:cNvSpPr txBox="1">
            <a:spLocks noGrp="1"/>
          </p:cNvSpPr>
          <p:nvPr>
            <p:ph type="body" idx="3"/>
          </p:nvPr>
        </p:nvSpPr>
        <p:spPr>
          <a:xfrm>
            <a:off x="804333" y="2239299"/>
            <a:ext cx="5291432" cy="3892800"/>
          </a:xfrm>
          <a:prstGeom prst="rect">
            <a:avLst/>
          </a:prstGeom>
          <a:noFill/>
          <a:ln>
            <a:noFill/>
          </a:ln>
        </p:spPr>
        <p:txBody>
          <a:bodyPr spcFirstLastPara="1" wrap="square" lIns="91425" tIns="0" rIns="72000" bIns="0" anchor="ctr" anchorCtr="0">
            <a:noAutofit/>
          </a:bodyPr>
          <a:lstStyle>
            <a:lvl1pPr marL="609585" marR="0" lvl="0" indent="-304792" algn="ctr">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65" name="Google Shape;365;p34"/>
          <p:cNvSpPr txBox="1">
            <a:spLocks noGrp="1"/>
          </p:cNvSpPr>
          <p:nvPr>
            <p:ph type="body" idx="4"/>
          </p:nvPr>
        </p:nvSpPr>
        <p:spPr>
          <a:xfrm>
            <a:off x="6096000" y="2239299"/>
            <a:ext cx="5293365" cy="3892800"/>
          </a:xfrm>
          <a:prstGeom prst="rect">
            <a:avLst/>
          </a:prstGeom>
          <a:noFill/>
          <a:ln>
            <a:noFill/>
          </a:ln>
        </p:spPr>
        <p:txBody>
          <a:bodyPr spcFirstLastPara="1" wrap="square" lIns="91425" tIns="0" rIns="72000" bIns="0" anchor="ctr" anchorCtr="0">
            <a:noAutofit/>
          </a:bodyPr>
          <a:lstStyle>
            <a:lvl1pPr marL="609585" marR="0" lvl="0" indent="-304792" algn="ctr">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366" name="Google Shape;366;p34"/>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pic>
        <p:nvPicPr>
          <p:cNvPr id="12" name="Google Shape;95;p45">
            <a:extLst>
              <a:ext uri="{FF2B5EF4-FFF2-40B4-BE49-F238E27FC236}">
                <a16:creationId xmlns:a16="http://schemas.microsoft.com/office/drawing/2014/main" id="{8016D9ED-A320-5842-8EB4-945E13D421EC}"/>
              </a:ext>
            </a:extLst>
          </p:cNvPr>
          <p:cNvPicPr preferRelativeResize="0"/>
          <p:nvPr/>
        </p:nvPicPr>
        <p:blipFill>
          <a:blip r:embed="rId3"/>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30407465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Slide_16">
  <p:cSld name="Slide_16">
    <p:bg>
      <p:bgPr>
        <a:solidFill>
          <a:srgbClr val="FFFFFF"/>
        </a:solidFill>
        <a:effectLst/>
      </p:bgPr>
    </p:bg>
    <p:spTree>
      <p:nvGrpSpPr>
        <p:cNvPr id="1" name="Shape 367"/>
        <p:cNvGrpSpPr/>
        <p:nvPr/>
      </p:nvGrpSpPr>
      <p:grpSpPr>
        <a:xfrm>
          <a:off x="0" y="0"/>
          <a:ext cx="0" cy="0"/>
          <a:chOff x="0" y="0"/>
          <a:chExt cx="0" cy="0"/>
        </a:xfrm>
      </p:grpSpPr>
      <p:pic>
        <p:nvPicPr>
          <p:cNvPr id="368" name="Google Shape;368;p35"/>
          <p:cNvPicPr preferRelativeResize="0"/>
          <p:nvPr/>
        </p:nvPicPr>
        <p:blipFill rotWithShape="1">
          <a:blip r:embed="rId2">
            <a:alphaModFix/>
          </a:blip>
          <a:srcRect/>
          <a:stretch/>
        </p:blipFill>
        <p:spPr>
          <a:xfrm>
            <a:off x="6096002" y="-222250"/>
            <a:ext cx="6369399" cy="7302499"/>
          </a:xfrm>
          <a:prstGeom prst="rect">
            <a:avLst/>
          </a:prstGeom>
          <a:noFill/>
          <a:ln>
            <a:noFill/>
          </a:ln>
        </p:spPr>
      </p:pic>
      <p:sp>
        <p:nvSpPr>
          <p:cNvPr id="369" name="Google Shape;369;p35"/>
          <p:cNvSpPr txBox="1">
            <a:spLocks noGrp="1"/>
          </p:cNvSpPr>
          <p:nvPr>
            <p:ph type="title"/>
          </p:nvPr>
        </p:nvSpPr>
        <p:spPr>
          <a:xfrm>
            <a:off x="804667" y="719333"/>
            <a:ext cx="5291200" cy="5412800"/>
          </a:xfrm>
          <a:prstGeom prst="rect">
            <a:avLst/>
          </a:prstGeom>
          <a:noFill/>
          <a:ln>
            <a:noFill/>
          </a:ln>
        </p:spPr>
        <p:txBody>
          <a:bodyPr spcFirstLastPara="1" wrap="square" lIns="0" tIns="0" rIns="91425" bIns="0" anchor="t" anchorCtr="0">
            <a:noAutofit/>
          </a:bodyPr>
          <a:lstStyle>
            <a:lvl1pPr marR="0" lvl="0" algn="l" rtl="0">
              <a:lnSpc>
                <a:spcPct val="100000"/>
              </a:lnSpc>
              <a:spcBef>
                <a:spcPts val="0"/>
              </a:spcBef>
              <a:spcAft>
                <a:spcPts val="0"/>
              </a:spcAft>
              <a:buClr>
                <a:schemeClr val="dk1"/>
              </a:buClr>
              <a:buSzPts val="3300"/>
              <a:buFont typeface="Arial"/>
              <a:buNone/>
              <a:defRPr sz="44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370" name="Google Shape;370;p35"/>
          <p:cNvSpPr/>
          <p:nvPr/>
        </p:nvSpPr>
        <p:spPr>
          <a:xfrm rot="341919">
            <a:off x="-99959" y="3656059"/>
            <a:ext cx="9164492" cy="8550275"/>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371" name="Google Shape;371;p35"/>
          <p:cNvCxnSpPr/>
          <p:nvPr/>
        </p:nvCxnSpPr>
        <p:spPr>
          <a:xfrm flipH="1">
            <a:off x="8315800" y="1016000"/>
            <a:ext cx="4765200" cy="4572000"/>
          </a:xfrm>
          <a:prstGeom prst="straightConnector1">
            <a:avLst/>
          </a:prstGeom>
          <a:noFill/>
          <a:ln w="9525" cap="flat" cmpd="sng">
            <a:solidFill>
              <a:schemeClr val="accent1"/>
            </a:solidFill>
            <a:prstDash val="solid"/>
            <a:round/>
            <a:headEnd type="none" w="sm" len="sm"/>
            <a:tailEnd type="none" w="sm" len="sm"/>
          </a:ln>
        </p:spPr>
      </p:cxnSp>
      <p:sp>
        <p:nvSpPr>
          <p:cNvPr id="372" name="Google Shape;372;p35"/>
          <p:cNvSpPr/>
          <p:nvPr/>
        </p:nvSpPr>
        <p:spPr>
          <a:xfrm rot="772297">
            <a:off x="8150051" y="5427769"/>
            <a:ext cx="377075" cy="377075"/>
          </a:xfrm>
          <a:prstGeom prst="ellipse">
            <a:avLst/>
          </a:prstGeom>
          <a:solidFill>
            <a:schemeClr val="l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373" name="Google Shape;373;p35"/>
          <p:cNvPicPr preferRelativeResize="0"/>
          <p:nvPr/>
        </p:nvPicPr>
        <p:blipFill rotWithShape="1">
          <a:blip r:embed="rId3">
            <a:alphaModFix/>
          </a:blip>
          <a:srcRect/>
          <a:stretch/>
        </p:blipFill>
        <p:spPr>
          <a:xfrm>
            <a:off x="4815750" y="2680698"/>
            <a:ext cx="2560501" cy="2709799"/>
          </a:xfrm>
          <a:prstGeom prst="rect">
            <a:avLst/>
          </a:prstGeom>
          <a:noFill/>
          <a:ln>
            <a:noFill/>
          </a:ln>
        </p:spPr>
      </p:pic>
      <p:sp>
        <p:nvSpPr>
          <p:cNvPr id="374" name="Google Shape;374;p35"/>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FFFFFF"/>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FFFFFF"/>
              </a:solidFill>
              <a:latin typeface="Arial"/>
              <a:ea typeface="Arial"/>
              <a:cs typeface="Arial"/>
              <a:sym typeface="Arial"/>
            </a:endParaRPr>
          </a:p>
        </p:txBody>
      </p:sp>
      <p:sp>
        <p:nvSpPr>
          <p:cNvPr id="375" name="Google Shape;375;p35"/>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377" name="Google Shape;377;p35"/>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rgbClr val="FFFFFF"/>
              </a:buClr>
              <a:buSzPts val="800"/>
              <a:buFont typeface="Arial"/>
              <a:buNone/>
              <a:defRPr sz="1067" b="0" i="0" u="none" strike="noStrike" cap="none">
                <a:solidFill>
                  <a:srgbClr val="FFFFFF"/>
                </a:solidFill>
                <a:latin typeface="Arial"/>
                <a:ea typeface="Arial"/>
                <a:cs typeface="Arial"/>
                <a:sym typeface="Arial"/>
              </a:defRPr>
            </a:lvl1pPr>
            <a:lvl2pPr marL="1219170" marR="0" lvl="1"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2pPr>
            <a:lvl3pPr marL="1828754" marR="0" lvl="2"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3pPr>
            <a:lvl4pPr marL="2438339" marR="0" lvl="3"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4pPr>
            <a:lvl5pPr marL="3047924" marR="0" lvl="4"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5pPr>
            <a:lvl6pPr marL="3657509" marR="0" lvl="5"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6pPr>
            <a:lvl7pPr marL="4267093" marR="0" lvl="6"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7pPr>
            <a:lvl8pPr marL="4876678" marR="0" lvl="7"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8pPr>
            <a:lvl9pPr marL="5486263" marR="0" lvl="8"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9pPr>
          </a:lstStyle>
          <a:p>
            <a:pPr lvl="0"/>
            <a:r>
              <a:rPr lang="en-US"/>
              <a:t>Click to edit Master text styles</a:t>
            </a:r>
          </a:p>
        </p:txBody>
      </p:sp>
      <p:pic>
        <p:nvPicPr>
          <p:cNvPr id="12" name="Google Shape;95;p45">
            <a:extLst>
              <a:ext uri="{FF2B5EF4-FFF2-40B4-BE49-F238E27FC236}">
                <a16:creationId xmlns:a16="http://schemas.microsoft.com/office/drawing/2014/main" id="{F0E793AE-9E20-2B43-A0E6-E6E15F2C6AC7}"/>
              </a:ext>
            </a:extLst>
          </p:cNvPr>
          <p:cNvPicPr preferRelativeResize="0"/>
          <p:nvPr/>
        </p:nvPicPr>
        <p:blipFill>
          <a:blip r:embed="rId4"/>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260501172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Slide_16bis">
  <p:cSld name="Slide_16bis">
    <p:bg>
      <p:bgPr>
        <a:solidFill>
          <a:schemeClr val="dk1"/>
        </a:solidFill>
        <a:effectLst/>
      </p:bgPr>
    </p:bg>
    <p:spTree>
      <p:nvGrpSpPr>
        <p:cNvPr id="1" name="Shape 378"/>
        <p:cNvGrpSpPr/>
        <p:nvPr/>
      </p:nvGrpSpPr>
      <p:grpSpPr>
        <a:xfrm>
          <a:off x="0" y="0"/>
          <a:ext cx="0" cy="0"/>
          <a:chOff x="0" y="0"/>
          <a:chExt cx="0" cy="0"/>
        </a:xfrm>
      </p:grpSpPr>
      <p:pic>
        <p:nvPicPr>
          <p:cNvPr id="379" name="Google Shape;379;p36"/>
          <p:cNvPicPr preferRelativeResize="0"/>
          <p:nvPr/>
        </p:nvPicPr>
        <p:blipFill rotWithShape="1">
          <a:blip r:embed="rId2">
            <a:alphaModFix/>
          </a:blip>
          <a:srcRect/>
          <a:stretch/>
        </p:blipFill>
        <p:spPr>
          <a:xfrm>
            <a:off x="6096002" y="-222250"/>
            <a:ext cx="6369399" cy="7302499"/>
          </a:xfrm>
          <a:prstGeom prst="rect">
            <a:avLst/>
          </a:prstGeom>
          <a:noFill/>
          <a:ln>
            <a:noFill/>
          </a:ln>
        </p:spPr>
      </p:pic>
      <p:sp>
        <p:nvSpPr>
          <p:cNvPr id="380" name="Google Shape;380;p36"/>
          <p:cNvSpPr/>
          <p:nvPr/>
        </p:nvSpPr>
        <p:spPr>
          <a:xfrm rot="341919">
            <a:off x="-100054" y="3656049"/>
            <a:ext cx="9164492" cy="8550275"/>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sp>
        <p:nvSpPr>
          <p:cNvPr id="381" name="Google Shape;381;p36"/>
          <p:cNvSpPr txBox="1">
            <a:spLocks noGrp="1"/>
          </p:cNvSpPr>
          <p:nvPr>
            <p:ph type="title"/>
          </p:nvPr>
        </p:nvSpPr>
        <p:spPr>
          <a:xfrm>
            <a:off x="804667" y="719333"/>
            <a:ext cx="5291200" cy="5412800"/>
          </a:xfrm>
          <a:prstGeom prst="rect">
            <a:avLst/>
          </a:prstGeom>
          <a:noFill/>
          <a:ln>
            <a:noFill/>
          </a:ln>
        </p:spPr>
        <p:txBody>
          <a:bodyPr spcFirstLastPara="1" wrap="square" lIns="0" tIns="0" rIns="91425" bIns="0" anchor="t" anchorCtr="0">
            <a:noAutofit/>
          </a:bodyPr>
          <a:lstStyle>
            <a:lvl1pPr marR="0" lvl="0" algn="l" rtl="0">
              <a:lnSpc>
                <a:spcPct val="100000"/>
              </a:lnSpc>
              <a:spcBef>
                <a:spcPts val="0"/>
              </a:spcBef>
              <a:spcAft>
                <a:spcPts val="0"/>
              </a:spcAft>
              <a:buClr>
                <a:srgbClr val="FFFFFF"/>
              </a:buClr>
              <a:buSzPts val="3300"/>
              <a:buFont typeface="Arial"/>
              <a:buNone/>
              <a:defRPr sz="4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cxnSp>
        <p:nvCxnSpPr>
          <p:cNvPr id="382" name="Google Shape;382;p36"/>
          <p:cNvCxnSpPr/>
          <p:nvPr/>
        </p:nvCxnSpPr>
        <p:spPr>
          <a:xfrm flipH="1">
            <a:off x="8315800" y="1016000"/>
            <a:ext cx="4765200" cy="4572000"/>
          </a:xfrm>
          <a:prstGeom prst="straightConnector1">
            <a:avLst/>
          </a:prstGeom>
          <a:noFill/>
          <a:ln w="9525" cap="flat" cmpd="sng">
            <a:solidFill>
              <a:schemeClr val="accent1"/>
            </a:solidFill>
            <a:prstDash val="solid"/>
            <a:round/>
            <a:headEnd type="none" w="sm" len="sm"/>
            <a:tailEnd type="none" w="sm" len="sm"/>
          </a:ln>
        </p:spPr>
      </p:cxnSp>
      <p:sp>
        <p:nvSpPr>
          <p:cNvPr id="383" name="Google Shape;383;p36"/>
          <p:cNvSpPr/>
          <p:nvPr/>
        </p:nvSpPr>
        <p:spPr>
          <a:xfrm rot="772297">
            <a:off x="8150051" y="5427769"/>
            <a:ext cx="377075" cy="377075"/>
          </a:xfrm>
          <a:prstGeom prst="ellipse">
            <a:avLst/>
          </a:prstGeom>
          <a:solidFill>
            <a:schemeClr val="l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384" name="Google Shape;384;p36"/>
          <p:cNvPicPr preferRelativeResize="0"/>
          <p:nvPr/>
        </p:nvPicPr>
        <p:blipFill rotWithShape="1">
          <a:blip r:embed="rId3">
            <a:alphaModFix/>
          </a:blip>
          <a:srcRect/>
          <a:stretch/>
        </p:blipFill>
        <p:spPr>
          <a:xfrm>
            <a:off x="4815750" y="2680698"/>
            <a:ext cx="2560501" cy="2709799"/>
          </a:xfrm>
          <a:prstGeom prst="rect">
            <a:avLst/>
          </a:prstGeom>
          <a:noFill/>
          <a:ln>
            <a:noFill/>
          </a:ln>
        </p:spPr>
      </p:pic>
      <p:sp>
        <p:nvSpPr>
          <p:cNvPr id="385" name="Google Shape;385;p36"/>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FFFFFF"/>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FFFFFF"/>
              </a:solidFill>
              <a:latin typeface="Arial"/>
              <a:ea typeface="Arial"/>
              <a:cs typeface="Arial"/>
              <a:sym typeface="Arial"/>
            </a:endParaRPr>
          </a:p>
        </p:txBody>
      </p:sp>
      <p:sp>
        <p:nvSpPr>
          <p:cNvPr id="386" name="Google Shape;386;p36"/>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FFFFFF"/>
                </a:solidFill>
                <a:latin typeface="Arial"/>
                <a:ea typeface="Arial"/>
                <a:cs typeface="Arial"/>
                <a:sym typeface="Arial"/>
              </a:rPr>
              <a:t>confidential</a:t>
            </a:r>
            <a:endParaRPr sz="1067" b="0" i="0" u="none" strike="noStrike" cap="none">
              <a:solidFill>
                <a:srgbClr val="FFFFFF"/>
              </a:solidFill>
              <a:latin typeface="Arial"/>
              <a:ea typeface="Arial"/>
              <a:cs typeface="Arial"/>
              <a:sym typeface="Arial"/>
            </a:endParaRPr>
          </a:p>
        </p:txBody>
      </p:sp>
      <p:sp>
        <p:nvSpPr>
          <p:cNvPr id="388" name="Google Shape;388;p36"/>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rgbClr val="FFFFFF"/>
              </a:buClr>
              <a:buSzPts val="800"/>
              <a:buFont typeface="Arial"/>
              <a:buNone/>
              <a:defRPr sz="1067" b="0" i="0" u="none" strike="noStrike" cap="none">
                <a:solidFill>
                  <a:srgbClr val="FFFFFF"/>
                </a:solidFill>
                <a:latin typeface="Arial"/>
                <a:ea typeface="Arial"/>
                <a:cs typeface="Arial"/>
                <a:sym typeface="Arial"/>
              </a:defRPr>
            </a:lvl1pPr>
            <a:lvl2pPr marL="1219170" marR="0" lvl="1"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2pPr>
            <a:lvl3pPr marL="1828754" marR="0" lvl="2"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3pPr>
            <a:lvl4pPr marL="2438339" marR="0" lvl="3"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4pPr>
            <a:lvl5pPr marL="3047924" marR="0" lvl="4"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5pPr>
            <a:lvl6pPr marL="3657509" marR="0" lvl="5"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6pPr>
            <a:lvl7pPr marL="4267093" marR="0" lvl="6"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7pPr>
            <a:lvl8pPr marL="4876678" marR="0" lvl="7"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8pPr>
            <a:lvl9pPr marL="5486263" marR="0" lvl="8"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9pPr>
          </a:lstStyle>
          <a:p>
            <a:pPr lvl="0"/>
            <a:r>
              <a:rPr lang="en-US"/>
              <a:t>Click to edit Master text styles</a:t>
            </a:r>
          </a:p>
        </p:txBody>
      </p:sp>
      <p:pic>
        <p:nvPicPr>
          <p:cNvPr id="12" name="Google Shape;95;p45">
            <a:extLst>
              <a:ext uri="{FF2B5EF4-FFF2-40B4-BE49-F238E27FC236}">
                <a16:creationId xmlns:a16="http://schemas.microsoft.com/office/drawing/2014/main" id="{D2112AC5-8097-EF44-A64A-90C1EDAE9661}"/>
              </a:ext>
            </a:extLst>
          </p:cNvPr>
          <p:cNvPicPr preferRelativeResize="0"/>
          <p:nvPr/>
        </p:nvPicPr>
        <p:blipFill>
          <a:blip r:embed="rId4"/>
          <a:srcRect/>
          <a:stretch/>
        </p:blipFill>
        <p:spPr>
          <a:xfrm>
            <a:off x="804333" y="6450452"/>
            <a:ext cx="1339315" cy="156579"/>
          </a:xfrm>
          <a:prstGeom prst="rect">
            <a:avLst/>
          </a:prstGeom>
          <a:noFill/>
          <a:ln>
            <a:noFill/>
          </a:ln>
        </p:spPr>
      </p:pic>
    </p:spTree>
    <p:extLst>
      <p:ext uri="{BB962C8B-B14F-4D97-AF65-F5344CB8AC3E}">
        <p14:creationId xmlns:p14="http://schemas.microsoft.com/office/powerpoint/2010/main" val="201054976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Slide_17">
  <p:cSld name="Slide_17">
    <p:bg>
      <p:bgPr>
        <a:solidFill>
          <a:srgbClr val="FFFFFF"/>
        </a:solidFill>
        <a:effectLst/>
      </p:bgPr>
    </p:bg>
    <p:spTree>
      <p:nvGrpSpPr>
        <p:cNvPr id="1" name="Shape 389"/>
        <p:cNvGrpSpPr/>
        <p:nvPr/>
      </p:nvGrpSpPr>
      <p:grpSpPr>
        <a:xfrm>
          <a:off x="0" y="0"/>
          <a:ext cx="0" cy="0"/>
          <a:chOff x="0" y="0"/>
          <a:chExt cx="0" cy="0"/>
        </a:xfrm>
      </p:grpSpPr>
      <p:pic>
        <p:nvPicPr>
          <p:cNvPr id="390" name="Google Shape;390;p37"/>
          <p:cNvPicPr preferRelativeResize="0"/>
          <p:nvPr/>
        </p:nvPicPr>
        <p:blipFill rotWithShape="1">
          <a:blip r:embed="rId2">
            <a:alphaModFix/>
          </a:blip>
          <a:srcRect/>
          <a:stretch/>
        </p:blipFill>
        <p:spPr>
          <a:xfrm>
            <a:off x="-273400" y="-31750"/>
            <a:ext cx="6369403" cy="6921499"/>
          </a:xfrm>
          <a:prstGeom prst="rect">
            <a:avLst/>
          </a:prstGeom>
          <a:noFill/>
          <a:ln>
            <a:noFill/>
          </a:ln>
        </p:spPr>
      </p:pic>
      <p:sp>
        <p:nvSpPr>
          <p:cNvPr id="391" name="Google Shape;391;p37"/>
          <p:cNvSpPr txBox="1">
            <a:spLocks noGrp="1"/>
          </p:cNvSpPr>
          <p:nvPr>
            <p:ph type="title"/>
          </p:nvPr>
        </p:nvSpPr>
        <p:spPr>
          <a:xfrm>
            <a:off x="6096000" y="722600"/>
            <a:ext cx="5291200" cy="5412800"/>
          </a:xfrm>
          <a:prstGeom prst="rect">
            <a:avLst/>
          </a:prstGeom>
          <a:noFill/>
          <a:ln>
            <a:noFill/>
          </a:ln>
        </p:spPr>
        <p:txBody>
          <a:bodyPr spcFirstLastPara="1" wrap="square" lIns="342000" tIns="0" rIns="0" bIns="0" anchor="t" anchorCtr="0">
            <a:noAutofit/>
          </a:bodyPr>
          <a:lstStyle>
            <a:lvl1pPr marR="0" lvl="0" algn="l" rtl="0">
              <a:lnSpc>
                <a:spcPct val="100000"/>
              </a:lnSpc>
              <a:spcBef>
                <a:spcPts val="0"/>
              </a:spcBef>
              <a:spcAft>
                <a:spcPts val="0"/>
              </a:spcAft>
              <a:buClr>
                <a:schemeClr val="dk1"/>
              </a:buClr>
              <a:buSzPts val="3300"/>
              <a:buFont typeface="Arial"/>
              <a:buNone/>
              <a:defRPr sz="4400" b="1"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392" name="Google Shape;392;p37"/>
          <p:cNvSpPr/>
          <p:nvPr/>
        </p:nvSpPr>
        <p:spPr>
          <a:xfrm rot="341919">
            <a:off x="-1885271" y="-5906351"/>
            <a:ext cx="9164492" cy="8550275"/>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393" name="Google Shape;393;p37"/>
          <p:cNvCxnSpPr/>
          <p:nvPr/>
        </p:nvCxnSpPr>
        <p:spPr>
          <a:xfrm flipH="1">
            <a:off x="-1118449" y="1744200"/>
            <a:ext cx="4765200" cy="4572000"/>
          </a:xfrm>
          <a:prstGeom prst="straightConnector1">
            <a:avLst/>
          </a:prstGeom>
          <a:noFill/>
          <a:ln w="9525" cap="flat" cmpd="sng">
            <a:solidFill>
              <a:schemeClr val="accent1"/>
            </a:solidFill>
            <a:prstDash val="solid"/>
            <a:round/>
            <a:headEnd type="none" w="sm" len="sm"/>
            <a:tailEnd type="none" w="sm" len="sm"/>
          </a:ln>
        </p:spPr>
      </p:cxnSp>
      <p:sp>
        <p:nvSpPr>
          <p:cNvPr id="394" name="Google Shape;394;p37"/>
          <p:cNvSpPr/>
          <p:nvPr/>
        </p:nvSpPr>
        <p:spPr>
          <a:xfrm rot="772297">
            <a:off x="2508533" y="2454836"/>
            <a:ext cx="377075" cy="377075"/>
          </a:xfrm>
          <a:prstGeom prst="ellipse">
            <a:avLst/>
          </a:prstGeom>
          <a:solidFill>
            <a:schemeClr val="dk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395" name="Google Shape;395;p37"/>
          <p:cNvPicPr preferRelativeResize="0"/>
          <p:nvPr/>
        </p:nvPicPr>
        <p:blipFill rotWithShape="1">
          <a:blip r:embed="rId3">
            <a:alphaModFix/>
          </a:blip>
          <a:srcRect/>
          <a:stretch/>
        </p:blipFill>
        <p:spPr>
          <a:xfrm>
            <a:off x="8451800" y="5054598"/>
            <a:ext cx="2560501" cy="2709799"/>
          </a:xfrm>
          <a:prstGeom prst="rect">
            <a:avLst/>
          </a:prstGeom>
          <a:noFill/>
          <a:ln>
            <a:noFill/>
          </a:ln>
        </p:spPr>
      </p:pic>
      <p:sp>
        <p:nvSpPr>
          <p:cNvPr id="396" name="Google Shape;396;p37"/>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397" name="Google Shape;397;p37"/>
          <p:cNvSpPr txBox="1"/>
          <p:nvPr/>
        </p:nvSpPr>
        <p:spPr>
          <a:xfrm>
            <a:off x="80448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399" name="Google Shape;399;p37"/>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pic>
        <p:nvPicPr>
          <p:cNvPr id="13" name="Google Shape;95;p45">
            <a:extLst>
              <a:ext uri="{FF2B5EF4-FFF2-40B4-BE49-F238E27FC236}">
                <a16:creationId xmlns:a16="http://schemas.microsoft.com/office/drawing/2014/main" id="{B923CBF0-2EFB-3A42-A62C-33F48C7AA1A2}"/>
              </a:ext>
            </a:extLst>
          </p:cNvPr>
          <p:cNvPicPr preferRelativeResize="0"/>
          <p:nvPr/>
        </p:nvPicPr>
        <p:blipFill>
          <a:blip r:embed="rId4"/>
          <a:srcRect/>
          <a:stretch/>
        </p:blipFill>
        <p:spPr>
          <a:xfrm>
            <a:off x="6604244" y="6447331"/>
            <a:ext cx="1339315" cy="162821"/>
          </a:xfrm>
          <a:prstGeom prst="rect">
            <a:avLst/>
          </a:prstGeom>
          <a:noFill/>
          <a:ln>
            <a:noFill/>
          </a:ln>
        </p:spPr>
      </p:pic>
    </p:spTree>
    <p:extLst>
      <p:ext uri="{BB962C8B-B14F-4D97-AF65-F5344CB8AC3E}">
        <p14:creationId xmlns:p14="http://schemas.microsoft.com/office/powerpoint/2010/main" val="2215477649"/>
      </p:ext>
    </p:extLst>
  </p:cSld>
  <p:clrMapOvr>
    <a:masterClrMapping/>
  </p:clrMapOvr>
  <p:extLst>
    <p:ext uri="{DCECCB84-F9BA-43D5-87BE-67443E8EF086}">
      <p15:sldGuideLst xmlns:p15="http://schemas.microsoft.com/office/powerpoint/2012/main">
        <p15:guide id="1" pos="3118">
          <p15:clr>
            <a:srgbClr val="FA7B17"/>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Slide_17bis">
  <p:cSld name="Slide_17bis">
    <p:bg>
      <p:bgPr>
        <a:solidFill>
          <a:schemeClr val="dk1"/>
        </a:solidFill>
        <a:effectLst/>
      </p:bgPr>
    </p:bg>
    <p:spTree>
      <p:nvGrpSpPr>
        <p:cNvPr id="1" name="Shape 400"/>
        <p:cNvGrpSpPr/>
        <p:nvPr/>
      </p:nvGrpSpPr>
      <p:grpSpPr>
        <a:xfrm>
          <a:off x="0" y="0"/>
          <a:ext cx="0" cy="0"/>
          <a:chOff x="0" y="0"/>
          <a:chExt cx="0" cy="0"/>
        </a:xfrm>
      </p:grpSpPr>
      <p:pic>
        <p:nvPicPr>
          <p:cNvPr id="401" name="Google Shape;401;p38"/>
          <p:cNvPicPr preferRelativeResize="0"/>
          <p:nvPr/>
        </p:nvPicPr>
        <p:blipFill rotWithShape="1">
          <a:blip r:embed="rId2">
            <a:alphaModFix/>
          </a:blip>
          <a:srcRect/>
          <a:stretch/>
        </p:blipFill>
        <p:spPr>
          <a:xfrm>
            <a:off x="-273400" y="-31750"/>
            <a:ext cx="6369403" cy="6921499"/>
          </a:xfrm>
          <a:prstGeom prst="rect">
            <a:avLst/>
          </a:prstGeom>
          <a:noFill/>
          <a:ln>
            <a:noFill/>
          </a:ln>
        </p:spPr>
      </p:pic>
      <p:sp>
        <p:nvSpPr>
          <p:cNvPr id="402" name="Google Shape;402;p38"/>
          <p:cNvSpPr txBox="1">
            <a:spLocks noGrp="1"/>
          </p:cNvSpPr>
          <p:nvPr>
            <p:ph type="title"/>
          </p:nvPr>
        </p:nvSpPr>
        <p:spPr>
          <a:xfrm>
            <a:off x="6096000" y="719133"/>
            <a:ext cx="5510000" cy="5412800"/>
          </a:xfrm>
          <a:prstGeom prst="rect">
            <a:avLst/>
          </a:prstGeom>
          <a:noFill/>
          <a:ln>
            <a:noFill/>
          </a:ln>
        </p:spPr>
        <p:txBody>
          <a:bodyPr spcFirstLastPara="1" wrap="square" lIns="342000" tIns="0" rIns="0" bIns="0" anchor="t" anchorCtr="0">
            <a:noAutofit/>
          </a:bodyPr>
          <a:lstStyle>
            <a:lvl1pPr marR="0" lvl="0" algn="l" rtl="0">
              <a:lnSpc>
                <a:spcPct val="100000"/>
              </a:lnSpc>
              <a:spcBef>
                <a:spcPts val="0"/>
              </a:spcBef>
              <a:spcAft>
                <a:spcPts val="0"/>
              </a:spcAft>
              <a:buClr>
                <a:srgbClr val="FFFFFF"/>
              </a:buClr>
              <a:buSzPts val="3300"/>
              <a:buFont typeface="Arial"/>
              <a:buNone/>
              <a:defRPr sz="4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2pPr>
            <a:lvl3pPr marR="0" lvl="2"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3pPr>
            <a:lvl4pPr marR="0" lvl="3"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4pPr>
            <a:lvl5pPr marR="0" lvl="4"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5pPr>
            <a:lvl6pPr marR="0" lvl="5"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6pPr>
            <a:lvl7pPr marR="0" lvl="6"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7pPr>
            <a:lvl8pPr marR="0" lvl="7"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8pPr>
            <a:lvl9pPr marR="0" lvl="8" algn="l" rtl="0">
              <a:lnSpc>
                <a:spcPct val="100000"/>
              </a:lnSpc>
              <a:spcBef>
                <a:spcPts val="0"/>
              </a:spcBef>
              <a:spcAft>
                <a:spcPts val="0"/>
              </a:spcAft>
              <a:buClr>
                <a:srgbClr val="FFFFFF"/>
              </a:buClr>
              <a:buSzPts val="1400"/>
              <a:buFont typeface="Arial"/>
              <a:buNone/>
              <a:defRPr sz="1867" b="0" i="0" u="none" strike="noStrike" cap="none">
                <a:solidFill>
                  <a:srgbClr val="FFFFFF"/>
                </a:solidFill>
                <a:latin typeface="Arial"/>
                <a:ea typeface="Arial"/>
                <a:cs typeface="Arial"/>
                <a:sym typeface="Arial"/>
              </a:defRPr>
            </a:lvl9pPr>
          </a:lstStyle>
          <a:p>
            <a:r>
              <a:rPr lang="en-US"/>
              <a:t>Click to edit Master title style</a:t>
            </a:r>
            <a:endParaRPr/>
          </a:p>
        </p:txBody>
      </p:sp>
      <p:pic>
        <p:nvPicPr>
          <p:cNvPr id="403" name="Google Shape;403;p38"/>
          <p:cNvPicPr preferRelativeResize="0"/>
          <p:nvPr/>
        </p:nvPicPr>
        <p:blipFill rotWithShape="1">
          <a:blip r:embed="rId3">
            <a:alphaModFix/>
          </a:blip>
          <a:srcRect/>
          <a:stretch/>
        </p:blipFill>
        <p:spPr>
          <a:xfrm>
            <a:off x="8451800" y="5054598"/>
            <a:ext cx="2560501" cy="2709799"/>
          </a:xfrm>
          <a:prstGeom prst="rect">
            <a:avLst/>
          </a:prstGeom>
          <a:noFill/>
          <a:ln>
            <a:noFill/>
          </a:ln>
        </p:spPr>
      </p:pic>
      <p:sp>
        <p:nvSpPr>
          <p:cNvPr id="404" name="Google Shape;404;p38"/>
          <p:cNvSpPr/>
          <p:nvPr/>
        </p:nvSpPr>
        <p:spPr>
          <a:xfrm rot="341919">
            <a:off x="-1885271" y="-5906351"/>
            <a:ext cx="9164492" cy="8550275"/>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405" name="Google Shape;405;p38"/>
          <p:cNvCxnSpPr/>
          <p:nvPr/>
        </p:nvCxnSpPr>
        <p:spPr>
          <a:xfrm flipH="1">
            <a:off x="-1118449" y="1744200"/>
            <a:ext cx="4765200" cy="4572000"/>
          </a:xfrm>
          <a:prstGeom prst="straightConnector1">
            <a:avLst/>
          </a:prstGeom>
          <a:noFill/>
          <a:ln w="9525" cap="flat" cmpd="sng">
            <a:solidFill>
              <a:schemeClr val="accent1"/>
            </a:solidFill>
            <a:prstDash val="solid"/>
            <a:round/>
            <a:headEnd type="none" w="sm" len="sm"/>
            <a:tailEnd type="none" w="sm" len="sm"/>
          </a:ln>
        </p:spPr>
      </p:cxnSp>
      <p:sp>
        <p:nvSpPr>
          <p:cNvPr id="406" name="Google Shape;406;p38"/>
          <p:cNvSpPr/>
          <p:nvPr/>
        </p:nvSpPr>
        <p:spPr>
          <a:xfrm rot="772297">
            <a:off x="2508533" y="2454836"/>
            <a:ext cx="377075" cy="377075"/>
          </a:xfrm>
          <a:prstGeom prst="ellipse">
            <a:avLst/>
          </a:prstGeom>
          <a:solidFill>
            <a:schemeClr val="dk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407" name="Google Shape;407;p38"/>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chemeClr val="lt2"/>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chemeClr val="lt2"/>
              </a:solidFill>
              <a:latin typeface="Arial"/>
              <a:ea typeface="Arial"/>
              <a:cs typeface="Arial"/>
              <a:sym typeface="Arial"/>
            </a:endParaRPr>
          </a:p>
        </p:txBody>
      </p:sp>
      <p:sp>
        <p:nvSpPr>
          <p:cNvPr id="408" name="Google Shape;408;p38"/>
          <p:cNvSpPr txBox="1"/>
          <p:nvPr/>
        </p:nvSpPr>
        <p:spPr>
          <a:xfrm>
            <a:off x="80448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chemeClr val="lt2"/>
                </a:solidFill>
                <a:latin typeface="Arial"/>
                <a:ea typeface="Arial"/>
                <a:cs typeface="Arial"/>
                <a:sym typeface="Arial"/>
              </a:rPr>
              <a:t>confidential</a:t>
            </a:r>
            <a:endParaRPr sz="1067" b="0" i="0" u="none" strike="noStrike" cap="none">
              <a:solidFill>
                <a:schemeClr val="lt2"/>
              </a:solidFill>
              <a:latin typeface="Arial"/>
              <a:ea typeface="Arial"/>
              <a:cs typeface="Arial"/>
              <a:sym typeface="Arial"/>
            </a:endParaRPr>
          </a:p>
        </p:txBody>
      </p:sp>
      <p:sp>
        <p:nvSpPr>
          <p:cNvPr id="410" name="Google Shape;410;p38"/>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rgbClr val="FFFFFF"/>
              </a:buClr>
              <a:buSzPts val="800"/>
              <a:buFont typeface="Arial"/>
              <a:buNone/>
              <a:defRPr sz="1067" b="0" i="0" u="none" strike="noStrike" cap="none">
                <a:solidFill>
                  <a:srgbClr val="FFFFFF"/>
                </a:solidFill>
                <a:latin typeface="Arial"/>
                <a:ea typeface="Arial"/>
                <a:cs typeface="Arial"/>
                <a:sym typeface="Arial"/>
              </a:defRPr>
            </a:lvl1pPr>
            <a:lvl2pPr marL="1219170" marR="0" lvl="1"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2pPr>
            <a:lvl3pPr marL="1828754" marR="0" lvl="2"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3pPr>
            <a:lvl4pPr marL="2438339" marR="0" lvl="3"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4pPr>
            <a:lvl5pPr marL="3047924" marR="0" lvl="4"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5pPr>
            <a:lvl6pPr marL="3657509" marR="0" lvl="5"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6pPr>
            <a:lvl7pPr marL="4267093" marR="0" lvl="6"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7pPr>
            <a:lvl8pPr marL="4876678" marR="0" lvl="7"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8pPr>
            <a:lvl9pPr marL="5486263" marR="0" lvl="8"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9pPr>
          </a:lstStyle>
          <a:p>
            <a:pPr lvl="0"/>
            <a:r>
              <a:rPr lang="en-US"/>
              <a:t>Click to edit Master text styles</a:t>
            </a:r>
          </a:p>
        </p:txBody>
      </p:sp>
      <p:pic>
        <p:nvPicPr>
          <p:cNvPr id="13" name="Google Shape;95;p45">
            <a:extLst>
              <a:ext uri="{FF2B5EF4-FFF2-40B4-BE49-F238E27FC236}">
                <a16:creationId xmlns:a16="http://schemas.microsoft.com/office/drawing/2014/main" id="{08CA7BA1-B8B7-C246-98EF-EE1BEC704539}"/>
              </a:ext>
            </a:extLst>
          </p:cNvPr>
          <p:cNvPicPr preferRelativeResize="0"/>
          <p:nvPr/>
        </p:nvPicPr>
        <p:blipFill>
          <a:blip r:embed="rId4"/>
          <a:srcRect/>
          <a:stretch/>
        </p:blipFill>
        <p:spPr>
          <a:xfrm>
            <a:off x="6604244" y="6453385"/>
            <a:ext cx="1339315" cy="156579"/>
          </a:xfrm>
          <a:prstGeom prst="rect">
            <a:avLst/>
          </a:prstGeom>
          <a:noFill/>
          <a:ln>
            <a:noFill/>
          </a:ln>
        </p:spPr>
      </p:pic>
    </p:spTree>
    <p:extLst>
      <p:ext uri="{BB962C8B-B14F-4D97-AF65-F5344CB8AC3E}">
        <p14:creationId xmlns:p14="http://schemas.microsoft.com/office/powerpoint/2010/main" val="208388597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Slide_18">
  <p:cSld name="Slide_18">
    <p:bg>
      <p:bgPr>
        <a:solidFill>
          <a:srgbClr val="FFFFFF"/>
        </a:solidFill>
        <a:effectLst/>
      </p:bgPr>
    </p:bg>
    <p:spTree>
      <p:nvGrpSpPr>
        <p:cNvPr id="1" name="Shape 411"/>
        <p:cNvGrpSpPr/>
        <p:nvPr/>
      </p:nvGrpSpPr>
      <p:grpSpPr>
        <a:xfrm>
          <a:off x="0" y="0"/>
          <a:ext cx="0" cy="0"/>
          <a:chOff x="0" y="0"/>
          <a:chExt cx="0" cy="0"/>
        </a:xfrm>
      </p:grpSpPr>
      <p:pic>
        <p:nvPicPr>
          <p:cNvPr id="412" name="Google Shape;412;p39"/>
          <p:cNvPicPr preferRelativeResize="0"/>
          <p:nvPr/>
        </p:nvPicPr>
        <p:blipFill rotWithShape="1">
          <a:blip r:embed="rId2">
            <a:alphaModFix/>
          </a:blip>
          <a:srcRect/>
          <a:stretch/>
        </p:blipFill>
        <p:spPr>
          <a:xfrm>
            <a:off x="-101600" y="-131049"/>
            <a:ext cx="6210301" cy="7120101"/>
          </a:xfrm>
          <a:prstGeom prst="rect">
            <a:avLst/>
          </a:prstGeom>
          <a:noFill/>
          <a:ln>
            <a:noFill/>
          </a:ln>
        </p:spPr>
      </p:pic>
      <p:sp>
        <p:nvSpPr>
          <p:cNvPr id="413" name="Google Shape;413;p39"/>
          <p:cNvSpPr txBox="1">
            <a:spLocks noGrp="1"/>
          </p:cNvSpPr>
          <p:nvPr>
            <p:ph type="title"/>
          </p:nvPr>
        </p:nvSpPr>
        <p:spPr>
          <a:xfrm>
            <a:off x="6096000" y="698500"/>
            <a:ext cx="5292400" cy="854800"/>
          </a:xfrm>
          <a:prstGeom prst="rect">
            <a:avLst/>
          </a:prstGeom>
          <a:noFill/>
          <a:ln>
            <a:noFill/>
          </a:ln>
        </p:spPr>
        <p:txBody>
          <a:bodyPr spcFirstLastPara="1" wrap="square" lIns="342000" tIns="0" rIns="0"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414" name="Google Shape;414;p39"/>
          <p:cNvSpPr txBox="1">
            <a:spLocks noGrp="1"/>
          </p:cNvSpPr>
          <p:nvPr>
            <p:ph type="subTitle" idx="1"/>
          </p:nvPr>
        </p:nvSpPr>
        <p:spPr>
          <a:xfrm>
            <a:off x="6097133" y="1553300"/>
            <a:ext cx="5292400" cy="4578800"/>
          </a:xfrm>
          <a:prstGeom prst="rect">
            <a:avLst/>
          </a:prstGeom>
          <a:noFill/>
          <a:ln>
            <a:noFill/>
          </a:ln>
        </p:spPr>
        <p:txBody>
          <a:bodyPr spcFirstLastPara="1" wrap="square" lIns="342000" tIns="0" rIns="0"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415" name="Google Shape;415;p39"/>
          <p:cNvSpPr/>
          <p:nvPr/>
        </p:nvSpPr>
        <p:spPr>
          <a:xfrm rot="341919">
            <a:off x="-1863842" y="-6335167"/>
            <a:ext cx="9164492" cy="8979972"/>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416" name="Google Shape;416;p39"/>
          <p:cNvCxnSpPr/>
          <p:nvPr/>
        </p:nvCxnSpPr>
        <p:spPr>
          <a:xfrm flipH="1">
            <a:off x="-1051183" y="4509167"/>
            <a:ext cx="4765200" cy="4572000"/>
          </a:xfrm>
          <a:prstGeom prst="straightConnector1">
            <a:avLst/>
          </a:prstGeom>
          <a:noFill/>
          <a:ln w="9525" cap="flat" cmpd="sng">
            <a:solidFill>
              <a:schemeClr val="accent1"/>
            </a:solidFill>
            <a:prstDash val="solid"/>
            <a:round/>
            <a:headEnd type="none" w="sm" len="sm"/>
            <a:tailEnd type="none" w="sm" len="sm"/>
          </a:ln>
        </p:spPr>
      </p:cxnSp>
      <p:sp>
        <p:nvSpPr>
          <p:cNvPr id="417" name="Google Shape;417;p39"/>
          <p:cNvSpPr/>
          <p:nvPr/>
        </p:nvSpPr>
        <p:spPr>
          <a:xfrm rot="772297">
            <a:off x="4467967" y="2019436"/>
            <a:ext cx="377075" cy="377075"/>
          </a:xfrm>
          <a:prstGeom prst="ellipse">
            <a:avLst/>
          </a:prstGeom>
          <a:solidFill>
            <a:schemeClr val="dk2"/>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418" name="Google Shape;418;p39"/>
          <p:cNvPicPr preferRelativeResize="0"/>
          <p:nvPr/>
        </p:nvPicPr>
        <p:blipFill rotWithShape="1">
          <a:blip r:embed="rId3">
            <a:alphaModFix/>
          </a:blip>
          <a:srcRect/>
          <a:stretch/>
        </p:blipFill>
        <p:spPr>
          <a:xfrm>
            <a:off x="8451800" y="5054598"/>
            <a:ext cx="2560501" cy="2709799"/>
          </a:xfrm>
          <a:prstGeom prst="rect">
            <a:avLst/>
          </a:prstGeom>
          <a:noFill/>
          <a:ln>
            <a:noFill/>
          </a:ln>
        </p:spPr>
      </p:pic>
      <p:sp>
        <p:nvSpPr>
          <p:cNvPr id="419" name="Google Shape;419;p39"/>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420" name="Google Shape;420;p39"/>
          <p:cNvSpPr txBox="1"/>
          <p:nvPr/>
        </p:nvSpPr>
        <p:spPr>
          <a:xfrm>
            <a:off x="80448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422" name="Google Shape;422;p39"/>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pic>
        <p:nvPicPr>
          <p:cNvPr id="13" name="Google Shape;95;p45">
            <a:extLst>
              <a:ext uri="{FF2B5EF4-FFF2-40B4-BE49-F238E27FC236}">
                <a16:creationId xmlns:a16="http://schemas.microsoft.com/office/drawing/2014/main" id="{F5DB0515-647A-8444-89B1-B7803503A694}"/>
              </a:ext>
            </a:extLst>
          </p:cNvPr>
          <p:cNvPicPr preferRelativeResize="0"/>
          <p:nvPr/>
        </p:nvPicPr>
        <p:blipFill>
          <a:blip r:embed="rId4"/>
          <a:srcRect/>
          <a:stretch/>
        </p:blipFill>
        <p:spPr>
          <a:xfrm>
            <a:off x="6604244" y="6447331"/>
            <a:ext cx="1339315" cy="162821"/>
          </a:xfrm>
          <a:prstGeom prst="rect">
            <a:avLst/>
          </a:prstGeom>
          <a:noFill/>
          <a:ln>
            <a:noFill/>
          </a:ln>
        </p:spPr>
      </p:pic>
    </p:spTree>
    <p:extLst>
      <p:ext uri="{BB962C8B-B14F-4D97-AF65-F5344CB8AC3E}">
        <p14:creationId xmlns:p14="http://schemas.microsoft.com/office/powerpoint/2010/main" val="217556721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Slide_19">
  <p:cSld name="Slide_19">
    <p:bg>
      <p:bgPr>
        <a:solidFill>
          <a:srgbClr val="FFFFFF"/>
        </a:solidFill>
        <a:effectLst/>
      </p:bgPr>
    </p:bg>
    <p:spTree>
      <p:nvGrpSpPr>
        <p:cNvPr id="1" name="Shape 423"/>
        <p:cNvGrpSpPr/>
        <p:nvPr/>
      </p:nvGrpSpPr>
      <p:grpSpPr>
        <a:xfrm>
          <a:off x="0" y="0"/>
          <a:ext cx="0" cy="0"/>
          <a:chOff x="0" y="0"/>
          <a:chExt cx="0" cy="0"/>
        </a:xfrm>
      </p:grpSpPr>
      <p:pic>
        <p:nvPicPr>
          <p:cNvPr id="424" name="Google Shape;424;p40"/>
          <p:cNvPicPr preferRelativeResize="0"/>
          <p:nvPr/>
        </p:nvPicPr>
        <p:blipFill rotWithShape="1">
          <a:blip r:embed="rId2">
            <a:alphaModFix/>
          </a:blip>
          <a:srcRect/>
          <a:stretch/>
        </p:blipFill>
        <p:spPr>
          <a:xfrm>
            <a:off x="6096001" y="-185616"/>
            <a:ext cx="6359035" cy="7229232"/>
          </a:xfrm>
          <a:prstGeom prst="rect">
            <a:avLst/>
          </a:prstGeom>
          <a:noFill/>
          <a:ln>
            <a:noFill/>
          </a:ln>
        </p:spPr>
      </p:pic>
      <p:sp>
        <p:nvSpPr>
          <p:cNvPr id="425" name="Google Shape;425;p40"/>
          <p:cNvSpPr/>
          <p:nvPr/>
        </p:nvSpPr>
        <p:spPr>
          <a:xfrm rot="341919">
            <a:off x="-99959" y="3656059"/>
            <a:ext cx="9164492" cy="8550275"/>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426" name="Google Shape;426;p40"/>
          <p:cNvCxnSpPr/>
          <p:nvPr/>
        </p:nvCxnSpPr>
        <p:spPr>
          <a:xfrm flipH="1">
            <a:off x="8315800" y="1016000"/>
            <a:ext cx="4765200" cy="4572000"/>
          </a:xfrm>
          <a:prstGeom prst="straightConnector1">
            <a:avLst/>
          </a:prstGeom>
          <a:noFill/>
          <a:ln w="9525" cap="flat" cmpd="sng">
            <a:solidFill>
              <a:schemeClr val="accent1"/>
            </a:solidFill>
            <a:prstDash val="solid"/>
            <a:round/>
            <a:headEnd type="none" w="sm" len="sm"/>
            <a:tailEnd type="none" w="sm" len="sm"/>
          </a:ln>
        </p:spPr>
      </p:cxnSp>
      <p:sp>
        <p:nvSpPr>
          <p:cNvPr id="427" name="Google Shape;427;p40"/>
          <p:cNvSpPr/>
          <p:nvPr/>
        </p:nvSpPr>
        <p:spPr>
          <a:xfrm rot="772297">
            <a:off x="8150051" y="5427769"/>
            <a:ext cx="377075" cy="377075"/>
          </a:xfrm>
          <a:prstGeom prst="ellipse">
            <a:avLst/>
          </a:prstGeom>
          <a:solidFill>
            <a:schemeClr val="lt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428" name="Google Shape;428;p40"/>
          <p:cNvPicPr preferRelativeResize="0"/>
          <p:nvPr/>
        </p:nvPicPr>
        <p:blipFill rotWithShape="1">
          <a:blip r:embed="rId3">
            <a:alphaModFix/>
          </a:blip>
          <a:srcRect/>
          <a:stretch/>
        </p:blipFill>
        <p:spPr>
          <a:xfrm>
            <a:off x="4815750" y="2680698"/>
            <a:ext cx="2560501" cy="2709799"/>
          </a:xfrm>
          <a:prstGeom prst="rect">
            <a:avLst/>
          </a:prstGeom>
          <a:noFill/>
          <a:ln>
            <a:noFill/>
          </a:ln>
        </p:spPr>
      </p:pic>
      <p:sp>
        <p:nvSpPr>
          <p:cNvPr id="429" name="Google Shape;429;p40"/>
          <p:cNvSpPr txBox="1">
            <a:spLocks noGrp="1"/>
          </p:cNvSpPr>
          <p:nvPr>
            <p:ph type="title"/>
          </p:nvPr>
        </p:nvSpPr>
        <p:spPr>
          <a:xfrm>
            <a:off x="800100" y="698500"/>
            <a:ext cx="5294800" cy="854800"/>
          </a:xfrm>
          <a:prstGeom prst="rect">
            <a:avLst/>
          </a:prstGeom>
          <a:noFill/>
          <a:ln>
            <a:noFill/>
          </a:ln>
        </p:spPr>
        <p:txBody>
          <a:bodyPr spcFirstLastPara="1" wrap="square" lIns="0" tIns="0" rIns="342000" bIns="0" anchor="t" anchorCtr="0">
            <a:noAutofit/>
          </a:bodyPr>
          <a:lstStyle>
            <a:lvl1pPr marR="0" lvl="0" algn="l" rtl="0">
              <a:lnSpc>
                <a:spcPct val="100000"/>
              </a:lnSpc>
              <a:spcBef>
                <a:spcPts val="0"/>
              </a:spcBef>
              <a:spcAft>
                <a:spcPts val="0"/>
              </a:spcAft>
              <a:buClr>
                <a:schemeClr val="lt1"/>
              </a:buClr>
              <a:buSzPts val="1800"/>
              <a:buFont typeface="Arial"/>
              <a:buNone/>
              <a:defRPr sz="24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430" name="Google Shape;430;p40"/>
          <p:cNvSpPr txBox="1">
            <a:spLocks noGrp="1"/>
          </p:cNvSpPr>
          <p:nvPr>
            <p:ph type="subTitle" idx="1"/>
          </p:nvPr>
        </p:nvSpPr>
        <p:spPr>
          <a:xfrm>
            <a:off x="801267" y="1553300"/>
            <a:ext cx="5294800" cy="4572000"/>
          </a:xfrm>
          <a:prstGeom prst="rect">
            <a:avLst/>
          </a:prstGeom>
          <a:noFill/>
          <a:ln>
            <a:noFill/>
          </a:ln>
        </p:spPr>
        <p:txBody>
          <a:bodyPr spcFirstLastPara="1" wrap="square" lIns="0" tIns="0" rIns="342000" bIns="0" anchor="t" anchorCtr="0">
            <a:noAutofit/>
          </a:bodyPr>
          <a:lstStyle>
            <a:lvl1pPr marR="0" lvl="0" algn="l">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sp>
        <p:nvSpPr>
          <p:cNvPr id="431" name="Google Shape;431;p40"/>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FFFFFF"/>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FFFFFF"/>
              </a:solidFill>
              <a:latin typeface="Arial"/>
              <a:ea typeface="Arial"/>
              <a:cs typeface="Arial"/>
              <a:sym typeface="Arial"/>
            </a:endParaRPr>
          </a:p>
        </p:txBody>
      </p:sp>
      <p:sp>
        <p:nvSpPr>
          <p:cNvPr id="432" name="Google Shape;432;p40"/>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434" name="Google Shape;434;p40"/>
          <p:cNvSpPr txBox="1">
            <a:spLocks noGrp="1"/>
          </p:cNvSpPr>
          <p:nvPr>
            <p:ph type="body" idx="2"/>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rgbClr val="FFFFFF"/>
              </a:buClr>
              <a:buSzPts val="800"/>
              <a:buFont typeface="Arial"/>
              <a:buNone/>
              <a:defRPr sz="1067" b="0" i="0" u="none" strike="noStrike" cap="none">
                <a:solidFill>
                  <a:srgbClr val="FFFFFF"/>
                </a:solidFill>
                <a:latin typeface="Arial"/>
                <a:ea typeface="Arial"/>
                <a:cs typeface="Arial"/>
                <a:sym typeface="Arial"/>
              </a:defRPr>
            </a:lvl1pPr>
            <a:lvl2pPr marL="1219170" marR="0" lvl="1"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2pPr>
            <a:lvl3pPr marL="1828754" marR="0" lvl="2"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3pPr>
            <a:lvl4pPr marL="2438339" marR="0" lvl="3"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4pPr>
            <a:lvl5pPr marL="3047924" marR="0" lvl="4"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5pPr>
            <a:lvl6pPr marL="3657509" marR="0" lvl="5"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6pPr>
            <a:lvl7pPr marL="4267093" marR="0" lvl="6"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7pPr>
            <a:lvl8pPr marL="4876678" marR="0" lvl="7"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8pPr>
            <a:lvl9pPr marL="5486263" marR="0" lvl="8" indent="-372524" algn="r">
              <a:lnSpc>
                <a:spcPct val="100000"/>
              </a:lnSpc>
              <a:spcBef>
                <a:spcPts val="0"/>
              </a:spcBef>
              <a:spcAft>
                <a:spcPts val="0"/>
              </a:spcAft>
              <a:buClr>
                <a:srgbClr val="FFFFFF"/>
              </a:buClr>
              <a:buSzPts val="800"/>
              <a:buFont typeface="Arial"/>
              <a:buChar char="■"/>
              <a:defRPr sz="1067" b="0" i="0" u="none" strike="noStrike" cap="none">
                <a:solidFill>
                  <a:srgbClr val="FFFFFF"/>
                </a:solidFill>
                <a:latin typeface="Arial"/>
                <a:ea typeface="Arial"/>
                <a:cs typeface="Arial"/>
                <a:sym typeface="Arial"/>
              </a:defRPr>
            </a:lvl9pPr>
          </a:lstStyle>
          <a:p>
            <a:pPr lvl="0"/>
            <a:r>
              <a:rPr lang="en-US"/>
              <a:t>Click to edit Master text styles</a:t>
            </a:r>
          </a:p>
        </p:txBody>
      </p:sp>
      <p:pic>
        <p:nvPicPr>
          <p:cNvPr id="13" name="Google Shape;95;p45">
            <a:extLst>
              <a:ext uri="{FF2B5EF4-FFF2-40B4-BE49-F238E27FC236}">
                <a16:creationId xmlns:a16="http://schemas.microsoft.com/office/drawing/2014/main" id="{6D7BB7AE-14BF-FE49-9D81-A2B7C59B2E96}"/>
              </a:ext>
            </a:extLst>
          </p:cNvPr>
          <p:cNvPicPr preferRelativeResize="0"/>
          <p:nvPr/>
        </p:nvPicPr>
        <p:blipFill>
          <a:blip r:embed="rId4"/>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370938722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End_FR">
  <p:cSld name="End_FR">
    <p:bg>
      <p:bgPr>
        <a:solidFill>
          <a:srgbClr val="FFFFFF"/>
        </a:solidFill>
        <a:effectLst/>
      </p:bgPr>
    </p:bg>
    <p:spTree>
      <p:nvGrpSpPr>
        <p:cNvPr id="1" name="Shape 435"/>
        <p:cNvGrpSpPr/>
        <p:nvPr/>
      </p:nvGrpSpPr>
      <p:grpSpPr>
        <a:xfrm>
          <a:off x="0" y="0"/>
          <a:ext cx="0" cy="0"/>
          <a:chOff x="0" y="0"/>
          <a:chExt cx="0" cy="0"/>
        </a:xfrm>
      </p:grpSpPr>
      <p:pic>
        <p:nvPicPr>
          <p:cNvPr id="436" name="Google Shape;436;p12"/>
          <p:cNvPicPr preferRelativeResize="0"/>
          <p:nvPr/>
        </p:nvPicPr>
        <p:blipFill rotWithShape="1">
          <a:blip r:embed="rId2">
            <a:alphaModFix/>
          </a:blip>
          <a:srcRect/>
          <a:stretch/>
        </p:blipFill>
        <p:spPr>
          <a:xfrm>
            <a:off x="7859900" y="-344278"/>
            <a:ext cx="4367200" cy="7546561"/>
          </a:xfrm>
          <a:prstGeom prst="rect">
            <a:avLst/>
          </a:prstGeom>
          <a:noFill/>
          <a:ln>
            <a:noFill/>
          </a:ln>
        </p:spPr>
      </p:pic>
      <p:sp>
        <p:nvSpPr>
          <p:cNvPr id="437" name="Google Shape;437;p12"/>
          <p:cNvSpPr/>
          <p:nvPr/>
        </p:nvSpPr>
        <p:spPr>
          <a:xfrm rot="-430255">
            <a:off x="5984137" y="-3864941"/>
            <a:ext cx="9164483" cy="9168501"/>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438" name="Google Shape;438;p12"/>
          <p:cNvCxnSpPr/>
          <p:nvPr/>
        </p:nvCxnSpPr>
        <p:spPr>
          <a:xfrm flipH="1">
            <a:off x="8946367" y="3755033"/>
            <a:ext cx="1892400" cy="1803600"/>
          </a:xfrm>
          <a:prstGeom prst="straightConnector1">
            <a:avLst/>
          </a:prstGeom>
          <a:noFill/>
          <a:ln w="9525" cap="flat" cmpd="sng">
            <a:solidFill>
              <a:schemeClr val="accent1"/>
            </a:solidFill>
            <a:prstDash val="solid"/>
            <a:round/>
            <a:headEnd type="none" w="sm" len="sm"/>
            <a:tailEnd type="none" w="sm" len="sm"/>
          </a:ln>
        </p:spPr>
      </p:cxnSp>
      <p:sp>
        <p:nvSpPr>
          <p:cNvPr id="439" name="Google Shape;439;p12"/>
          <p:cNvSpPr/>
          <p:nvPr/>
        </p:nvSpPr>
        <p:spPr>
          <a:xfrm>
            <a:off x="9209733" y="4962300"/>
            <a:ext cx="377200" cy="377200"/>
          </a:xfrm>
          <a:prstGeom prst="ellipse">
            <a:avLst/>
          </a:prstGeom>
          <a:solidFill>
            <a:schemeClr val="dk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440" name="Google Shape;440;p12"/>
          <p:cNvSpPr/>
          <p:nvPr/>
        </p:nvSpPr>
        <p:spPr>
          <a:xfrm>
            <a:off x="6326300" y="92800"/>
            <a:ext cx="1533600" cy="6672400"/>
          </a:xfrm>
          <a:prstGeom prst="rect">
            <a:avLst/>
          </a:prstGeom>
          <a:noFill/>
          <a:ln>
            <a:noFill/>
          </a:ln>
        </p:spPr>
        <p:txBody>
          <a:bodyPr spcFirstLastPara="1" wrap="square" lIns="91433" tIns="45700" rIns="91433" bIns="45700" anchor="t" anchorCtr="0">
            <a:noAutofit/>
          </a:bodyPr>
          <a:lstStyle/>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Abou Dabi</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Amsterdam</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Baltimore</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Bruxelles</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Casablanca</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Charlotte</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1A1A1A"/>
              </a:buClr>
              <a:buSzPts val="700"/>
              <a:buFont typeface="Arial"/>
              <a:buNone/>
            </a:pPr>
            <a:r>
              <a:rPr lang="en-US" sz="933" b="1" i="0" u="none" strike="noStrike" cap="none">
                <a:solidFill>
                  <a:srgbClr val="1A1A1A"/>
                </a:solidFill>
                <a:latin typeface="Arial"/>
                <a:ea typeface="Arial"/>
                <a:cs typeface="Arial"/>
                <a:sym typeface="Arial"/>
              </a:rPr>
              <a:t>Chicago</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Denver</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Doha</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Dubaï</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Dublin</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Édimbourg</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Francfort</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Hambourg</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Hong Kong</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Houston</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Londres</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Luxembourg</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Lyon</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Milan</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Montréal</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New York</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Panama*</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Paris</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Riyad</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Rome</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San Francisco</a:t>
            </a:r>
            <a:endParaRPr sz="18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Seattle</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Singapour</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Tokyo</a:t>
            </a:r>
            <a:endParaRPr sz="1467" b="0" i="0" u="none" strike="noStrike" cap="none">
              <a:solidFill>
                <a:srgbClr val="000000"/>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Toronto </a:t>
            </a:r>
            <a:endParaRPr sz="1467" b="0" i="0" u="none" strike="noStrike" cap="none">
              <a:solidFill>
                <a:srgbClr val="000000"/>
              </a:solidFill>
              <a:latin typeface="Arial"/>
              <a:ea typeface="Arial"/>
              <a:cs typeface="Arial"/>
              <a:sym typeface="Arial"/>
            </a:endParaRPr>
          </a:p>
        </p:txBody>
      </p:sp>
      <p:sp>
        <p:nvSpPr>
          <p:cNvPr id="441" name="Google Shape;441;p12"/>
          <p:cNvSpPr/>
          <p:nvPr/>
        </p:nvSpPr>
        <p:spPr>
          <a:xfrm>
            <a:off x="804400" y="1909382"/>
            <a:ext cx="5291600" cy="2289316"/>
          </a:xfrm>
          <a:prstGeom prst="rect">
            <a:avLst/>
          </a:prstGeom>
          <a:noFill/>
          <a:ln>
            <a:noFill/>
          </a:ln>
        </p:spPr>
        <p:txBody>
          <a:bodyPr spcFirstLastPara="1" wrap="square" lIns="0" tIns="0" rIns="0" bIns="0" anchor="t" anchorCtr="0">
            <a:noAutofit/>
          </a:bodyPr>
          <a:lstStyle/>
          <a:p>
            <a:pPr marL="0" marR="0" lvl="0" indent="0" algn="just" rtl="0">
              <a:lnSpc>
                <a:spcPct val="115000"/>
              </a:lnSpc>
              <a:spcBef>
                <a:spcPts val="0"/>
              </a:spcBef>
              <a:spcAft>
                <a:spcPts val="0"/>
              </a:spcAft>
              <a:buClr>
                <a:srgbClr val="000000"/>
              </a:buClr>
              <a:buSzPts val="1000"/>
              <a:buFont typeface="Arial"/>
              <a:buNone/>
            </a:pPr>
            <a:r>
              <a:rPr lang="en-US" sz="1333" b="0" i="0" u="none" strike="noStrike" cap="none">
                <a:solidFill>
                  <a:schemeClr val="dk1"/>
                </a:solidFill>
                <a:latin typeface="Arial"/>
                <a:ea typeface="Arial"/>
                <a:cs typeface="Arial"/>
                <a:sym typeface="Arial"/>
              </a:rPr>
              <a:t>Pionnier du </a:t>
            </a:r>
            <a:r>
              <a:rPr lang="en-US" sz="1333" b="0" i="1" u="none" strike="noStrike" cap="none">
                <a:solidFill>
                  <a:schemeClr val="dk1"/>
                </a:solidFill>
                <a:latin typeface="Arial"/>
                <a:ea typeface="Arial"/>
                <a:cs typeface="Arial"/>
                <a:sym typeface="Arial"/>
              </a:rPr>
              <a:t>Consulting 4.0</a:t>
            </a:r>
            <a:r>
              <a:rPr lang="en-US" sz="1333" b="0" i="0" u="none" strike="noStrike" cap="none">
                <a:solidFill>
                  <a:schemeClr val="dk1"/>
                </a:solidFill>
                <a:latin typeface="Arial"/>
                <a:ea typeface="Arial"/>
                <a:cs typeface="Arial"/>
                <a:sym typeface="Arial"/>
              </a:rPr>
              <a:t>, Sia Partners réinvente le métier du conseil et apporte un regard innovant et des résultats concrets à ses clients. Nous avons développé des solutions basées sur l’Intelligence Artificielle et le design pour augmenter l’impact de nos missions de conseil. Notre présence globale et notre expertise dans plus de 30 secteurs et services nous permettent d’accompagner nos clients dans le monde entier. </a:t>
            </a:r>
            <a:endParaRPr sz="1333" b="0" i="0" u="none" strike="noStrike" cap="none">
              <a:solidFill>
                <a:schemeClr val="dk1"/>
              </a:solidFill>
              <a:latin typeface="Arial"/>
              <a:ea typeface="Arial"/>
              <a:cs typeface="Arial"/>
              <a:sym typeface="Arial"/>
            </a:endParaRPr>
          </a:p>
          <a:p>
            <a:pPr marL="0" marR="0" lvl="0" indent="0" algn="just" rtl="0">
              <a:lnSpc>
                <a:spcPct val="115000"/>
              </a:lnSpc>
              <a:spcBef>
                <a:spcPts val="0"/>
              </a:spcBef>
              <a:spcAft>
                <a:spcPts val="0"/>
              </a:spcAft>
              <a:buClr>
                <a:srgbClr val="000000"/>
              </a:buClr>
              <a:buSzPts val="1000"/>
              <a:buFont typeface="Arial"/>
              <a:buNone/>
            </a:pPr>
            <a:r>
              <a:rPr lang="en-US" sz="1333" b="0" i="0" u="none" strike="noStrike" cap="none">
                <a:solidFill>
                  <a:schemeClr val="dk1"/>
                </a:solidFill>
                <a:latin typeface="Arial"/>
                <a:ea typeface="Arial"/>
                <a:cs typeface="Arial"/>
                <a:sym typeface="Arial"/>
              </a:rPr>
              <a:t>À travers notre démarche </a:t>
            </a:r>
            <a:r>
              <a:rPr lang="en-US" sz="1333" b="0" i="1" u="none" strike="noStrike" cap="none">
                <a:solidFill>
                  <a:schemeClr val="dk1"/>
                </a:solidFill>
                <a:latin typeface="Arial"/>
                <a:ea typeface="Arial"/>
                <a:cs typeface="Arial"/>
                <a:sym typeface="Arial"/>
              </a:rPr>
              <a:t>"Consulting for Good</a:t>
            </a:r>
            <a:r>
              <a:rPr lang="en-US" sz="1333" b="0" i="0" u="none" strike="noStrike" cap="none">
                <a:solidFill>
                  <a:schemeClr val="dk1"/>
                </a:solidFill>
                <a:latin typeface="Arial"/>
                <a:ea typeface="Arial"/>
                <a:cs typeface="Arial"/>
                <a:sym typeface="Arial"/>
              </a:rPr>
              <a:t>", nous mettons notre expertise au service des objectifs RSE de nos clients et faisons du développement durable un levier de performance pour nos clients.</a:t>
            </a:r>
            <a:endParaRPr sz="1333" b="0" i="0" u="none" strike="noStrike" cap="none">
              <a:solidFill>
                <a:schemeClr val="dk1"/>
              </a:solidFill>
              <a:latin typeface="Arial"/>
              <a:ea typeface="Arial"/>
              <a:cs typeface="Arial"/>
              <a:sym typeface="Arial"/>
            </a:endParaRPr>
          </a:p>
        </p:txBody>
      </p:sp>
      <p:sp>
        <p:nvSpPr>
          <p:cNvPr id="442" name="Google Shape;442;p12"/>
          <p:cNvSpPr/>
          <p:nvPr/>
        </p:nvSpPr>
        <p:spPr>
          <a:xfrm>
            <a:off x="804667" y="5070500"/>
            <a:ext cx="4855600" cy="787600"/>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900"/>
              <a:buFont typeface="Arial"/>
              <a:buNone/>
            </a:pPr>
            <a:r>
              <a:rPr lang="en-US" sz="1200" b="0" i="0" u="none" strike="noStrike" cap="none">
                <a:solidFill>
                  <a:srgbClr val="939699"/>
                </a:solidFill>
                <a:latin typeface="Arial"/>
                <a:ea typeface="Arial"/>
                <a:cs typeface="Arial"/>
                <a:sym typeface="Arial"/>
              </a:rPr>
              <a:t>Suivez-nous sur </a:t>
            </a:r>
            <a:r>
              <a:rPr lang="en-US" sz="1200" b="1" i="0" u="none" strike="noStrike" cap="none">
                <a:solidFill>
                  <a:srgbClr val="1A1A1A"/>
                </a:solidFill>
                <a:latin typeface="Arial"/>
                <a:ea typeface="Arial"/>
                <a:cs typeface="Arial"/>
                <a:sym typeface="Arial"/>
              </a:rPr>
              <a:t>LinkedIn</a:t>
            </a:r>
            <a:r>
              <a:rPr lang="en-US" sz="1200" b="0" i="0" u="none" strike="noStrike" cap="none">
                <a:solidFill>
                  <a:srgbClr val="757070"/>
                </a:solidFill>
                <a:latin typeface="Arial"/>
                <a:ea typeface="Arial"/>
                <a:cs typeface="Arial"/>
                <a:sym typeface="Arial"/>
              </a:rPr>
              <a:t> </a:t>
            </a:r>
            <a:r>
              <a:rPr lang="en-US" sz="1200" b="0" i="0" u="none" strike="noStrike" cap="none">
                <a:solidFill>
                  <a:srgbClr val="939699"/>
                </a:solidFill>
                <a:latin typeface="Arial"/>
                <a:ea typeface="Arial"/>
                <a:cs typeface="Arial"/>
                <a:sym typeface="Arial"/>
              </a:rPr>
              <a:t>et</a:t>
            </a:r>
            <a:r>
              <a:rPr lang="en-US" sz="1200" b="0" i="0" u="none" strike="noStrike" cap="none">
                <a:solidFill>
                  <a:srgbClr val="757070"/>
                </a:solidFill>
                <a:latin typeface="Arial"/>
                <a:ea typeface="Arial"/>
                <a:cs typeface="Arial"/>
                <a:sym typeface="Arial"/>
              </a:rPr>
              <a:t> </a:t>
            </a:r>
            <a:r>
              <a:rPr lang="en-US" sz="1200" b="1" i="0" u="none" strike="noStrike" cap="none">
                <a:solidFill>
                  <a:srgbClr val="1A1A1A"/>
                </a:solidFill>
                <a:latin typeface="Arial"/>
                <a:ea typeface="Arial"/>
                <a:cs typeface="Arial"/>
                <a:sym typeface="Arial"/>
              </a:rPr>
              <a:t>Twitter @SiaPartners</a:t>
            </a:r>
            <a:br>
              <a:rPr lang="en-US" sz="1200" b="1" i="0" u="none" strike="noStrike" cap="none">
                <a:solidFill>
                  <a:srgbClr val="660033"/>
                </a:solidFill>
                <a:latin typeface="Arial"/>
                <a:ea typeface="Arial"/>
                <a:cs typeface="Arial"/>
                <a:sym typeface="Arial"/>
              </a:rPr>
            </a:br>
            <a:r>
              <a:rPr lang="en-US" sz="1200" b="0" i="0" u="none" strike="noStrike" cap="none">
                <a:solidFill>
                  <a:srgbClr val="939699"/>
                </a:solidFill>
                <a:latin typeface="Arial"/>
                <a:ea typeface="Arial"/>
                <a:cs typeface="Arial"/>
                <a:sym typeface="Arial"/>
              </a:rPr>
              <a:t>Pour plus d’informations :</a:t>
            </a:r>
            <a:endParaRPr sz="1467" b="0" i="0" u="none" strike="noStrike" cap="none">
              <a:solidFill>
                <a:srgbClr val="000000"/>
              </a:solidFill>
              <a:latin typeface="Arial"/>
              <a:ea typeface="Arial"/>
              <a:cs typeface="Arial"/>
              <a:sym typeface="Arial"/>
            </a:endParaRPr>
          </a:p>
        </p:txBody>
      </p:sp>
      <p:sp>
        <p:nvSpPr>
          <p:cNvPr id="443" name="Google Shape;443;p12">
            <a:hlinkClick r:id="rId3"/>
          </p:cNvPr>
          <p:cNvSpPr/>
          <p:nvPr/>
        </p:nvSpPr>
        <p:spPr>
          <a:xfrm>
            <a:off x="804668" y="5654100"/>
            <a:ext cx="2109200" cy="484400"/>
          </a:xfrm>
          <a:prstGeom prst="roundRect">
            <a:avLst>
              <a:gd name="adj" fmla="val 50000"/>
            </a:avLst>
          </a:prstGeom>
          <a:solidFill>
            <a:srgbClr val="14E9B6"/>
          </a:solidFill>
          <a:ln w="12700" cap="flat" cmpd="sng">
            <a:solidFill>
              <a:srgbClr val="14E9B6"/>
            </a:solidFill>
            <a:prstDash val="solid"/>
            <a:miter lim="800000"/>
            <a:headEnd type="none" w="sm" len="sm"/>
            <a:tailEnd type="none" w="sm" len="sm"/>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US" sz="1200" b="1" i="0" u="none" strike="noStrike" cap="none">
                <a:solidFill>
                  <a:srgbClr val="1A1A1A"/>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sia-partners.com</a:t>
            </a:r>
            <a:endParaRPr sz="1200" b="1" i="0" u="none" strike="noStrike" cap="none">
              <a:solidFill>
                <a:srgbClr val="1A1A1A"/>
              </a:solidFill>
              <a:latin typeface="Arial"/>
              <a:ea typeface="Arial"/>
              <a:cs typeface="Arial"/>
              <a:sym typeface="Arial"/>
            </a:endParaRPr>
          </a:p>
        </p:txBody>
      </p:sp>
      <p:sp>
        <p:nvSpPr>
          <p:cNvPr id="444" name="Google Shape;444;p12"/>
          <p:cNvSpPr/>
          <p:nvPr/>
        </p:nvSpPr>
        <p:spPr>
          <a:xfrm>
            <a:off x="804333" y="6580400"/>
            <a:ext cx="3014400" cy="184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500"/>
              <a:buFont typeface="Arial"/>
              <a:buNone/>
            </a:pPr>
            <a:r>
              <a:rPr lang="en-US" sz="667" b="1" i="1" u="none" strike="noStrike" cap="none">
                <a:solidFill>
                  <a:srgbClr val="939699"/>
                </a:solidFill>
                <a:latin typeface="Arial"/>
                <a:ea typeface="Arial"/>
                <a:cs typeface="Arial"/>
                <a:sym typeface="Arial"/>
              </a:rPr>
              <a:t>*Sia Partners Panama, une société membre du groupe Sia Partners</a:t>
            </a:r>
            <a:endParaRPr sz="667" b="1" i="1" u="none" strike="noStrike" cap="none">
              <a:solidFill>
                <a:srgbClr val="939699"/>
              </a:solidFill>
              <a:latin typeface="Arial"/>
              <a:ea typeface="Arial"/>
              <a:cs typeface="Arial"/>
              <a:sym typeface="Arial"/>
            </a:endParaRPr>
          </a:p>
        </p:txBody>
      </p:sp>
      <p:pic>
        <p:nvPicPr>
          <p:cNvPr id="445" name="Google Shape;445;p12"/>
          <p:cNvPicPr preferRelativeResize="0"/>
          <p:nvPr/>
        </p:nvPicPr>
        <p:blipFill rotWithShape="1">
          <a:blip r:embed="rId5">
            <a:alphaModFix/>
          </a:blip>
          <a:srcRect/>
          <a:stretch/>
        </p:blipFill>
        <p:spPr>
          <a:xfrm>
            <a:off x="3535500" y="5070465"/>
            <a:ext cx="2560501" cy="2709799"/>
          </a:xfrm>
          <a:prstGeom prst="rect">
            <a:avLst/>
          </a:prstGeom>
          <a:noFill/>
          <a:ln>
            <a:noFill/>
          </a:ln>
        </p:spPr>
      </p:pic>
      <p:pic>
        <p:nvPicPr>
          <p:cNvPr id="446" name="Google Shape;446;p12"/>
          <p:cNvPicPr preferRelativeResize="0"/>
          <p:nvPr/>
        </p:nvPicPr>
        <p:blipFill>
          <a:blip r:embed="rId6"/>
          <a:srcRect/>
          <a:stretch/>
        </p:blipFill>
        <p:spPr>
          <a:xfrm>
            <a:off x="816797" y="752418"/>
            <a:ext cx="2454372" cy="285233"/>
          </a:xfrm>
          <a:prstGeom prst="rect">
            <a:avLst/>
          </a:prstGeom>
          <a:noFill/>
          <a:ln>
            <a:noFill/>
          </a:ln>
        </p:spPr>
      </p:pic>
    </p:spTree>
    <p:extLst>
      <p:ext uri="{BB962C8B-B14F-4D97-AF65-F5344CB8AC3E}">
        <p14:creationId xmlns:p14="http://schemas.microsoft.com/office/powerpoint/2010/main" val="287315045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End_EN">
  <p:cSld name="End_EN">
    <p:bg>
      <p:bgPr>
        <a:solidFill>
          <a:srgbClr val="FFFFFF"/>
        </a:solidFill>
        <a:effectLst/>
      </p:bgPr>
    </p:bg>
    <p:spTree>
      <p:nvGrpSpPr>
        <p:cNvPr id="1" name="Shape 447"/>
        <p:cNvGrpSpPr/>
        <p:nvPr/>
      </p:nvGrpSpPr>
      <p:grpSpPr>
        <a:xfrm>
          <a:off x="0" y="0"/>
          <a:ext cx="0" cy="0"/>
          <a:chOff x="0" y="0"/>
          <a:chExt cx="0" cy="0"/>
        </a:xfrm>
      </p:grpSpPr>
      <p:pic>
        <p:nvPicPr>
          <p:cNvPr id="448" name="Google Shape;448;p22"/>
          <p:cNvPicPr preferRelativeResize="0"/>
          <p:nvPr/>
        </p:nvPicPr>
        <p:blipFill rotWithShape="1">
          <a:blip r:embed="rId2">
            <a:alphaModFix/>
          </a:blip>
          <a:srcRect/>
          <a:stretch/>
        </p:blipFill>
        <p:spPr>
          <a:xfrm>
            <a:off x="7859900" y="-344278"/>
            <a:ext cx="4367200" cy="7546561"/>
          </a:xfrm>
          <a:prstGeom prst="rect">
            <a:avLst/>
          </a:prstGeom>
          <a:noFill/>
          <a:ln>
            <a:noFill/>
          </a:ln>
        </p:spPr>
      </p:pic>
      <p:sp>
        <p:nvSpPr>
          <p:cNvPr id="449" name="Google Shape;449;p22"/>
          <p:cNvSpPr/>
          <p:nvPr/>
        </p:nvSpPr>
        <p:spPr>
          <a:xfrm>
            <a:off x="804333" y="2150315"/>
            <a:ext cx="5291600" cy="1799467"/>
          </a:xfrm>
          <a:prstGeom prst="rect">
            <a:avLst/>
          </a:prstGeom>
          <a:noFill/>
          <a:ln>
            <a:noFill/>
          </a:ln>
        </p:spPr>
        <p:txBody>
          <a:bodyPr spcFirstLastPara="1" wrap="square" lIns="0" tIns="0" rIns="0" bIns="0" anchor="t" anchorCtr="0">
            <a:noAutofit/>
          </a:bodyPr>
          <a:lstStyle/>
          <a:p>
            <a:pPr marL="0" marR="0" lvl="0" indent="0" algn="just" rtl="0">
              <a:lnSpc>
                <a:spcPct val="115000"/>
              </a:lnSpc>
              <a:spcBef>
                <a:spcPts val="0"/>
              </a:spcBef>
              <a:spcAft>
                <a:spcPts val="0"/>
              </a:spcAft>
              <a:buClr>
                <a:srgbClr val="000000"/>
              </a:buClr>
              <a:buSzPts val="1000"/>
              <a:buFont typeface="Arial"/>
              <a:buNone/>
            </a:pPr>
            <a:r>
              <a:rPr lang="en-US" sz="1333" b="0" i="0" u="none" strike="noStrike" cap="none">
                <a:solidFill>
                  <a:schemeClr val="dk1"/>
                </a:solidFill>
                <a:latin typeface="Arial"/>
                <a:ea typeface="Arial"/>
                <a:cs typeface="Arial"/>
                <a:sym typeface="Arial"/>
              </a:rPr>
              <a:t>Sia Partners is a next generation consulting firm focused on delivering superior value and tangible results to its clients as they navigate the digital revolution. Our global footprint and our expertise in more than 30 sectors and services allow us to enhance our clients' businesses worldwide. We guide their projects and initiatives in strategy, business transformation, IT &amp; digital strategy, and Data Science. As the pioneer of </a:t>
            </a:r>
            <a:r>
              <a:rPr lang="en-US" sz="1333" b="0" i="1" u="none" strike="noStrike" cap="none">
                <a:solidFill>
                  <a:schemeClr val="dk1"/>
                </a:solidFill>
                <a:latin typeface="Arial"/>
                <a:ea typeface="Arial"/>
                <a:cs typeface="Arial"/>
                <a:sym typeface="Arial"/>
              </a:rPr>
              <a:t>Consulting 4.0</a:t>
            </a:r>
            <a:r>
              <a:rPr lang="en-US" sz="1333" b="0" i="0" u="none" strike="noStrike" cap="none">
                <a:solidFill>
                  <a:schemeClr val="dk1"/>
                </a:solidFill>
                <a:latin typeface="Arial"/>
                <a:ea typeface="Arial"/>
                <a:cs typeface="Arial"/>
                <a:sym typeface="Arial"/>
              </a:rPr>
              <a:t>, we develop consulting bots and integrate AI in our solutions.</a:t>
            </a:r>
            <a:endParaRPr sz="1333" b="0" i="0" u="none" strike="noStrike" cap="none">
              <a:solidFill>
                <a:schemeClr val="dk1"/>
              </a:solidFill>
              <a:latin typeface="Arial"/>
              <a:ea typeface="Arial"/>
              <a:cs typeface="Arial"/>
              <a:sym typeface="Arial"/>
            </a:endParaRPr>
          </a:p>
          <a:p>
            <a:pPr marL="0" marR="0" lvl="0" indent="0" algn="l" rtl="0">
              <a:lnSpc>
                <a:spcPct val="115000"/>
              </a:lnSpc>
              <a:spcBef>
                <a:spcPts val="0"/>
              </a:spcBef>
              <a:spcAft>
                <a:spcPts val="0"/>
              </a:spcAft>
              <a:buClr>
                <a:srgbClr val="000000"/>
              </a:buClr>
              <a:buSzPts val="1000"/>
              <a:buFont typeface="Arial"/>
              <a:buNone/>
            </a:pPr>
            <a:endParaRPr sz="1333" b="0" i="0" u="none" strike="noStrike" cap="none">
              <a:solidFill>
                <a:srgbClr val="1A1A1A"/>
              </a:solidFill>
              <a:latin typeface="Arial"/>
              <a:ea typeface="Arial"/>
              <a:cs typeface="Arial"/>
              <a:sym typeface="Arial"/>
            </a:endParaRPr>
          </a:p>
        </p:txBody>
      </p:sp>
      <p:sp>
        <p:nvSpPr>
          <p:cNvPr id="450" name="Google Shape;450;p22"/>
          <p:cNvSpPr/>
          <p:nvPr/>
        </p:nvSpPr>
        <p:spPr>
          <a:xfrm>
            <a:off x="804333" y="5070507"/>
            <a:ext cx="4865200" cy="787600"/>
          </a:xfrm>
          <a:prstGeom prst="rect">
            <a:avLst/>
          </a:prstGeom>
          <a:noFill/>
          <a:ln>
            <a:noFill/>
          </a:ln>
        </p:spPr>
        <p:txBody>
          <a:bodyPr spcFirstLastPara="1" wrap="square" lIns="0" tIns="0" rIns="0" bIns="0" anchor="t" anchorCtr="0">
            <a:noAutofit/>
          </a:bodyPr>
          <a:lstStyle/>
          <a:p>
            <a:pPr marL="0" marR="0" lvl="0" indent="0" algn="l" rtl="0">
              <a:lnSpc>
                <a:spcPct val="115000"/>
              </a:lnSpc>
              <a:spcBef>
                <a:spcPts val="0"/>
              </a:spcBef>
              <a:spcAft>
                <a:spcPts val="0"/>
              </a:spcAft>
              <a:buClr>
                <a:srgbClr val="000000"/>
              </a:buClr>
              <a:buSzPts val="900"/>
              <a:buFont typeface="Arial"/>
              <a:buNone/>
            </a:pPr>
            <a:r>
              <a:rPr lang="en-US" sz="1200" b="0" i="0" u="none" strike="noStrike" cap="none">
                <a:solidFill>
                  <a:srgbClr val="939699"/>
                </a:solidFill>
                <a:latin typeface="Arial"/>
                <a:ea typeface="Arial"/>
                <a:cs typeface="Arial"/>
                <a:sym typeface="Arial"/>
              </a:rPr>
              <a:t>Follow us on </a:t>
            </a:r>
            <a:r>
              <a:rPr lang="en-US" sz="1200" b="1" i="0" u="none" strike="noStrike" cap="none">
                <a:solidFill>
                  <a:srgbClr val="1A1A1A"/>
                </a:solidFill>
                <a:latin typeface="Arial"/>
                <a:ea typeface="Arial"/>
                <a:cs typeface="Arial"/>
                <a:sym typeface="Arial"/>
              </a:rPr>
              <a:t>LinkedIn</a:t>
            </a:r>
            <a:r>
              <a:rPr lang="en-US" sz="1200" b="0" i="0" u="none" strike="noStrike" cap="none">
                <a:solidFill>
                  <a:srgbClr val="757070"/>
                </a:solidFill>
                <a:latin typeface="Arial"/>
                <a:ea typeface="Arial"/>
                <a:cs typeface="Arial"/>
                <a:sym typeface="Arial"/>
              </a:rPr>
              <a:t> </a:t>
            </a:r>
            <a:r>
              <a:rPr lang="en-US" sz="1200" b="0" i="0" u="none" strike="noStrike" cap="none">
                <a:solidFill>
                  <a:srgbClr val="939699"/>
                </a:solidFill>
                <a:latin typeface="Arial"/>
                <a:ea typeface="Arial"/>
                <a:cs typeface="Arial"/>
                <a:sym typeface="Arial"/>
              </a:rPr>
              <a:t>and</a:t>
            </a:r>
            <a:r>
              <a:rPr lang="en-US" sz="1200" b="0" i="0" u="none" strike="noStrike" cap="none">
                <a:solidFill>
                  <a:srgbClr val="757070"/>
                </a:solidFill>
                <a:latin typeface="Arial"/>
                <a:ea typeface="Arial"/>
                <a:cs typeface="Arial"/>
                <a:sym typeface="Arial"/>
              </a:rPr>
              <a:t> </a:t>
            </a:r>
            <a:r>
              <a:rPr lang="en-US" sz="1200" b="1" i="0" u="none" strike="noStrike" cap="none">
                <a:solidFill>
                  <a:srgbClr val="1A1A1A"/>
                </a:solidFill>
                <a:latin typeface="Arial"/>
                <a:ea typeface="Arial"/>
                <a:cs typeface="Arial"/>
                <a:sym typeface="Arial"/>
              </a:rPr>
              <a:t>Twitter @SiaPartners</a:t>
            </a:r>
            <a:br>
              <a:rPr lang="en-US" sz="1200" b="1" i="0" u="none" strike="noStrike" cap="none">
                <a:solidFill>
                  <a:srgbClr val="660033"/>
                </a:solidFill>
                <a:latin typeface="Arial"/>
                <a:ea typeface="Arial"/>
                <a:cs typeface="Arial"/>
                <a:sym typeface="Arial"/>
              </a:rPr>
            </a:br>
            <a:r>
              <a:rPr lang="en-US" sz="1200" b="0" i="0" u="none" strike="noStrike" cap="none">
                <a:solidFill>
                  <a:srgbClr val="939699"/>
                </a:solidFill>
                <a:latin typeface="Arial"/>
                <a:ea typeface="Arial"/>
                <a:cs typeface="Arial"/>
                <a:sym typeface="Arial"/>
              </a:rPr>
              <a:t>For more information, visit:</a:t>
            </a:r>
            <a:endParaRPr sz="1467" b="0" i="0" u="none" strike="noStrike" cap="none">
              <a:solidFill>
                <a:srgbClr val="000000"/>
              </a:solidFill>
              <a:latin typeface="Arial"/>
              <a:ea typeface="Arial"/>
              <a:cs typeface="Arial"/>
              <a:sym typeface="Arial"/>
            </a:endParaRPr>
          </a:p>
          <a:p>
            <a:pPr marL="0" marR="0" lvl="0" indent="0" algn="l" rtl="0">
              <a:lnSpc>
                <a:spcPct val="115000"/>
              </a:lnSpc>
              <a:spcBef>
                <a:spcPts val="0"/>
              </a:spcBef>
              <a:spcAft>
                <a:spcPts val="0"/>
              </a:spcAft>
              <a:buClr>
                <a:srgbClr val="000000"/>
              </a:buClr>
              <a:buSzPts val="900"/>
              <a:buFont typeface="Arial"/>
              <a:buNone/>
            </a:pPr>
            <a:endParaRPr sz="1200" b="0" i="0" u="none" strike="noStrike" cap="none">
              <a:solidFill>
                <a:srgbClr val="939699"/>
              </a:solidFill>
              <a:latin typeface="Arial"/>
              <a:ea typeface="Arial"/>
              <a:cs typeface="Arial"/>
              <a:sym typeface="Arial"/>
            </a:endParaRPr>
          </a:p>
        </p:txBody>
      </p:sp>
      <p:sp>
        <p:nvSpPr>
          <p:cNvPr id="451" name="Google Shape;451;p22">
            <a:hlinkClick r:id="rId3"/>
          </p:cNvPr>
          <p:cNvSpPr/>
          <p:nvPr/>
        </p:nvSpPr>
        <p:spPr>
          <a:xfrm>
            <a:off x="804668" y="5654100"/>
            <a:ext cx="2109200" cy="484400"/>
          </a:xfrm>
          <a:prstGeom prst="roundRect">
            <a:avLst>
              <a:gd name="adj" fmla="val 50000"/>
            </a:avLst>
          </a:prstGeom>
          <a:solidFill>
            <a:srgbClr val="14E9B6"/>
          </a:solidFill>
          <a:ln w="12700" cap="flat" cmpd="sng">
            <a:solidFill>
              <a:srgbClr val="14E9B6"/>
            </a:solidFill>
            <a:prstDash val="solid"/>
            <a:miter lim="800000"/>
            <a:headEnd type="none" w="sm" len="sm"/>
            <a:tailEnd type="none" w="sm" len="sm"/>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chemeClr val="lt1"/>
              </a:buClr>
              <a:buSzPts val="900"/>
              <a:buFont typeface="Arial"/>
              <a:buNone/>
            </a:pPr>
            <a:r>
              <a:rPr lang="en-US" sz="1200" b="1" i="0" u="none" strike="noStrike" cap="none">
                <a:solidFill>
                  <a:srgbClr val="1A1A1A"/>
                </a:solidFill>
                <a:uFill>
                  <a:noFill/>
                </a:uFill>
                <a:latin typeface="Arial"/>
                <a:ea typeface="Arial"/>
                <a:cs typeface="Arial"/>
                <a:sym typeface="Arial"/>
                <a:hlinkClick r:id="rId4">
                  <a:extLst>
                    <a:ext uri="{A12FA001-AC4F-418D-AE19-62706E023703}">
                      <ahyp:hlinkClr xmlns:ahyp="http://schemas.microsoft.com/office/drawing/2018/hyperlinkcolor" val="tx"/>
                    </a:ext>
                  </a:extLst>
                </a:hlinkClick>
              </a:rPr>
              <a:t>sia-partners.com</a:t>
            </a:r>
            <a:endParaRPr sz="1200" b="1" i="0" u="none" strike="noStrike" cap="none">
              <a:solidFill>
                <a:srgbClr val="1A1A1A"/>
              </a:solidFill>
              <a:latin typeface="Arial"/>
              <a:ea typeface="Arial"/>
              <a:cs typeface="Arial"/>
              <a:sym typeface="Arial"/>
            </a:endParaRPr>
          </a:p>
        </p:txBody>
      </p:sp>
      <p:sp>
        <p:nvSpPr>
          <p:cNvPr id="452" name="Google Shape;452;p22"/>
          <p:cNvSpPr/>
          <p:nvPr/>
        </p:nvSpPr>
        <p:spPr>
          <a:xfrm>
            <a:off x="804333" y="6580400"/>
            <a:ext cx="3014400" cy="184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500"/>
              <a:buFont typeface="Arial"/>
              <a:buNone/>
            </a:pPr>
            <a:r>
              <a:rPr lang="en-US" sz="667" b="1" i="1" u="none" strike="noStrike" cap="none">
                <a:solidFill>
                  <a:srgbClr val="939699"/>
                </a:solidFill>
                <a:latin typeface="Arial"/>
                <a:ea typeface="Arial"/>
                <a:cs typeface="Arial"/>
                <a:sym typeface="Arial"/>
              </a:rPr>
              <a:t>*Sia Partners Panama, a Sia Partners member firm </a:t>
            </a:r>
            <a:endParaRPr sz="1467"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500"/>
              <a:buFont typeface="Arial"/>
              <a:buNone/>
            </a:pPr>
            <a:endParaRPr sz="667" b="1" i="1" u="none" strike="noStrike" cap="none">
              <a:solidFill>
                <a:srgbClr val="939699"/>
              </a:solidFill>
              <a:latin typeface="Arial"/>
              <a:ea typeface="Arial"/>
              <a:cs typeface="Arial"/>
              <a:sym typeface="Arial"/>
            </a:endParaRPr>
          </a:p>
        </p:txBody>
      </p:sp>
      <p:sp>
        <p:nvSpPr>
          <p:cNvPr id="453" name="Google Shape;453;p22"/>
          <p:cNvSpPr/>
          <p:nvPr/>
        </p:nvSpPr>
        <p:spPr>
          <a:xfrm>
            <a:off x="6326300" y="92800"/>
            <a:ext cx="1533600" cy="6672400"/>
          </a:xfrm>
          <a:prstGeom prst="rect">
            <a:avLst/>
          </a:prstGeom>
          <a:noFill/>
          <a:ln>
            <a:noFill/>
          </a:ln>
        </p:spPr>
        <p:txBody>
          <a:bodyPr spcFirstLastPara="1" wrap="square" lIns="91433" tIns="45700" rIns="91433" bIns="45700" anchor="t" anchorCtr="0">
            <a:noAutofit/>
          </a:bodyPr>
          <a:lstStyle/>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Abu Dhabi</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Amsterdam</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Baltimore</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Brussels</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Casablanca</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Charlotte</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Chicago</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Denver</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Doha</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Dubai</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Dublin</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Edinburgh</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Frankfurt</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Greater Bay Area</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Hamburg</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Hong Kong</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Houston</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London</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Luxembourg</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Lyon</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Milan</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Montreal</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New York</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Panama City*</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Paris</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Riyadh</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Rome</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Seattle</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Singapore</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Tokyo</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r>
              <a:rPr lang="en-US" sz="933" b="1" i="0" u="none" strike="noStrike" cap="none">
                <a:solidFill>
                  <a:srgbClr val="1A1A1A"/>
                </a:solidFill>
                <a:latin typeface="Arial"/>
                <a:ea typeface="Arial"/>
                <a:cs typeface="Arial"/>
                <a:sym typeface="Arial"/>
              </a:rPr>
              <a:t>Toronto </a:t>
            </a: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endParaRPr sz="933" b="1" i="0" u="none" strike="noStrike" cap="none">
              <a:solidFill>
                <a:srgbClr val="1A1A1A"/>
              </a:solidFill>
              <a:latin typeface="Arial"/>
              <a:ea typeface="Arial"/>
              <a:cs typeface="Arial"/>
              <a:sym typeface="Arial"/>
            </a:endParaRPr>
          </a:p>
          <a:p>
            <a:pPr marL="0" marR="0" lvl="0" indent="0" algn="r" rtl="0">
              <a:lnSpc>
                <a:spcPct val="150000"/>
              </a:lnSpc>
              <a:spcBef>
                <a:spcPts val="0"/>
              </a:spcBef>
              <a:spcAft>
                <a:spcPts val="0"/>
              </a:spcAft>
              <a:buClr>
                <a:srgbClr val="000000"/>
              </a:buClr>
              <a:buSzPts val="700"/>
              <a:buFont typeface="Arial"/>
              <a:buNone/>
            </a:pPr>
            <a:endParaRPr sz="933" b="1" i="0" u="none" strike="noStrike" cap="none">
              <a:solidFill>
                <a:srgbClr val="1A1A1A"/>
              </a:solidFill>
              <a:latin typeface="Arial"/>
              <a:ea typeface="Arial"/>
              <a:cs typeface="Arial"/>
              <a:sym typeface="Arial"/>
            </a:endParaRPr>
          </a:p>
        </p:txBody>
      </p:sp>
      <p:pic>
        <p:nvPicPr>
          <p:cNvPr id="454" name="Google Shape;454;p22"/>
          <p:cNvPicPr preferRelativeResize="0"/>
          <p:nvPr/>
        </p:nvPicPr>
        <p:blipFill rotWithShape="1">
          <a:blip r:embed="rId5">
            <a:alphaModFix/>
          </a:blip>
          <a:srcRect/>
          <a:stretch/>
        </p:blipFill>
        <p:spPr>
          <a:xfrm>
            <a:off x="3535500" y="5070465"/>
            <a:ext cx="2560501" cy="2709799"/>
          </a:xfrm>
          <a:prstGeom prst="rect">
            <a:avLst/>
          </a:prstGeom>
          <a:noFill/>
          <a:ln>
            <a:noFill/>
          </a:ln>
        </p:spPr>
      </p:pic>
      <p:sp>
        <p:nvSpPr>
          <p:cNvPr id="455" name="Google Shape;455;p22"/>
          <p:cNvSpPr/>
          <p:nvPr/>
        </p:nvSpPr>
        <p:spPr>
          <a:xfrm rot="-430255">
            <a:off x="5984137" y="-3864941"/>
            <a:ext cx="9164483" cy="9168501"/>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456" name="Google Shape;456;p22"/>
          <p:cNvCxnSpPr/>
          <p:nvPr/>
        </p:nvCxnSpPr>
        <p:spPr>
          <a:xfrm flipH="1">
            <a:off x="8946367" y="3755033"/>
            <a:ext cx="1892400" cy="1803600"/>
          </a:xfrm>
          <a:prstGeom prst="straightConnector1">
            <a:avLst/>
          </a:prstGeom>
          <a:noFill/>
          <a:ln w="9525" cap="flat" cmpd="sng">
            <a:solidFill>
              <a:schemeClr val="accent1"/>
            </a:solidFill>
            <a:prstDash val="solid"/>
            <a:round/>
            <a:headEnd type="none" w="sm" len="sm"/>
            <a:tailEnd type="none" w="sm" len="sm"/>
          </a:ln>
        </p:spPr>
      </p:cxnSp>
      <p:sp>
        <p:nvSpPr>
          <p:cNvPr id="457" name="Google Shape;457;p22"/>
          <p:cNvSpPr/>
          <p:nvPr/>
        </p:nvSpPr>
        <p:spPr>
          <a:xfrm>
            <a:off x="9209733" y="4962300"/>
            <a:ext cx="377200" cy="377200"/>
          </a:xfrm>
          <a:prstGeom prst="ellipse">
            <a:avLst/>
          </a:prstGeom>
          <a:solidFill>
            <a:schemeClr val="dk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pic>
        <p:nvPicPr>
          <p:cNvPr id="458" name="Google Shape;458;p22"/>
          <p:cNvPicPr preferRelativeResize="0"/>
          <p:nvPr/>
        </p:nvPicPr>
        <p:blipFill>
          <a:blip r:embed="rId6"/>
          <a:srcRect/>
          <a:stretch/>
        </p:blipFill>
        <p:spPr>
          <a:xfrm>
            <a:off x="816797" y="752418"/>
            <a:ext cx="2454372" cy="285233"/>
          </a:xfrm>
          <a:prstGeom prst="rect">
            <a:avLst/>
          </a:prstGeom>
          <a:noFill/>
          <a:ln>
            <a:noFill/>
          </a:ln>
        </p:spPr>
      </p:pic>
    </p:spTree>
    <p:extLst>
      <p:ext uri="{BB962C8B-B14F-4D97-AF65-F5344CB8AC3E}">
        <p14:creationId xmlns:p14="http://schemas.microsoft.com/office/powerpoint/2010/main" val="3240034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el en object">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a:xfrm>
            <a:off x="1200000" y="6400801"/>
            <a:ext cx="916667" cy="276224"/>
          </a:xfrm>
        </p:spPr>
        <p:txBody>
          <a:bodyPr/>
          <a:lstStyle/>
          <a:p>
            <a:fld id="{71616274-4FE1-42A0-958E-4F8D8C016092}"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tel 1"/>
          <p:cNvSpPr>
            <a:spLocks noGrp="1"/>
          </p:cNvSpPr>
          <p:nvPr>
            <p:ph type="title" hasCustomPrompt="1"/>
          </p:nvPr>
        </p:nvSpPr>
        <p:spPr>
          <a:xfrm>
            <a:off x="609600" y="1183176"/>
            <a:ext cx="10972800" cy="517632"/>
          </a:xfrm>
        </p:spPr>
        <p:txBody>
          <a:bodyPr tIns="0" bIns="0"/>
          <a:lstStyle/>
          <a:p>
            <a:r>
              <a:rPr lang="en-US" dirty="0"/>
              <a:t>This is the title</a:t>
            </a:r>
            <a:endParaRPr lang="nl-BE" dirty="0"/>
          </a:p>
        </p:txBody>
      </p:sp>
      <p:sp>
        <p:nvSpPr>
          <p:cNvPr id="10" name="Tijdelijke aanduiding voor inhoud 2"/>
          <p:cNvSpPr>
            <a:spLocks noGrp="1"/>
          </p:cNvSpPr>
          <p:nvPr>
            <p:ph idx="13"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dirty="0"/>
              <a:t>This is the subtitle</a:t>
            </a:r>
          </a:p>
        </p:txBody>
      </p:sp>
      <p:sp>
        <p:nvSpPr>
          <p:cNvPr id="8" name="Tijdelijke aanduiding voor inhoud 2">
            <a:extLst>
              <a:ext uri="{FF2B5EF4-FFF2-40B4-BE49-F238E27FC236}">
                <a16:creationId xmlns:a16="http://schemas.microsoft.com/office/drawing/2014/main" id="{017597B3-D718-4A3E-A590-E2C434D2BEA9}"/>
              </a:ext>
            </a:extLst>
          </p:cNvPr>
          <p:cNvSpPr>
            <a:spLocks noGrp="1"/>
          </p:cNvSpPr>
          <p:nvPr>
            <p:ph idx="1" hasCustomPrompt="1"/>
          </p:nvPr>
        </p:nvSpPr>
        <p:spPr>
          <a:xfrm>
            <a:off x="6096000" y="1989139"/>
            <a:ext cx="5486400" cy="4159885"/>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11" name="Picture Placeholder 8">
            <a:extLst>
              <a:ext uri="{FF2B5EF4-FFF2-40B4-BE49-F238E27FC236}">
                <a16:creationId xmlns:a16="http://schemas.microsoft.com/office/drawing/2014/main" id="{780B19EB-F64B-481B-96AD-A2BAD35CA904}"/>
              </a:ext>
            </a:extLst>
          </p:cNvPr>
          <p:cNvSpPr>
            <a:spLocks noGrp="1"/>
          </p:cNvSpPr>
          <p:nvPr>
            <p:ph type="pic" sz="quarter" idx="14"/>
          </p:nvPr>
        </p:nvSpPr>
        <p:spPr>
          <a:xfrm>
            <a:off x="609600" y="1989138"/>
            <a:ext cx="5486400" cy="4159250"/>
          </a:xfrm>
        </p:spPr>
        <p:txBody>
          <a:bodyPr/>
          <a:lstStyle/>
          <a:p>
            <a:r>
              <a:rPr lang="en-US"/>
              <a:t>Click icon to add picture</a:t>
            </a:r>
            <a:endParaRPr lang="fr-BE" dirty="0"/>
          </a:p>
        </p:txBody>
      </p:sp>
    </p:spTree>
    <p:extLst>
      <p:ext uri="{BB962C8B-B14F-4D97-AF65-F5344CB8AC3E}">
        <p14:creationId xmlns:p14="http://schemas.microsoft.com/office/powerpoint/2010/main" val="690751428"/>
      </p:ext>
    </p:extLst>
  </p:cSld>
  <p:clrMapOvr>
    <a:masterClrMapping/>
  </p:clrMapOvr>
  <p:extLst>
    <p:ext uri="{DCECCB84-F9BA-43D5-87BE-67443E8EF086}">
      <p15:sldGuideLst xmlns:p15="http://schemas.microsoft.com/office/powerpoint/2012/main">
        <p15:guide id="1" orient="horz" pos="1253" userDrawn="1">
          <p15:clr>
            <a:srgbClr val="FBAE40"/>
          </p15:clr>
        </p15:guide>
        <p15:guide id="2" pos="3840"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CV">
  <p:cSld name="CV">
    <p:bg>
      <p:bgPr>
        <a:solidFill>
          <a:srgbClr val="FFFFFF"/>
        </a:solidFill>
        <a:effectLst/>
      </p:bgPr>
    </p:bg>
    <p:spTree>
      <p:nvGrpSpPr>
        <p:cNvPr id="1" name="Shape 459"/>
        <p:cNvGrpSpPr/>
        <p:nvPr/>
      </p:nvGrpSpPr>
      <p:grpSpPr>
        <a:xfrm>
          <a:off x="0" y="0"/>
          <a:ext cx="0" cy="0"/>
          <a:chOff x="0" y="0"/>
          <a:chExt cx="0" cy="0"/>
        </a:xfrm>
      </p:grpSpPr>
      <p:sp>
        <p:nvSpPr>
          <p:cNvPr id="460" name="Google Shape;460;p41"/>
          <p:cNvSpPr/>
          <p:nvPr/>
        </p:nvSpPr>
        <p:spPr>
          <a:xfrm>
            <a:off x="0" y="-100"/>
            <a:ext cx="4332400" cy="6858000"/>
          </a:xfrm>
          <a:prstGeom prst="rect">
            <a:avLst/>
          </a:prstGeom>
          <a:solidFill>
            <a:srgbClr val="1A1A1A"/>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FFFFFF"/>
              </a:solidFill>
              <a:latin typeface="Arial"/>
              <a:ea typeface="Arial"/>
              <a:cs typeface="Arial"/>
              <a:sym typeface="Arial"/>
            </a:endParaRPr>
          </a:p>
        </p:txBody>
      </p:sp>
      <p:sp>
        <p:nvSpPr>
          <p:cNvPr id="461" name="Google Shape;461;p41"/>
          <p:cNvSpPr txBox="1">
            <a:spLocks noGrp="1"/>
          </p:cNvSpPr>
          <p:nvPr>
            <p:ph type="title"/>
          </p:nvPr>
        </p:nvSpPr>
        <p:spPr>
          <a:xfrm>
            <a:off x="800100" y="698500"/>
            <a:ext cx="2912000" cy="1232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FFFFFF"/>
              </a:buClr>
              <a:buSzPts val="1800"/>
              <a:buFont typeface="Arial"/>
              <a:buNone/>
              <a:defRPr sz="2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pic>
        <p:nvPicPr>
          <p:cNvPr id="462" name="Google Shape;462;p41"/>
          <p:cNvPicPr preferRelativeResize="0"/>
          <p:nvPr/>
        </p:nvPicPr>
        <p:blipFill rotWithShape="1">
          <a:blip r:embed="rId2">
            <a:alphaModFix/>
          </a:blip>
          <a:srcRect/>
          <a:stretch/>
        </p:blipFill>
        <p:spPr>
          <a:xfrm>
            <a:off x="2645650" y="77187"/>
            <a:ext cx="2560501" cy="2709799"/>
          </a:xfrm>
          <a:prstGeom prst="rect">
            <a:avLst/>
          </a:prstGeom>
          <a:noFill/>
          <a:ln>
            <a:noFill/>
          </a:ln>
        </p:spPr>
      </p:pic>
      <p:sp>
        <p:nvSpPr>
          <p:cNvPr id="463" name="Google Shape;463;p41"/>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chemeClr val="dk1"/>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chemeClr val="dk1"/>
              </a:solidFill>
              <a:latin typeface="Arial"/>
              <a:ea typeface="Arial"/>
              <a:cs typeface="Arial"/>
              <a:sym typeface="Arial"/>
            </a:endParaRPr>
          </a:p>
        </p:txBody>
      </p:sp>
      <p:sp>
        <p:nvSpPr>
          <p:cNvPr id="464" name="Google Shape;464;p41"/>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FFFFFF"/>
                </a:solidFill>
                <a:latin typeface="Arial"/>
                <a:ea typeface="Arial"/>
                <a:cs typeface="Arial"/>
                <a:sym typeface="Arial"/>
              </a:rPr>
              <a:t>confidential</a:t>
            </a:r>
            <a:endParaRPr sz="1067" b="0" i="0" u="none" strike="noStrike" cap="none">
              <a:solidFill>
                <a:srgbClr val="FFFFFF"/>
              </a:solidFill>
              <a:latin typeface="Arial"/>
              <a:ea typeface="Arial"/>
              <a:cs typeface="Arial"/>
              <a:sym typeface="Arial"/>
            </a:endParaRPr>
          </a:p>
        </p:txBody>
      </p:sp>
      <p:sp>
        <p:nvSpPr>
          <p:cNvPr id="466" name="Google Shape;466;p41"/>
          <p:cNvSpPr txBox="1">
            <a:spLocks noGrp="1"/>
          </p:cNvSpPr>
          <p:nvPr>
            <p:ph type="body" idx="1"/>
          </p:nvPr>
        </p:nvSpPr>
        <p:spPr>
          <a:xfrm>
            <a:off x="2022088" y="2404317"/>
            <a:ext cx="2201045" cy="365200"/>
          </a:xfrm>
          <a:prstGeom prst="rect">
            <a:avLst/>
          </a:prstGeom>
          <a:noFill/>
          <a:ln>
            <a:noFill/>
          </a:ln>
        </p:spPr>
        <p:txBody>
          <a:bodyPr spcFirstLastPara="1" wrap="square" lIns="91425" tIns="45700" rIns="91425" bIns="45700" anchor="t" anchorCtr="0">
            <a:noAutofit/>
          </a:bodyPr>
          <a:lstStyle>
            <a:lvl1pPr marL="191995" marR="0" lvl="0" indent="0"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467" name="Google Shape;467;p41"/>
          <p:cNvSpPr txBox="1">
            <a:spLocks noGrp="1"/>
          </p:cNvSpPr>
          <p:nvPr>
            <p:ph type="body" idx="2"/>
          </p:nvPr>
        </p:nvSpPr>
        <p:spPr>
          <a:xfrm>
            <a:off x="2022088" y="2938692"/>
            <a:ext cx="2201045" cy="365200"/>
          </a:xfrm>
          <a:prstGeom prst="rect">
            <a:avLst/>
          </a:prstGeom>
          <a:noFill/>
          <a:ln>
            <a:noFill/>
          </a:ln>
        </p:spPr>
        <p:txBody>
          <a:bodyPr spcFirstLastPara="1" wrap="square" lIns="91425" tIns="45700" rIns="91425" bIns="45700" anchor="t" anchorCtr="0">
            <a:noAutofit/>
          </a:bodyPr>
          <a:lstStyle>
            <a:lvl1pPr marL="191995" marR="0" lvl="0" indent="0" algn="l">
              <a:lnSpc>
                <a:spcPct val="100000"/>
              </a:lnSpc>
              <a:spcBef>
                <a:spcPts val="0"/>
              </a:spcBef>
              <a:spcAft>
                <a:spcPts val="0"/>
              </a:spcAft>
              <a:buClr>
                <a:srgbClr val="000000"/>
              </a:buClr>
              <a:buSzPts val="1400"/>
              <a:buFont typeface="Arial"/>
              <a:buNone/>
              <a:defRPr sz="1333" b="0" i="1" u="none" strike="noStrike" cap="none">
                <a:solidFill>
                  <a:schemeClr val="accent6"/>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468" name="Google Shape;468;p41"/>
          <p:cNvSpPr txBox="1">
            <a:spLocks noGrp="1"/>
          </p:cNvSpPr>
          <p:nvPr>
            <p:ph type="body" idx="3"/>
          </p:nvPr>
        </p:nvSpPr>
        <p:spPr>
          <a:xfrm>
            <a:off x="4351065" y="1482657"/>
            <a:ext cx="7046000" cy="4649200"/>
          </a:xfrm>
          <a:prstGeom prst="rect">
            <a:avLst/>
          </a:prstGeom>
          <a:noFill/>
          <a:ln>
            <a:noFill/>
          </a:ln>
        </p:spPr>
        <p:txBody>
          <a:bodyPr spcFirstLastPara="1" wrap="square" lIns="91425" tIns="45700" rIns="91425" bIns="4570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469" name="Google Shape;469;p41"/>
          <p:cNvSpPr txBox="1">
            <a:spLocks noGrp="1"/>
          </p:cNvSpPr>
          <p:nvPr>
            <p:ph type="body" idx="4"/>
          </p:nvPr>
        </p:nvSpPr>
        <p:spPr>
          <a:xfrm>
            <a:off x="4367277" y="719333"/>
            <a:ext cx="7036400" cy="728400"/>
          </a:xfrm>
          <a:prstGeom prst="rect">
            <a:avLst/>
          </a:prstGeom>
          <a:noFill/>
          <a:ln>
            <a:noFill/>
          </a:ln>
        </p:spPr>
        <p:txBody>
          <a:bodyPr spcFirstLastPara="1" wrap="square" lIns="360000" tIns="0" rIns="0" bIns="0" anchor="t" anchorCtr="0">
            <a:noAutofit/>
          </a:bodyPr>
          <a:lstStyle>
            <a:lvl1pPr marL="609585" marR="0" lvl="0" indent="-304792" algn="l">
              <a:lnSpc>
                <a:spcPct val="100000"/>
              </a:lnSpc>
              <a:spcBef>
                <a:spcPts val="0"/>
              </a:spcBef>
              <a:spcAft>
                <a:spcPts val="0"/>
              </a:spcAft>
              <a:buClr>
                <a:schemeClr val="dk2"/>
              </a:buClr>
              <a:buSzPts val="1100"/>
              <a:buFont typeface="Arial"/>
              <a:buNone/>
              <a:defRPr sz="1467" b="1" i="0" u="none" strike="noStrike" cap="none">
                <a:solidFill>
                  <a:schemeClr val="dk2"/>
                </a:solidFill>
                <a:latin typeface="Arial"/>
                <a:ea typeface="Arial"/>
                <a:cs typeface="Arial"/>
                <a:sym typeface="Arial"/>
              </a:defRPr>
            </a:lvl1pPr>
            <a:lvl2pPr marL="1219170" marR="0" lvl="1"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2pPr>
            <a:lvl3pPr marL="1828754" marR="0" lvl="2"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3pPr>
            <a:lvl4pPr marL="2438339" marR="0" lvl="3"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4pPr>
            <a:lvl5pPr marL="3047924" marR="0" lvl="4"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5pPr>
            <a:lvl6pPr marL="3657509" marR="0" lvl="5"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6pPr>
            <a:lvl7pPr marL="4267093" marR="0" lvl="6"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7pPr>
            <a:lvl8pPr marL="4876678" marR="0" lvl="7"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8pPr>
            <a:lvl9pPr marL="5486263" marR="0" lvl="8"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470" name="Google Shape;470;p41"/>
          <p:cNvSpPr txBox="1">
            <a:spLocks noGrp="1"/>
          </p:cNvSpPr>
          <p:nvPr>
            <p:ph type="body" idx="5"/>
          </p:nvPr>
        </p:nvSpPr>
        <p:spPr>
          <a:xfrm>
            <a:off x="800100" y="3678351"/>
            <a:ext cx="3538400" cy="2459200"/>
          </a:xfrm>
          <a:prstGeom prst="rect">
            <a:avLst/>
          </a:prstGeom>
          <a:noFill/>
          <a:ln>
            <a:noFill/>
          </a:ln>
        </p:spPr>
        <p:txBody>
          <a:bodyPr spcFirstLastPara="1" wrap="square" lIns="0" tIns="0" rIns="108000" bIns="0" anchor="t" anchorCtr="0">
            <a:noAutofit/>
          </a:bodyPr>
          <a:lstStyle>
            <a:lvl1pPr marL="609585" marR="0" lvl="0" indent="-304792" algn="l">
              <a:lnSpc>
                <a:spcPct val="100000"/>
              </a:lnSpc>
              <a:spcBef>
                <a:spcPts val="0"/>
              </a:spcBef>
              <a:spcAft>
                <a:spcPts val="0"/>
              </a:spcAft>
              <a:buClr>
                <a:schemeClr val="accent6"/>
              </a:buClr>
              <a:buSzPts val="900"/>
              <a:buFont typeface="Arial"/>
              <a:buNone/>
              <a:defRPr sz="1200" b="0" i="0" u="none" strike="noStrike" cap="none">
                <a:solidFill>
                  <a:schemeClr val="accent6"/>
                </a:solidFill>
                <a:latin typeface="Arial"/>
                <a:ea typeface="Arial"/>
                <a:cs typeface="Arial"/>
                <a:sym typeface="Arial"/>
              </a:defRPr>
            </a:lvl1pPr>
            <a:lvl2pPr marL="1219170" marR="0" lvl="1"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2pPr>
            <a:lvl3pPr marL="1828754" marR="0" lvl="2"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3pPr>
            <a:lvl4pPr marL="2438339" marR="0" lvl="3" indent="-380990" algn="l">
              <a:lnSpc>
                <a:spcPct val="100000"/>
              </a:lnSpc>
              <a:spcBef>
                <a:spcPts val="0"/>
              </a:spcBef>
              <a:spcAft>
                <a:spcPts val="0"/>
              </a:spcAft>
              <a:buClr>
                <a:schemeClr val="accent6"/>
              </a:buClr>
              <a:buSzPts val="900"/>
              <a:buFont typeface="Arial"/>
              <a:buChar char="●"/>
              <a:defRPr sz="1200" b="1" i="0" u="none" strike="noStrike" cap="none">
                <a:solidFill>
                  <a:schemeClr val="accent6"/>
                </a:solidFill>
                <a:latin typeface="Arial"/>
                <a:ea typeface="Arial"/>
                <a:cs typeface="Arial"/>
                <a:sym typeface="Arial"/>
              </a:defRPr>
            </a:lvl4pPr>
            <a:lvl5pPr marL="3047924" marR="0" lvl="4"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5pPr>
            <a:lvl6pPr marL="3657509" marR="0" lvl="5"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6pPr>
            <a:lvl7pPr marL="4267093" marR="0" lvl="6"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7pPr>
            <a:lvl8pPr marL="4876678" marR="0" lvl="7"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8pPr>
            <a:lvl9pPr marL="5486263" marR="0" lvl="8"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9pPr>
          </a:lstStyle>
          <a:p>
            <a:pPr lvl="0"/>
            <a:r>
              <a:rPr lang="en-US"/>
              <a:t>Click to edit Master text styles</a:t>
            </a:r>
          </a:p>
        </p:txBody>
      </p:sp>
      <p:sp>
        <p:nvSpPr>
          <p:cNvPr id="471" name="Google Shape;471;p41"/>
          <p:cNvSpPr>
            <a:spLocks noGrp="1"/>
          </p:cNvSpPr>
          <p:nvPr>
            <p:ph type="pic" idx="6"/>
          </p:nvPr>
        </p:nvSpPr>
        <p:spPr>
          <a:xfrm>
            <a:off x="815120" y="2302492"/>
            <a:ext cx="1101600" cy="1103200"/>
          </a:xfrm>
          <a:prstGeom prst="ellipse">
            <a:avLst/>
          </a:prstGeom>
          <a:solidFill>
            <a:srgbClr val="F3F3F3"/>
          </a:solidFill>
          <a:ln w="9525" cap="rnd" cmpd="sng">
            <a:solidFill>
              <a:schemeClr val="accent1"/>
            </a:solidFill>
            <a:prstDash val="solid"/>
            <a:round/>
            <a:headEnd type="none" w="sm" len="sm"/>
            <a:tailEnd type="none" w="sm" len="sm"/>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2pPr>
            <a:lvl3pPr marR="0" lvl="2"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3pPr>
            <a:lvl4pPr marR="0" lvl="3"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4pPr>
            <a:lvl5pPr marR="0" lvl="4"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5pPr>
            <a:lvl6pPr marR="0" lvl="5"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6pPr>
            <a:lvl7pPr marR="0" lvl="6"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7pPr>
            <a:lvl8pPr marR="0" lvl="7"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8pPr>
            <a:lvl9pPr marR="0" lvl="8" algn="l" rtl="0">
              <a:lnSpc>
                <a:spcPct val="100000"/>
              </a:lnSpc>
              <a:spcBef>
                <a:spcPts val="0"/>
              </a:spcBef>
              <a:spcAft>
                <a:spcPts val="0"/>
              </a:spcAft>
              <a:buClr>
                <a:schemeClr val="lt1"/>
              </a:buClr>
              <a:buSzPts val="800"/>
              <a:buFont typeface="Arial"/>
              <a:buNone/>
              <a:defRPr sz="1067" b="0" i="0" u="none" strike="noStrike" cap="none">
                <a:solidFill>
                  <a:schemeClr val="lt1"/>
                </a:solidFill>
                <a:latin typeface="Arial"/>
                <a:ea typeface="Arial"/>
                <a:cs typeface="Arial"/>
                <a:sym typeface="Arial"/>
              </a:defRPr>
            </a:lvl9pPr>
          </a:lstStyle>
          <a:p>
            <a:r>
              <a:rPr lang="en-US"/>
              <a:t>Click icon to add picture</a:t>
            </a:r>
            <a:endParaRPr/>
          </a:p>
        </p:txBody>
      </p:sp>
      <p:pic>
        <p:nvPicPr>
          <p:cNvPr id="14" name="Google Shape;95;p45">
            <a:extLst>
              <a:ext uri="{FF2B5EF4-FFF2-40B4-BE49-F238E27FC236}">
                <a16:creationId xmlns:a16="http://schemas.microsoft.com/office/drawing/2014/main" id="{4087DB41-3506-B247-BD55-0ED893A2A1BB}"/>
              </a:ext>
            </a:extLst>
          </p:cNvPr>
          <p:cNvPicPr preferRelativeResize="0"/>
          <p:nvPr/>
        </p:nvPicPr>
        <p:blipFill>
          <a:blip r:embed="rId3"/>
          <a:srcRect/>
          <a:stretch/>
        </p:blipFill>
        <p:spPr>
          <a:xfrm>
            <a:off x="804333" y="6450452"/>
            <a:ext cx="1339315" cy="156579"/>
          </a:xfrm>
          <a:prstGeom prst="rect">
            <a:avLst/>
          </a:prstGeom>
          <a:noFill/>
          <a:ln>
            <a:noFill/>
          </a:ln>
        </p:spPr>
      </p:pic>
    </p:spTree>
    <p:extLst>
      <p:ext uri="{BB962C8B-B14F-4D97-AF65-F5344CB8AC3E}">
        <p14:creationId xmlns:p14="http://schemas.microsoft.com/office/powerpoint/2010/main" val="145721272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CV 2">
  <p:cSld name="CV 2">
    <p:bg>
      <p:bgPr>
        <a:solidFill>
          <a:srgbClr val="FFFFFF"/>
        </a:solidFill>
        <a:effectLst/>
      </p:bgPr>
    </p:bg>
    <p:spTree>
      <p:nvGrpSpPr>
        <p:cNvPr id="1" name="Shape 472"/>
        <p:cNvGrpSpPr/>
        <p:nvPr/>
      </p:nvGrpSpPr>
      <p:grpSpPr>
        <a:xfrm>
          <a:off x="0" y="0"/>
          <a:ext cx="0" cy="0"/>
          <a:chOff x="0" y="0"/>
          <a:chExt cx="0" cy="0"/>
        </a:xfrm>
      </p:grpSpPr>
      <p:sp>
        <p:nvSpPr>
          <p:cNvPr id="473" name="Google Shape;473;p42"/>
          <p:cNvSpPr/>
          <p:nvPr/>
        </p:nvSpPr>
        <p:spPr>
          <a:xfrm>
            <a:off x="0" y="-100"/>
            <a:ext cx="4332400" cy="6858000"/>
          </a:xfrm>
          <a:prstGeom prst="rect">
            <a:avLst/>
          </a:prstGeom>
          <a:solidFill>
            <a:srgbClr val="1A1A1A"/>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FFFFFF"/>
              </a:solidFill>
              <a:latin typeface="Arial"/>
              <a:ea typeface="Arial"/>
              <a:cs typeface="Arial"/>
              <a:sym typeface="Arial"/>
            </a:endParaRPr>
          </a:p>
        </p:txBody>
      </p:sp>
      <p:sp>
        <p:nvSpPr>
          <p:cNvPr id="474" name="Google Shape;474;p42"/>
          <p:cNvSpPr txBox="1">
            <a:spLocks noGrp="1"/>
          </p:cNvSpPr>
          <p:nvPr>
            <p:ph type="title"/>
          </p:nvPr>
        </p:nvSpPr>
        <p:spPr>
          <a:xfrm>
            <a:off x="800100" y="698500"/>
            <a:ext cx="3532400" cy="5433600"/>
          </a:xfrm>
          <a:prstGeom prst="rect">
            <a:avLst/>
          </a:prstGeom>
          <a:noFill/>
          <a:ln>
            <a:noFill/>
          </a:ln>
        </p:spPr>
        <p:txBody>
          <a:bodyPr spcFirstLastPara="1" wrap="square" lIns="0" tIns="0" rIns="180000" bIns="0" anchor="t" anchorCtr="0">
            <a:noAutofit/>
          </a:bodyPr>
          <a:lstStyle>
            <a:lvl1pPr marR="0" lvl="0" algn="l" rtl="0">
              <a:lnSpc>
                <a:spcPct val="100000"/>
              </a:lnSpc>
              <a:spcBef>
                <a:spcPts val="0"/>
              </a:spcBef>
              <a:spcAft>
                <a:spcPts val="0"/>
              </a:spcAft>
              <a:buClr>
                <a:srgbClr val="FFFFFF"/>
              </a:buClr>
              <a:buSzPts val="1800"/>
              <a:buFont typeface="Arial"/>
              <a:buNone/>
              <a:defRPr sz="2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475" name="Google Shape;475;p42"/>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chemeClr val="dk1"/>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chemeClr val="dk1"/>
              </a:solidFill>
              <a:latin typeface="Arial"/>
              <a:ea typeface="Arial"/>
              <a:cs typeface="Arial"/>
              <a:sym typeface="Arial"/>
            </a:endParaRPr>
          </a:p>
        </p:txBody>
      </p:sp>
      <p:sp>
        <p:nvSpPr>
          <p:cNvPr id="476" name="Google Shape;476;p42"/>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FFFFFF"/>
                </a:solidFill>
                <a:latin typeface="Arial"/>
                <a:ea typeface="Arial"/>
                <a:cs typeface="Arial"/>
                <a:sym typeface="Arial"/>
              </a:rPr>
              <a:t>confidential</a:t>
            </a:r>
            <a:endParaRPr sz="1067" b="0" i="0" u="none" strike="noStrike" cap="none">
              <a:solidFill>
                <a:srgbClr val="FFFFFF"/>
              </a:solidFill>
              <a:latin typeface="Arial"/>
              <a:ea typeface="Arial"/>
              <a:cs typeface="Arial"/>
              <a:sym typeface="Arial"/>
            </a:endParaRPr>
          </a:p>
        </p:txBody>
      </p:sp>
      <p:sp>
        <p:nvSpPr>
          <p:cNvPr id="478" name="Google Shape;478;p42"/>
          <p:cNvSpPr txBox="1">
            <a:spLocks noGrp="1"/>
          </p:cNvSpPr>
          <p:nvPr>
            <p:ph type="body" idx="1"/>
          </p:nvPr>
        </p:nvSpPr>
        <p:spPr>
          <a:xfrm>
            <a:off x="4351067" y="719668"/>
            <a:ext cx="7046000" cy="5412400"/>
          </a:xfrm>
          <a:prstGeom prst="rect">
            <a:avLst/>
          </a:prstGeom>
          <a:noFill/>
          <a:ln>
            <a:noFill/>
          </a:ln>
        </p:spPr>
        <p:txBody>
          <a:bodyPr spcFirstLastPara="1" wrap="square" lIns="91425" tIns="45700" rIns="91425" bIns="4570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pic>
        <p:nvPicPr>
          <p:cNvPr id="8" name="Google Shape;95;p45">
            <a:extLst>
              <a:ext uri="{FF2B5EF4-FFF2-40B4-BE49-F238E27FC236}">
                <a16:creationId xmlns:a16="http://schemas.microsoft.com/office/drawing/2014/main" id="{1150CF1C-BF29-DC46-BF0C-61C494F24695}"/>
              </a:ext>
            </a:extLst>
          </p:cNvPr>
          <p:cNvPicPr preferRelativeResize="0"/>
          <p:nvPr/>
        </p:nvPicPr>
        <p:blipFill>
          <a:blip r:embed="rId2"/>
          <a:srcRect/>
          <a:stretch/>
        </p:blipFill>
        <p:spPr>
          <a:xfrm>
            <a:off x="804333" y="6450452"/>
            <a:ext cx="1339315" cy="156579"/>
          </a:xfrm>
          <a:prstGeom prst="rect">
            <a:avLst/>
          </a:prstGeom>
          <a:noFill/>
          <a:ln>
            <a:noFill/>
          </a:ln>
        </p:spPr>
      </p:pic>
    </p:spTree>
    <p:extLst>
      <p:ext uri="{BB962C8B-B14F-4D97-AF65-F5344CB8AC3E}">
        <p14:creationId xmlns:p14="http://schemas.microsoft.com/office/powerpoint/2010/main" val="219550101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CV 1bis">
  <p:cSld name="CV 1bis">
    <p:bg>
      <p:bgPr>
        <a:solidFill>
          <a:srgbClr val="FFFFFF"/>
        </a:solidFill>
        <a:effectLst/>
      </p:bgPr>
    </p:bg>
    <p:spTree>
      <p:nvGrpSpPr>
        <p:cNvPr id="1" name="Shape 479"/>
        <p:cNvGrpSpPr/>
        <p:nvPr/>
      </p:nvGrpSpPr>
      <p:grpSpPr>
        <a:xfrm>
          <a:off x="0" y="0"/>
          <a:ext cx="0" cy="0"/>
          <a:chOff x="0" y="0"/>
          <a:chExt cx="0" cy="0"/>
        </a:xfrm>
      </p:grpSpPr>
      <p:sp>
        <p:nvSpPr>
          <p:cNvPr id="480" name="Google Shape;480;p43"/>
          <p:cNvSpPr/>
          <p:nvPr/>
        </p:nvSpPr>
        <p:spPr>
          <a:xfrm>
            <a:off x="0" y="0"/>
            <a:ext cx="4332400" cy="6858000"/>
          </a:xfrm>
          <a:prstGeom prst="rect">
            <a:avLst/>
          </a:prstGeom>
          <a:solidFill>
            <a:srgbClr val="1A1A1A"/>
          </a:solidFill>
          <a:ln>
            <a:noFill/>
          </a:ln>
        </p:spPr>
        <p:txBody>
          <a:bodyPr spcFirstLastPara="1" wrap="square" lIns="91433" tIns="45700" rIns="91433"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867" b="0" i="0" u="none" strike="noStrike" cap="none">
              <a:solidFill>
                <a:srgbClr val="FFFFFF"/>
              </a:solidFill>
              <a:latin typeface="Arial"/>
              <a:ea typeface="Arial"/>
              <a:cs typeface="Arial"/>
              <a:sym typeface="Arial"/>
            </a:endParaRPr>
          </a:p>
        </p:txBody>
      </p:sp>
      <p:sp>
        <p:nvSpPr>
          <p:cNvPr id="481" name="Google Shape;481;p43"/>
          <p:cNvSpPr txBox="1">
            <a:spLocks noGrp="1"/>
          </p:cNvSpPr>
          <p:nvPr>
            <p:ph type="title"/>
          </p:nvPr>
        </p:nvSpPr>
        <p:spPr>
          <a:xfrm>
            <a:off x="800100" y="698500"/>
            <a:ext cx="2912000" cy="1232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FFFFFF"/>
              </a:buClr>
              <a:buSzPts val="1800"/>
              <a:buFont typeface="Arial"/>
              <a:buNone/>
              <a:defRPr sz="2400" b="1" i="0" u="none" strike="noStrike" cap="none">
                <a:solidFill>
                  <a:srgbClr val="FFFFFF"/>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pic>
        <p:nvPicPr>
          <p:cNvPr id="482" name="Google Shape;482;p43"/>
          <p:cNvPicPr preferRelativeResize="0"/>
          <p:nvPr/>
        </p:nvPicPr>
        <p:blipFill rotWithShape="1">
          <a:blip r:embed="rId2">
            <a:alphaModFix/>
          </a:blip>
          <a:srcRect/>
          <a:stretch/>
        </p:blipFill>
        <p:spPr>
          <a:xfrm>
            <a:off x="2645650" y="77187"/>
            <a:ext cx="2560501" cy="2709799"/>
          </a:xfrm>
          <a:prstGeom prst="rect">
            <a:avLst/>
          </a:prstGeom>
          <a:noFill/>
          <a:ln>
            <a:noFill/>
          </a:ln>
        </p:spPr>
      </p:pic>
      <p:sp>
        <p:nvSpPr>
          <p:cNvPr id="483" name="Google Shape;483;p43"/>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chemeClr val="dk1"/>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chemeClr val="dk1"/>
              </a:solidFill>
              <a:latin typeface="Arial"/>
              <a:ea typeface="Arial"/>
              <a:cs typeface="Arial"/>
              <a:sym typeface="Arial"/>
            </a:endParaRPr>
          </a:p>
        </p:txBody>
      </p:sp>
      <p:sp>
        <p:nvSpPr>
          <p:cNvPr id="484" name="Google Shape;484;p43"/>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FFFFFF"/>
                </a:solidFill>
                <a:latin typeface="Arial"/>
                <a:ea typeface="Arial"/>
                <a:cs typeface="Arial"/>
                <a:sym typeface="Arial"/>
              </a:rPr>
              <a:t>confidential</a:t>
            </a:r>
            <a:endParaRPr sz="1067" b="0" i="0" u="none" strike="noStrike" cap="none">
              <a:solidFill>
                <a:srgbClr val="FFFFFF"/>
              </a:solidFill>
              <a:latin typeface="Arial"/>
              <a:ea typeface="Arial"/>
              <a:cs typeface="Arial"/>
              <a:sym typeface="Arial"/>
            </a:endParaRPr>
          </a:p>
        </p:txBody>
      </p:sp>
      <p:sp>
        <p:nvSpPr>
          <p:cNvPr id="486" name="Google Shape;486;p43"/>
          <p:cNvSpPr txBox="1">
            <a:spLocks noGrp="1"/>
          </p:cNvSpPr>
          <p:nvPr>
            <p:ph type="body" idx="1"/>
          </p:nvPr>
        </p:nvSpPr>
        <p:spPr>
          <a:xfrm>
            <a:off x="4351065" y="1482657"/>
            <a:ext cx="7046000" cy="4649200"/>
          </a:xfrm>
          <a:prstGeom prst="rect">
            <a:avLst/>
          </a:prstGeom>
          <a:noFill/>
          <a:ln>
            <a:noFill/>
          </a:ln>
        </p:spPr>
        <p:txBody>
          <a:bodyPr spcFirstLastPara="1" wrap="square" lIns="91425" tIns="45700" rIns="91425" bIns="45700" anchor="t" anchorCtr="0">
            <a:noAutofit/>
          </a:bodyPr>
          <a:lstStyle>
            <a:lvl1pPr marL="609585" marR="0" lvl="0"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487" name="Google Shape;487;p43"/>
          <p:cNvSpPr txBox="1">
            <a:spLocks noGrp="1"/>
          </p:cNvSpPr>
          <p:nvPr>
            <p:ph type="body" idx="2"/>
          </p:nvPr>
        </p:nvSpPr>
        <p:spPr>
          <a:xfrm>
            <a:off x="804333" y="2475335"/>
            <a:ext cx="3410800" cy="365200"/>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488" name="Google Shape;488;p43"/>
          <p:cNvSpPr txBox="1">
            <a:spLocks noGrp="1"/>
          </p:cNvSpPr>
          <p:nvPr>
            <p:ph type="body" idx="3"/>
          </p:nvPr>
        </p:nvSpPr>
        <p:spPr>
          <a:xfrm>
            <a:off x="804333" y="2908108"/>
            <a:ext cx="3410800" cy="365200"/>
          </a:xfrm>
          <a:prstGeom prst="rect">
            <a:avLst/>
          </a:prstGeom>
          <a:noFill/>
          <a:ln>
            <a:noFill/>
          </a:ln>
        </p:spPr>
        <p:txBody>
          <a:bodyPr spcFirstLastPara="1" wrap="square" lIns="91425" tIns="45700" rIns="91425" bIns="45700" anchor="t" anchorCtr="0">
            <a:noAutofit/>
          </a:bodyPr>
          <a:lstStyle>
            <a:lvl1pPr marL="0" marR="0" lvl="0" indent="0" algn="l">
              <a:lnSpc>
                <a:spcPct val="100000"/>
              </a:lnSpc>
              <a:spcBef>
                <a:spcPts val="0"/>
              </a:spcBef>
              <a:spcAft>
                <a:spcPts val="0"/>
              </a:spcAft>
              <a:buClr>
                <a:srgbClr val="000000"/>
              </a:buClr>
              <a:buSzPts val="1400"/>
              <a:buFont typeface="Arial"/>
              <a:buNone/>
              <a:defRPr sz="1333" b="0" i="1" u="none" strike="noStrike" cap="none">
                <a:solidFill>
                  <a:schemeClr val="accent6"/>
                </a:solidFill>
                <a:latin typeface="Arial"/>
                <a:ea typeface="Arial"/>
                <a:cs typeface="Arial"/>
                <a:sym typeface="Arial"/>
              </a:defRPr>
            </a:lvl1pPr>
            <a:lvl2pPr marL="1219170" marR="0" lvl="1"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2pPr>
            <a:lvl3pPr marL="1828754" marR="0" lvl="2"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3pPr>
            <a:lvl4pPr marL="2438339" marR="0" lvl="3"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4pPr>
            <a:lvl5pPr marL="3047924" marR="0" lvl="4" indent="-304792" algn="l">
              <a:lnSpc>
                <a:spcPct val="100000"/>
              </a:lnSpc>
              <a:spcBef>
                <a:spcPts val="0"/>
              </a:spcBef>
              <a:spcAft>
                <a:spcPts val="0"/>
              </a:spcAft>
              <a:buClr>
                <a:srgbClr val="000000"/>
              </a:buClr>
              <a:buSzPts val="1400"/>
              <a:buFont typeface="Arial"/>
              <a:buNone/>
              <a:defRPr sz="1467" b="1" i="0" u="none" strike="noStrike" cap="none">
                <a:solidFill>
                  <a:schemeClr val="accent1"/>
                </a:solidFill>
                <a:latin typeface="Arial"/>
                <a:ea typeface="Arial"/>
                <a:cs typeface="Arial"/>
                <a:sym typeface="Arial"/>
              </a:defRPr>
            </a:lvl5pPr>
            <a:lvl6pPr marL="3657509" marR="0" lvl="5"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L="4267093" marR="0" lvl="6"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L="4876678" marR="0" lvl="7"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L="5486263" marR="0" lvl="8" indent="-30479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pPr lvl="0"/>
            <a:r>
              <a:rPr lang="en-US"/>
              <a:t>Click to edit Master text styles</a:t>
            </a:r>
          </a:p>
        </p:txBody>
      </p:sp>
      <p:sp>
        <p:nvSpPr>
          <p:cNvPr id="489" name="Google Shape;489;p43"/>
          <p:cNvSpPr txBox="1">
            <a:spLocks noGrp="1"/>
          </p:cNvSpPr>
          <p:nvPr>
            <p:ph type="body" idx="4"/>
          </p:nvPr>
        </p:nvSpPr>
        <p:spPr>
          <a:xfrm>
            <a:off x="4367277" y="719333"/>
            <a:ext cx="7036400" cy="728400"/>
          </a:xfrm>
          <a:prstGeom prst="rect">
            <a:avLst/>
          </a:prstGeom>
          <a:noFill/>
          <a:ln>
            <a:noFill/>
          </a:ln>
        </p:spPr>
        <p:txBody>
          <a:bodyPr spcFirstLastPara="1" wrap="square" lIns="360000" tIns="0" rIns="0" bIns="0" anchor="t" anchorCtr="0">
            <a:noAutofit/>
          </a:bodyPr>
          <a:lstStyle>
            <a:lvl1pPr marL="609585" marR="0" lvl="0" indent="-304792" algn="l">
              <a:lnSpc>
                <a:spcPct val="100000"/>
              </a:lnSpc>
              <a:spcBef>
                <a:spcPts val="0"/>
              </a:spcBef>
              <a:spcAft>
                <a:spcPts val="0"/>
              </a:spcAft>
              <a:buClr>
                <a:schemeClr val="dk2"/>
              </a:buClr>
              <a:buSzPts val="1100"/>
              <a:buFont typeface="Arial"/>
              <a:buNone/>
              <a:defRPr sz="1467" b="1" i="0" u="none" strike="noStrike" cap="none">
                <a:solidFill>
                  <a:schemeClr val="dk2"/>
                </a:solidFill>
                <a:latin typeface="Arial"/>
                <a:ea typeface="Arial"/>
                <a:cs typeface="Arial"/>
                <a:sym typeface="Arial"/>
              </a:defRPr>
            </a:lvl1pPr>
            <a:lvl2pPr marL="1219170" marR="0" lvl="1"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2pPr>
            <a:lvl3pPr marL="1828754" marR="0" lvl="2"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3pPr>
            <a:lvl4pPr marL="2438339" marR="0" lvl="3"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4pPr>
            <a:lvl5pPr marL="3047924" marR="0" lvl="4"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5pPr>
            <a:lvl6pPr marL="3657509" marR="0" lvl="5"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6pPr>
            <a:lvl7pPr marL="4267093" marR="0" lvl="6"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7pPr>
            <a:lvl8pPr marL="4876678" marR="0" lvl="7"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8pPr>
            <a:lvl9pPr marL="5486263" marR="0" lvl="8" indent="-397923" algn="l">
              <a:lnSpc>
                <a:spcPct val="100000"/>
              </a:lnSpc>
              <a:spcBef>
                <a:spcPts val="0"/>
              </a:spcBef>
              <a:spcAft>
                <a:spcPts val="0"/>
              </a:spcAft>
              <a:buClr>
                <a:schemeClr val="dk2"/>
              </a:buClr>
              <a:buSzPts val="1100"/>
              <a:buFont typeface="Arial"/>
              <a:buChar char="■"/>
              <a:defRPr sz="1467" b="1"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490" name="Google Shape;490;p43"/>
          <p:cNvSpPr txBox="1">
            <a:spLocks noGrp="1"/>
          </p:cNvSpPr>
          <p:nvPr>
            <p:ph type="body" idx="5"/>
          </p:nvPr>
        </p:nvSpPr>
        <p:spPr>
          <a:xfrm>
            <a:off x="800100" y="3427753"/>
            <a:ext cx="3538400" cy="2709799"/>
          </a:xfrm>
          <a:prstGeom prst="rect">
            <a:avLst/>
          </a:prstGeom>
          <a:noFill/>
          <a:ln>
            <a:noFill/>
          </a:ln>
        </p:spPr>
        <p:txBody>
          <a:bodyPr spcFirstLastPara="1" wrap="square" lIns="0" tIns="0" rIns="108000" bIns="0" anchor="t" anchorCtr="0">
            <a:noAutofit/>
          </a:bodyPr>
          <a:lstStyle>
            <a:lvl1pPr marL="0" marR="0" lvl="0" indent="0" algn="l">
              <a:lnSpc>
                <a:spcPct val="100000"/>
              </a:lnSpc>
              <a:spcBef>
                <a:spcPts val="0"/>
              </a:spcBef>
              <a:spcAft>
                <a:spcPts val="0"/>
              </a:spcAft>
              <a:buClr>
                <a:schemeClr val="accent6"/>
              </a:buClr>
              <a:buSzPts val="900"/>
              <a:buFont typeface="Arial"/>
              <a:buNone/>
              <a:defRPr sz="1200" b="0" i="0" u="none" strike="noStrike" cap="none">
                <a:solidFill>
                  <a:schemeClr val="accent6"/>
                </a:solidFill>
                <a:latin typeface="Arial"/>
                <a:ea typeface="Arial"/>
                <a:cs typeface="Arial"/>
                <a:sym typeface="Arial"/>
              </a:defRPr>
            </a:lvl1pPr>
            <a:lvl2pPr marL="1219170" marR="0" lvl="1"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2pPr>
            <a:lvl3pPr marL="1828754" marR="0" lvl="2"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3pPr>
            <a:lvl4pPr marL="2438339" marR="0" lvl="3" indent="-380990" algn="l">
              <a:lnSpc>
                <a:spcPct val="100000"/>
              </a:lnSpc>
              <a:spcBef>
                <a:spcPts val="0"/>
              </a:spcBef>
              <a:spcAft>
                <a:spcPts val="0"/>
              </a:spcAft>
              <a:buClr>
                <a:schemeClr val="accent6"/>
              </a:buClr>
              <a:buSzPts val="900"/>
              <a:buFont typeface="Arial"/>
              <a:buChar char="●"/>
              <a:defRPr sz="1200" b="1" i="0" u="none" strike="noStrike" cap="none">
                <a:solidFill>
                  <a:schemeClr val="accent6"/>
                </a:solidFill>
                <a:latin typeface="Arial"/>
                <a:ea typeface="Arial"/>
                <a:cs typeface="Arial"/>
                <a:sym typeface="Arial"/>
              </a:defRPr>
            </a:lvl4pPr>
            <a:lvl5pPr marL="3047924" marR="0" lvl="4"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5pPr>
            <a:lvl6pPr marL="3657509" marR="0" lvl="5"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6pPr>
            <a:lvl7pPr marL="4267093" marR="0" lvl="6"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7pPr>
            <a:lvl8pPr marL="4876678" marR="0" lvl="7"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8pPr>
            <a:lvl9pPr marL="5486263" marR="0" lvl="8" indent="-380990" algn="l">
              <a:lnSpc>
                <a:spcPct val="100000"/>
              </a:lnSpc>
              <a:spcBef>
                <a:spcPts val="0"/>
              </a:spcBef>
              <a:spcAft>
                <a:spcPts val="0"/>
              </a:spcAft>
              <a:buClr>
                <a:schemeClr val="accent6"/>
              </a:buClr>
              <a:buSzPts val="900"/>
              <a:buFont typeface="Arial"/>
              <a:buChar char="■"/>
              <a:defRPr sz="1200" b="0" i="0" u="none" strike="noStrike" cap="none">
                <a:solidFill>
                  <a:schemeClr val="accent6"/>
                </a:solidFill>
                <a:latin typeface="Arial"/>
                <a:ea typeface="Arial"/>
                <a:cs typeface="Arial"/>
                <a:sym typeface="Arial"/>
              </a:defRPr>
            </a:lvl9pPr>
          </a:lstStyle>
          <a:p>
            <a:pPr lvl="0"/>
            <a:r>
              <a:rPr lang="en-US"/>
              <a:t>Click to edit Master text styles</a:t>
            </a:r>
          </a:p>
        </p:txBody>
      </p:sp>
      <p:pic>
        <p:nvPicPr>
          <p:cNvPr id="13" name="Google Shape;95;p45">
            <a:extLst>
              <a:ext uri="{FF2B5EF4-FFF2-40B4-BE49-F238E27FC236}">
                <a16:creationId xmlns:a16="http://schemas.microsoft.com/office/drawing/2014/main" id="{EB2D92CB-481B-BA48-98D5-179A62CDAA8B}"/>
              </a:ext>
            </a:extLst>
          </p:cNvPr>
          <p:cNvPicPr preferRelativeResize="0"/>
          <p:nvPr/>
        </p:nvPicPr>
        <p:blipFill>
          <a:blip r:embed="rId3"/>
          <a:srcRect/>
          <a:stretch/>
        </p:blipFill>
        <p:spPr>
          <a:xfrm>
            <a:off x="804333" y="6450452"/>
            <a:ext cx="1339315" cy="156579"/>
          </a:xfrm>
          <a:prstGeom prst="rect">
            <a:avLst/>
          </a:prstGeom>
          <a:noFill/>
          <a:ln>
            <a:noFill/>
          </a:ln>
        </p:spPr>
      </p:pic>
    </p:spTree>
    <p:extLst>
      <p:ext uri="{BB962C8B-B14F-4D97-AF65-F5344CB8AC3E}">
        <p14:creationId xmlns:p14="http://schemas.microsoft.com/office/powerpoint/2010/main" val="363519525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Section_1">
  <p:cSld name="Section_1">
    <p:bg>
      <p:bgPr>
        <a:solidFill>
          <a:srgbClr val="FFFFFF"/>
        </a:solidFill>
        <a:effectLst/>
      </p:bgPr>
    </p:bg>
    <p:spTree>
      <p:nvGrpSpPr>
        <p:cNvPr id="1" name="Shape 491"/>
        <p:cNvGrpSpPr/>
        <p:nvPr/>
      </p:nvGrpSpPr>
      <p:grpSpPr>
        <a:xfrm>
          <a:off x="0" y="0"/>
          <a:ext cx="0" cy="0"/>
          <a:chOff x="0" y="0"/>
          <a:chExt cx="0" cy="0"/>
        </a:xfrm>
      </p:grpSpPr>
      <p:pic>
        <p:nvPicPr>
          <p:cNvPr id="492" name="Google Shape;492;p11"/>
          <p:cNvPicPr preferRelativeResize="0"/>
          <p:nvPr/>
        </p:nvPicPr>
        <p:blipFill rotWithShape="1">
          <a:blip r:embed="rId2">
            <a:alphaModFix/>
          </a:blip>
          <a:srcRect/>
          <a:stretch/>
        </p:blipFill>
        <p:spPr>
          <a:xfrm>
            <a:off x="804667" y="719333"/>
            <a:ext cx="10582668" cy="5411755"/>
          </a:xfrm>
          <a:prstGeom prst="rect">
            <a:avLst/>
          </a:prstGeom>
          <a:noFill/>
          <a:ln>
            <a:noFill/>
          </a:ln>
        </p:spPr>
      </p:pic>
      <p:sp>
        <p:nvSpPr>
          <p:cNvPr id="493" name="Google Shape;493;p11"/>
          <p:cNvSpPr txBox="1">
            <a:spLocks noGrp="1"/>
          </p:cNvSpPr>
          <p:nvPr>
            <p:ph type="title"/>
          </p:nvPr>
        </p:nvSpPr>
        <p:spPr>
          <a:xfrm>
            <a:off x="1757600" y="1663685"/>
            <a:ext cx="8676800" cy="21416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chemeClr val="lt2"/>
              </a:buClr>
              <a:buSzPts val="3300"/>
              <a:buFont typeface="Arial"/>
              <a:buNone/>
              <a:defRPr sz="4400" b="1" i="0" u="none" strike="noStrike" cap="none">
                <a:solidFill>
                  <a:schemeClr val="lt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pic>
        <p:nvPicPr>
          <p:cNvPr id="494" name="Google Shape;494;p11"/>
          <p:cNvPicPr preferRelativeResize="0"/>
          <p:nvPr/>
        </p:nvPicPr>
        <p:blipFill rotWithShape="1">
          <a:blip r:embed="rId3">
            <a:alphaModFix/>
          </a:blip>
          <a:srcRect/>
          <a:stretch/>
        </p:blipFill>
        <p:spPr>
          <a:xfrm>
            <a:off x="8001334" y="4435031"/>
            <a:ext cx="2560501" cy="2709799"/>
          </a:xfrm>
          <a:prstGeom prst="rect">
            <a:avLst/>
          </a:prstGeom>
          <a:noFill/>
          <a:ln>
            <a:noFill/>
          </a:ln>
        </p:spPr>
      </p:pic>
      <p:sp>
        <p:nvSpPr>
          <p:cNvPr id="495" name="Google Shape;495;p11"/>
          <p:cNvSpPr/>
          <p:nvPr/>
        </p:nvSpPr>
        <p:spPr>
          <a:xfrm rot="-430330">
            <a:off x="-27736" y="-2406000"/>
            <a:ext cx="7836517" cy="7836517"/>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496" name="Google Shape;496;p11"/>
          <p:cNvCxnSpPr/>
          <p:nvPr/>
        </p:nvCxnSpPr>
        <p:spPr>
          <a:xfrm flipH="1">
            <a:off x="-708539" y="4512048"/>
            <a:ext cx="1892400" cy="1803600"/>
          </a:xfrm>
          <a:prstGeom prst="straightConnector1">
            <a:avLst/>
          </a:prstGeom>
          <a:noFill/>
          <a:ln w="9525" cap="flat" cmpd="sng">
            <a:solidFill>
              <a:schemeClr val="accent1"/>
            </a:solidFill>
            <a:prstDash val="solid"/>
            <a:round/>
            <a:headEnd type="none" w="sm" len="sm"/>
            <a:tailEnd type="none" w="sm" len="sm"/>
          </a:ln>
        </p:spPr>
      </p:cxnSp>
      <p:sp>
        <p:nvSpPr>
          <p:cNvPr id="497" name="Google Shape;497;p11"/>
          <p:cNvSpPr/>
          <p:nvPr/>
        </p:nvSpPr>
        <p:spPr>
          <a:xfrm>
            <a:off x="1066128" y="4258815"/>
            <a:ext cx="377200" cy="377200"/>
          </a:xfrm>
          <a:prstGeom prst="ellipse">
            <a:avLst/>
          </a:prstGeom>
          <a:solidFill>
            <a:schemeClr val="dk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498" name="Google Shape;498;p11"/>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499" name="Google Shape;499;p11"/>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501" name="Google Shape;501;p11"/>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502" name="Google Shape;502;p11"/>
          <p:cNvSpPr txBox="1">
            <a:spLocks noGrp="1"/>
          </p:cNvSpPr>
          <p:nvPr>
            <p:ph type="subTitle" idx="2"/>
          </p:nvPr>
        </p:nvSpPr>
        <p:spPr>
          <a:xfrm>
            <a:off x="1757600" y="3805167"/>
            <a:ext cx="8676768" cy="769600"/>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pic>
        <p:nvPicPr>
          <p:cNvPr id="13" name="Google Shape;95;p45">
            <a:extLst>
              <a:ext uri="{FF2B5EF4-FFF2-40B4-BE49-F238E27FC236}">
                <a16:creationId xmlns:a16="http://schemas.microsoft.com/office/drawing/2014/main" id="{8185E824-1C41-4F4D-B343-16636A1019A0}"/>
              </a:ext>
            </a:extLst>
          </p:cNvPr>
          <p:cNvPicPr preferRelativeResize="0"/>
          <p:nvPr/>
        </p:nvPicPr>
        <p:blipFill>
          <a:blip r:embed="rId4"/>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9911393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Section_2">
  <p:cSld name="Section_2">
    <p:bg>
      <p:bgPr>
        <a:solidFill>
          <a:srgbClr val="FFFFFF"/>
        </a:solidFill>
        <a:effectLst/>
      </p:bgPr>
    </p:bg>
    <p:spTree>
      <p:nvGrpSpPr>
        <p:cNvPr id="1" name="Shape 503"/>
        <p:cNvGrpSpPr/>
        <p:nvPr/>
      </p:nvGrpSpPr>
      <p:grpSpPr>
        <a:xfrm>
          <a:off x="0" y="0"/>
          <a:ext cx="0" cy="0"/>
          <a:chOff x="0" y="0"/>
          <a:chExt cx="0" cy="0"/>
        </a:xfrm>
      </p:grpSpPr>
      <p:pic>
        <p:nvPicPr>
          <p:cNvPr id="504" name="Google Shape;504;p19"/>
          <p:cNvPicPr preferRelativeResize="0"/>
          <p:nvPr/>
        </p:nvPicPr>
        <p:blipFill rotWithShape="1">
          <a:blip r:embed="rId2">
            <a:alphaModFix/>
          </a:blip>
          <a:srcRect/>
          <a:stretch/>
        </p:blipFill>
        <p:spPr>
          <a:xfrm>
            <a:off x="804667" y="719334"/>
            <a:ext cx="10582668" cy="5412668"/>
          </a:xfrm>
          <a:prstGeom prst="rect">
            <a:avLst/>
          </a:prstGeom>
          <a:noFill/>
          <a:ln>
            <a:noFill/>
          </a:ln>
        </p:spPr>
      </p:pic>
      <p:pic>
        <p:nvPicPr>
          <p:cNvPr id="505" name="Google Shape;505;p19"/>
          <p:cNvPicPr preferRelativeResize="0"/>
          <p:nvPr/>
        </p:nvPicPr>
        <p:blipFill rotWithShape="1">
          <a:blip r:embed="rId3">
            <a:alphaModFix/>
          </a:blip>
          <a:srcRect/>
          <a:stretch/>
        </p:blipFill>
        <p:spPr>
          <a:xfrm>
            <a:off x="9944434" y="71631"/>
            <a:ext cx="2560501" cy="2709799"/>
          </a:xfrm>
          <a:prstGeom prst="rect">
            <a:avLst/>
          </a:prstGeom>
          <a:noFill/>
          <a:ln>
            <a:noFill/>
          </a:ln>
        </p:spPr>
      </p:pic>
      <p:sp>
        <p:nvSpPr>
          <p:cNvPr id="506" name="Google Shape;506;p19"/>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507" name="Google Shape;507;p19"/>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509" name="Google Shape;509;p19"/>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510" name="Google Shape;510;p19"/>
          <p:cNvSpPr/>
          <p:nvPr/>
        </p:nvSpPr>
        <p:spPr>
          <a:xfrm rot="-430330">
            <a:off x="-27736" y="-2406000"/>
            <a:ext cx="7836517" cy="7836517"/>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511" name="Google Shape;511;p19"/>
          <p:cNvCxnSpPr/>
          <p:nvPr/>
        </p:nvCxnSpPr>
        <p:spPr>
          <a:xfrm flipH="1">
            <a:off x="-708539" y="4512048"/>
            <a:ext cx="1892400" cy="1803600"/>
          </a:xfrm>
          <a:prstGeom prst="straightConnector1">
            <a:avLst/>
          </a:prstGeom>
          <a:noFill/>
          <a:ln w="9525" cap="flat" cmpd="sng">
            <a:solidFill>
              <a:schemeClr val="accent1"/>
            </a:solidFill>
            <a:prstDash val="solid"/>
            <a:round/>
            <a:headEnd type="none" w="sm" len="sm"/>
            <a:tailEnd type="none" w="sm" len="sm"/>
          </a:ln>
        </p:spPr>
      </p:cxnSp>
      <p:sp>
        <p:nvSpPr>
          <p:cNvPr id="512" name="Google Shape;512;p19"/>
          <p:cNvSpPr/>
          <p:nvPr/>
        </p:nvSpPr>
        <p:spPr>
          <a:xfrm>
            <a:off x="1066128" y="4258815"/>
            <a:ext cx="377200" cy="377200"/>
          </a:xfrm>
          <a:prstGeom prst="ellipse">
            <a:avLst/>
          </a:prstGeom>
          <a:solidFill>
            <a:schemeClr val="dk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513" name="Google Shape;513;p19"/>
          <p:cNvSpPr txBox="1">
            <a:spLocks noGrp="1"/>
          </p:cNvSpPr>
          <p:nvPr>
            <p:ph type="title"/>
          </p:nvPr>
        </p:nvSpPr>
        <p:spPr>
          <a:xfrm>
            <a:off x="1757600" y="1663685"/>
            <a:ext cx="8676800" cy="21416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chemeClr val="lt2"/>
              </a:buClr>
              <a:buSzPts val="3300"/>
              <a:buFont typeface="Arial"/>
              <a:buNone/>
              <a:defRPr sz="4400" b="1" i="0" u="none" strike="noStrike" cap="none">
                <a:solidFill>
                  <a:schemeClr val="lt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514" name="Google Shape;514;p19"/>
          <p:cNvSpPr txBox="1">
            <a:spLocks noGrp="1"/>
          </p:cNvSpPr>
          <p:nvPr>
            <p:ph type="subTitle" idx="2"/>
          </p:nvPr>
        </p:nvSpPr>
        <p:spPr>
          <a:xfrm>
            <a:off x="1757600" y="3805167"/>
            <a:ext cx="8676768" cy="769600"/>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pic>
        <p:nvPicPr>
          <p:cNvPr id="13" name="Google Shape;95;p45">
            <a:extLst>
              <a:ext uri="{FF2B5EF4-FFF2-40B4-BE49-F238E27FC236}">
                <a16:creationId xmlns:a16="http://schemas.microsoft.com/office/drawing/2014/main" id="{3009CC6B-D871-D245-8135-47D2BD255EAE}"/>
              </a:ext>
            </a:extLst>
          </p:cNvPr>
          <p:cNvPicPr preferRelativeResize="0"/>
          <p:nvPr/>
        </p:nvPicPr>
        <p:blipFill>
          <a:blip r:embed="rId4"/>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5000811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Section_3">
  <p:cSld name="Section_3">
    <p:bg>
      <p:bgPr>
        <a:solidFill>
          <a:srgbClr val="FFFFFF"/>
        </a:solidFill>
        <a:effectLst/>
      </p:bgPr>
    </p:bg>
    <p:spTree>
      <p:nvGrpSpPr>
        <p:cNvPr id="1" name="Shape 515"/>
        <p:cNvGrpSpPr/>
        <p:nvPr/>
      </p:nvGrpSpPr>
      <p:grpSpPr>
        <a:xfrm>
          <a:off x="0" y="0"/>
          <a:ext cx="0" cy="0"/>
          <a:chOff x="0" y="0"/>
          <a:chExt cx="0" cy="0"/>
        </a:xfrm>
      </p:grpSpPr>
      <p:pic>
        <p:nvPicPr>
          <p:cNvPr id="516" name="Google Shape;516;p20"/>
          <p:cNvPicPr preferRelativeResize="0"/>
          <p:nvPr/>
        </p:nvPicPr>
        <p:blipFill rotWithShape="1">
          <a:blip r:embed="rId2">
            <a:alphaModFix/>
          </a:blip>
          <a:srcRect/>
          <a:stretch/>
        </p:blipFill>
        <p:spPr>
          <a:xfrm>
            <a:off x="832934" y="726633"/>
            <a:ext cx="10582668" cy="5405368"/>
          </a:xfrm>
          <a:prstGeom prst="rect">
            <a:avLst/>
          </a:prstGeom>
          <a:noFill/>
          <a:ln>
            <a:noFill/>
          </a:ln>
        </p:spPr>
      </p:pic>
      <p:pic>
        <p:nvPicPr>
          <p:cNvPr id="517" name="Google Shape;517;p20"/>
          <p:cNvPicPr preferRelativeResize="0"/>
          <p:nvPr/>
        </p:nvPicPr>
        <p:blipFill rotWithShape="1">
          <a:blip r:embed="rId3">
            <a:alphaModFix/>
          </a:blip>
          <a:srcRect/>
          <a:stretch/>
        </p:blipFill>
        <p:spPr>
          <a:xfrm>
            <a:off x="8001367" y="4435031"/>
            <a:ext cx="2560501" cy="2709799"/>
          </a:xfrm>
          <a:prstGeom prst="rect">
            <a:avLst/>
          </a:prstGeom>
          <a:noFill/>
          <a:ln>
            <a:noFill/>
          </a:ln>
        </p:spPr>
      </p:pic>
      <p:sp>
        <p:nvSpPr>
          <p:cNvPr id="518" name="Google Shape;518;p20"/>
          <p:cNvSpPr txBox="1"/>
          <p:nvPr/>
        </p:nvSpPr>
        <p:spPr>
          <a:xfrm>
            <a:off x="10738068" y="6316200"/>
            <a:ext cx="649600" cy="3652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1200" b="0" i="0" u="none" strike="noStrike" cap="none">
                <a:solidFill>
                  <a:srgbClr val="1A1A1A"/>
                </a:solidFill>
                <a:latin typeface="Arial"/>
                <a:ea typeface="Arial"/>
                <a:cs typeface="Arial"/>
                <a:sym typeface="Arial"/>
              </a:rPr>
              <a:pPr marL="0" marR="0" lvl="0" indent="0" algn="r" rtl="0">
                <a:lnSpc>
                  <a:spcPct val="100000"/>
                </a:lnSpc>
                <a:spcBef>
                  <a:spcPts val="0"/>
                </a:spcBef>
                <a:spcAft>
                  <a:spcPts val="0"/>
                </a:spcAft>
                <a:buClr>
                  <a:srgbClr val="000000"/>
                </a:buClr>
                <a:buSzPts val="900"/>
                <a:buFont typeface="Arial"/>
                <a:buNone/>
              </a:pPr>
              <a:t>‹nr.›</a:t>
            </a:fld>
            <a:endParaRPr sz="1200" b="0" i="0" u="none" strike="noStrike" cap="none">
              <a:solidFill>
                <a:srgbClr val="1A1A1A"/>
              </a:solidFill>
              <a:latin typeface="Arial"/>
              <a:ea typeface="Arial"/>
              <a:cs typeface="Arial"/>
              <a:sym typeface="Arial"/>
            </a:endParaRPr>
          </a:p>
        </p:txBody>
      </p:sp>
      <p:sp>
        <p:nvSpPr>
          <p:cNvPr id="519" name="Google Shape;519;p20"/>
          <p:cNvSpPr txBox="1"/>
          <p:nvPr/>
        </p:nvSpPr>
        <p:spPr>
          <a:xfrm>
            <a:off x="2253601" y="6413600"/>
            <a:ext cx="2386400" cy="296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939699"/>
              </a:buClr>
              <a:buSzPts val="800"/>
              <a:buFont typeface="Arial"/>
              <a:buNone/>
            </a:pPr>
            <a:r>
              <a:rPr lang="en-US" sz="1067" b="0" i="0" u="none" strike="noStrike" cap="none">
                <a:solidFill>
                  <a:srgbClr val="939699"/>
                </a:solidFill>
                <a:latin typeface="Arial"/>
                <a:ea typeface="Arial"/>
                <a:cs typeface="Arial"/>
                <a:sym typeface="Arial"/>
              </a:rPr>
              <a:t>confidential</a:t>
            </a:r>
            <a:endParaRPr sz="1067" b="0" i="0" u="none" strike="noStrike" cap="none">
              <a:solidFill>
                <a:srgbClr val="939699"/>
              </a:solidFill>
              <a:latin typeface="Arial"/>
              <a:ea typeface="Arial"/>
              <a:cs typeface="Arial"/>
              <a:sym typeface="Arial"/>
            </a:endParaRPr>
          </a:p>
        </p:txBody>
      </p:sp>
      <p:sp>
        <p:nvSpPr>
          <p:cNvPr id="521" name="Google Shape;521;p20"/>
          <p:cNvSpPr txBox="1">
            <a:spLocks noGrp="1"/>
          </p:cNvSpPr>
          <p:nvPr>
            <p:ph type="body" idx="1"/>
          </p:nvPr>
        </p:nvSpPr>
        <p:spPr>
          <a:xfrm>
            <a:off x="802400" y="291833"/>
            <a:ext cx="10587200" cy="122800"/>
          </a:xfrm>
          <a:prstGeom prst="rect">
            <a:avLst/>
          </a:prstGeom>
          <a:noFill/>
          <a:ln>
            <a:noFill/>
          </a:ln>
        </p:spPr>
        <p:txBody>
          <a:bodyPr spcFirstLastPara="1" wrap="square" lIns="0" tIns="0" rIns="0" bIns="0" anchor="t" anchorCtr="0">
            <a:noAutofit/>
          </a:bodyPr>
          <a:lstStyle>
            <a:lvl1pPr marL="609585" marR="0" lvl="0" indent="-304792" algn="r">
              <a:lnSpc>
                <a:spcPct val="100000"/>
              </a:lnSpc>
              <a:spcBef>
                <a:spcPts val="0"/>
              </a:spcBef>
              <a:spcAft>
                <a:spcPts val="0"/>
              </a:spcAft>
              <a:buClr>
                <a:schemeClr val="dk2"/>
              </a:buClr>
              <a:buSzPts val="800"/>
              <a:buFont typeface="Arial"/>
              <a:buNone/>
              <a:defRPr sz="1067" b="0" i="0" u="none" strike="noStrike" cap="none">
                <a:solidFill>
                  <a:schemeClr val="dk2"/>
                </a:solidFill>
                <a:latin typeface="Arial"/>
                <a:ea typeface="Arial"/>
                <a:cs typeface="Arial"/>
                <a:sym typeface="Arial"/>
              </a:defRPr>
            </a:lvl1pPr>
            <a:lvl2pPr marL="1219170" marR="0" lvl="1"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2pPr>
            <a:lvl3pPr marL="1828754" marR="0" lvl="2"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3pPr>
            <a:lvl4pPr marL="2438339" marR="0" lvl="3"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4pPr>
            <a:lvl5pPr marL="3047924" marR="0" lvl="4"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5pPr>
            <a:lvl6pPr marL="3657509" marR="0" lvl="5"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6pPr>
            <a:lvl7pPr marL="4267093" marR="0" lvl="6"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7pPr>
            <a:lvl8pPr marL="4876678" marR="0" lvl="7"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8pPr>
            <a:lvl9pPr marL="5486263" marR="0" lvl="8" indent="-372524" algn="r">
              <a:lnSpc>
                <a:spcPct val="100000"/>
              </a:lnSpc>
              <a:spcBef>
                <a:spcPts val="0"/>
              </a:spcBef>
              <a:spcAft>
                <a:spcPts val="0"/>
              </a:spcAft>
              <a:buClr>
                <a:schemeClr val="dk2"/>
              </a:buClr>
              <a:buSzPts val="800"/>
              <a:buFont typeface="Arial"/>
              <a:buChar char="■"/>
              <a:defRPr sz="1067" b="0" i="0" u="none" strike="noStrike" cap="none">
                <a:solidFill>
                  <a:schemeClr val="dk2"/>
                </a:solidFill>
                <a:latin typeface="Arial"/>
                <a:ea typeface="Arial"/>
                <a:cs typeface="Arial"/>
                <a:sym typeface="Arial"/>
              </a:defRPr>
            </a:lvl9pPr>
          </a:lstStyle>
          <a:p>
            <a:pPr lvl="0"/>
            <a:r>
              <a:rPr lang="en-US"/>
              <a:t>Click to edit Master text styles</a:t>
            </a:r>
          </a:p>
        </p:txBody>
      </p:sp>
      <p:sp>
        <p:nvSpPr>
          <p:cNvPr id="522" name="Google Shape;522;p20"/>
          <p:cNvSpPr/>
          <p:nvPr/>
        </p:nvSpPr>
        <p:spPr>
          <a:xfrm rot="-430330">
            <a:off x="-27736" y="-2406000"/>
            <a:ext cx="7836517" cy="7836517"/>
          </a:xfrm>
          <a:prstGeom prst="ellipse">
            <a:avLst/>
          </a:prstGeom>
          <a:noFill/>
          <a:ln w="28575" cap="flat" cmpd="sng">
            <a:solidFill>
              <a:schemeClr val="accent1"/>
            </a:solidFill>
            <a:prstDash val="dot"/>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2000" b="0" i="0" u="none" strike="noStrike" cap="none">
              <a:solidFill>
                <a:srgbClr val="000000"/>
              </a:solidFill>
              <a:latin typeface="Arial"/>
              <a:ea typeface="Arial"/>
              <a:cs typeface="Arial"/>
              <a:sym typeface="Arial"/>
            </a:endParaRPr>
          </a:p>
        </p:txBody>
      </p:sp>
      <p:cxnSp>
        <p:nvCxnSpPr>
          <p:cNvPr id="523" name="Google Shape;523;p20"/>
          <p:cNvCxnSpPr/>
          <p:nvPr/>
        </p:nvCxnSpPr>
        <p:spPr>
          <a:xfrm flipH="1">
            <a:off x="-708539" y="4512048"/>
            <a:ext cx="1892400" cy="1803600"/>
          </a:xfrm>
          <a:prstGeom prst="straightConnector1">
            <a:avLst/>
          </a:prstGeom>
          <a:noFill/>
          <a:ln w="9525" cap="flat" cmpd="sng">
            <a:solidFill>
              <a:schemeClr val="accent1"/>
            </a:solidFill>
            <a:prstDash val="solid"/>
            <a:round/>
            <a:headEnd type="none" w="sm" len="sm"/>
            <a:tailEnd type="none" w="sm" len="sm"/>
          </a:ln>
        </p:spPr>
      </p:cxnSp>
      <p:sp>
        <p:nvSpPr>
          <p:cNvPr id="524" name="Google Shape;524;p20"/>
          <p:cNvSpPr/>
          <p:nvPr/>
        </p:nvSpPr>
        <p:spPr>
          <a:xfrm>
            <a:off x="1066128" y="4258815"/>
            <a:ext cx="377200" cy="377200"/>
          </a:xfrm>
          <a:prstGeom prst="ellipse">
            <a:avLst/>
          </a:prstGeom>
          <a:solidFill>
            <a:schemeClr val="dk1"/>
          </a:solidFill>
          <a:ln w="9525" cap="flat" cmpd="sng">
            <a:solidFill>
              <a:schemeClr val="accent1"/>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867" b="0" i="0" u="none" strike="noStrike" cap="none">
              <a:solidFill>
                <a:srgbClr val="000000"/>
              </a:solidFill>
              <a:latin typeface="Arial"/>
              <a:ea typeface="Arial"/>
              <a:cs typeface="Arial"/>
              <a:sym typeface="Arial"/>
            </a:endParaRPr>
          </a:p>
        </p:txBody>
      </p:sp>
      <p:sp>
        <p:nvSpPr>
          <p:cNvPr id="525" name="Google Shape;525;p20"/>
          <p:cNvSpPr txBox="1">
            <a:spLocks noGrp="1"/>
          </p:cNvSpPr>
          <p:nvPr>
            <p:ph type="title"/>
          </p:nvPr>
        </p:nvSpPr>
        <p:spPr>
          <a:xfrm>
            <a:off x="1757600" y="1663685"/>
            <a:ext cx="8676800" cy="21416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chemeClr val="lt2"/>
              </a:buClr>
              <a:buSzPts val="3300"/>
              <a:buFont typeface="Arial"/>
              <a:buNone/>
              <a:defRPr sz="4400" b="1" i="0" u="none" strike="noStrike" cap="none">
                <a:solidFill>
                  <a:schemeClr val="lt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title style</a:t>
            </a:r>
            <a:endParaRPr/>
          </a:p>
        </p:txBody>
      </p:sp>
      <p:sp>
        <p:nvSpPr>
          <p:cNvPr id="526" name="Google Shape;526;p20"/>
          <p:cNvSpPr txBox="1">
            <a:spLocks noGrp="1"/>
          </p:cNvSpPr>
          <p:nvPr>
            <p:ph type="subTitle" idx="2"/>
          </p:nvPr>
        </p:nvSpPr>
        <p:spPr>
          <a:xfrm>
            <a:off x="1757600" y="3805167"/>
            <a:ext cx="8676768" cy="769600"/>
          </a:xfrm>
          <a:prstGeom prst="rect">
            <a:avLst/>
          </a:prstGeom>
          <a:noFill/>
          <a:ln>
            <a:noFill/>
          </a:ln>
        </p:spPr>
        <p:txBody>
          <a:bodyPr spcFirstLastPara="1" wrap="square" lIns="0" tIns="0" rIns="0" bIns="0" anchor="ctr" anchorCtr="0">
            <a:noAutofit/>
          </a:bodyPr>
          <a:lstStyle>
            <a:lvl1pPr marR="0" lvl="0" algn="l">
              <a:lnSpc>
                <a:spcPct val="100000"/>
              </a:lnSpc>
              <a:spcBef>
                <a:spcPts val="0"/>
              </a:spcBef>
              <a:spcAft>
                <a:spcPts val="0"/>
              </a:spcAft>
              <a:buClr>
                <a:schemeClr val="lt2"/>
              </a:buClr>
              <a:buSzPts val="1400"/>
              <a:buFont typeface="Arial"/>
              <a:buNone/>
              <a:defRPr sz="1867" b="0" i="0" u="none" strike="noStrike" cap="none">
                <a:solidFill>
                  <a:schemeClr val="lt2"/>
                </a:solidFill>
                <a:latin typeface="Arial"/>
                <a:ea typeface="Arial"/>
                <a:cs typeface="Arial"/>
                <a:sym typeface="Arial"/>
              </a:defRPr>
            </a:lvl1pPr>
            <a:lvl2pPr marR="0" lvl="1"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r>
              <a:rPr lang="en-US"/>
              <a:t>Click to edit Master subtitle style</a:t>
            </a:r>
            <a:endParaRPr/>
          </a:p>
        </p:txBody>
      </p:sp>
      <p:pic>
        <p:nvPicPr>
          <p:cNvPr id="13" name="Google Shape;95;p45">
            <a:extLst>
              <a:ext uri="{FF2B5EF4-FFF2-40B4-BE49-F238E27FC236}">
                <a16:creationId xmlns:a16="http://schemas.microsoft.com/office/drawing/2014/main" id="{EF265BB6-1D0E-5F46-8E7C-731A9531A05F}"/>
              </a:ext>
            </a:extLst>
          </p:cNvPr>
          <p:cNvPicPr preferRelativeResize="0"/>
          <p:nvPr/>
        </p:nvPicPr>
        <p:blipFill>
          <a:blip r:embed="rId4"/>
          <a:srcRect/>
          <a:stretch/>
        </p:blipFill>
        <p:spPr>
          <a:xfrm>
            <a:off x="804333" y="6447331"/>
            <a:ext cx="1339315" cy="162821"/>
          </a:xfrm>
          <a:prstGeom prst="rect">
            <a:avLst/>
          </a:prstGeom>
          <a:noFill/>
          <a:ln>
            <a:noFill/>
          </a:ln>
        </p:spPr>
      </p:pic>
    </p:spTree>
    <p:extLst>
      <p:ext uri="{BB962C8B-B14F-4D97-AF65-F5344CB8AC3E}">
        <p14:creationId xmlns:p14="http://schemas.microsoft.com/office/powerpoint/2010/main" val="31252854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09600" y="1183176"/>
            <a:ext cx="10972800" cy="517632"/>
          </a:xfrm>
        </p:spPr>
        <p:txBody>
          <a:bodyPr tIns="0" bIns="0"/>
          <a:lstStyle/>
          <a:p>
            <a:r>
              <a:rPr lang="en-US" dirty="0"/>
              <a:t>This is the title</a:t>
            </a:r>
            <a:endParaRPr lang="nl-BE" dirty="0"/>
          </a:p>
        </p:txBody>
      </p:sp>
      <p:sp>
        <p:nvSpPr>
          <p:cNvPr id="3" name="Tijdelijke aanduiding voor inhoud 2"/>
          <p:cNvSpPr>
            <a:spLocks noGrp="1"/>
          </p:cNvSpPr>
          <p:nvPr>
            <p:ph idx="1"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dirty="0"/>
              <a:t>This is the subtitle</a:t>
            </a:r>
          </a:p>
        </p:txBody>
      </p:sp>
      <p:sp>
        <p:nvSpPr>
          <p:cNvPr id="4" name="Tijdelijke aanduiding voor datum 3"/>
          <p:cNvSpPr>
            <a:spLocks noGrp="1"/>
          </p:cNvSpPr>
          <p:nvPr>
            <p:ph type="dt" sz="half" idx="10"/>
          </p:nvPr>
        </p:nvSpPr>
        <p:spPr/>
        <p:txBody>
          <a:bodyPr/>
          <a:lstStyle/>
          <a:p>
            <a:fld id="{4D248814-E055-43D5-9498-4B06A7BA5130}" type="datetime1">
              <a:rPr lang="nl-BE" smtClean="0"/>
              <a:t>30/05/2023</a:t>
            </a:fld>
            <a:endParaRPr lang="nl-BE"/>
          </a:p>
        </p:txBody>
      </p:sp>
      <p:sp>
        <p:nvSpPr>
          <p:cNvPr id="5" name="Tijdelijke aanduiding voor voettekst 4"/>
          <p:cNvSpPr>
            <a:spLocks noGrp="1"/>
          </p:cNvSpPr>
          <p:nvPr>
            <p:ph type="ftr" sz="quarter" idx="11"/>
          </p:nvPr>
        </p:nvSpPr>
        <p:spPr/>
        <p:txBody>
          <a:bodyPr/>
          <a:lstStyle/>
          <a:p>
            <a:endParaRPr lang="nl-BE"/>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dirty="0"/>
          </a:p>
        </p:txBody>
      </p:sp>
      <p:sp>
        <p:nvSpPr>
          <p:cNvPr id="12" name="Tijdelijke aanduiding voor grafiek 11"/>
          <p:cNvSpPr>
            <a:spLocks noGrp="1"/>
          </p:cNvSpPr>
          <p:nvPr>
            <p:ph type="chart" sz="quarter" idx="13" hasCustomPrompt="1"/>
          </p:nvPr>
        </p:nvSpPr>
        <p:spPr>
          <a:xfrm>
            <a:off x="1583499" y="1989138"/>
            <a:ext cx="4319885" cy="3384550"/>
          </a:xfrm>
        </p:spPr>
        <p:txBody>
          <a:bodyPr lIns="90000"/>
          <a:lstStyle>
            <a:lvl1pPr marL="0" indent="0" algn="ctr">
              <a:buNone/>
              <a:defRPr/>
            </a:lvl1pPr>
          </a:lstStyle>
          <a:p>
            <a:r>
              <a:rPr lang="nl-BE" dirty="0"/>
              <a:t>CHART</a:t>
            </a:r>
          </a:p>
        </p:txBody>
      </p:sp>
      <p:sp>
        <p:nvSpPr>
          <p:cNvPr id="13" name="Tijdelijke aanduiding voor grafiek 11"/>
          <p:cNvSpPr>
            <a:spLocks noGrp="1"/>
          </p:cNvSpPr>
          <p:nvPr>
            <p:ph type="chart" sz="quarter" idx="14" hasCustomPrompt="1"/>
          </p:nvPr>
        </p:nvSpPr>
        <p:spPr>
          <a:xfrm>
            <a:off x="6288022" y="1989138"/>
            <a:ext cx="4319885" cy="3384550"/>
          </a:xfrm>
        </p:spPr>
        <p:txBody>
          <a:bodyPr lIns="90000"/>
          <a:lstStyle>
            <a:lvl1pPr marL="0" indent="0" algn="ctr">
              <a:buNone/>
              <a:defRPr/>
            </a:lvl1pPr>
          </a:lstStyle>
          <a:p>
            <a:r>
              <a:rPr lang="nl-BE" dirty="0"/>
              <a:t>CHART</a:t>
            </a:r>
          </a:p>
        </p:txBody>
      </p:sp>
    </p:spTree>
    <p:extLst>
      <p:ext uri="{BB962C8B-B14F-4D97-AF65-F5344CB8AC3E}">
        <p14:creationId xmlns:p14="http://schemas.microsoft.com/office/powerpoint/2010/main" val="3855410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4" name="Tijdelijke aanduiding voor datum 3"/>
          <p:cNvSpPr>
            <a:spLocks noGrp="1"/>
          </p:cNvSpPr>
          <p:nvPr>
            <p:ph type="dt" sz="half" idx="10"/>
          </p:nvPr>
        </p:nvSpPr>
        <p:spPr/>
        <p:txBody>
          <a:bodyPr/>
          <a:lstStyle/>
          <a:p>
            <a:fld id="{9CCAA75D-0E89-49C5-B1F4-89D39FFCAE05}"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jdelijke aanduiding voor grafiek 8"/>
          <p:cNvSpPr>
            <a:spLocks noGrp="1"/>
          </p:cNvSpPr>
          <p:nvPr>
            <p:ph type="chart" sz="quarter" idx="13" hasCustomPrompt="1"/>
          </p:nvPr>
        </p:nvSpPr>
        <p:spPr>
          <a:xfrm>
            <a:off x="1515533" y="2276476"/>
            <a:ext cx="2275417" cy="2232025"/>
          </a:xfrm>
        </p:spPr>
        <p:txBody>
          <a:bodyPr lIns="90000">
            <a:noAutofit/>
          </a:bodyPr>
          <a:lstStyle>
            <a:lvl1pPr marL="0" indent="0" algn="ctr">
              <a:buNone/>
              <a:defRPr sz="1200" b="1" spc="0"/>
            </a:lvl1pPr>
          </a:lstStyle>
          <a:p>
            <a:r>
              <a:rPr lang="nl-BE" dirty="0"/>
              <a:t>CHART</a:t>
            </a:r>
          </a:p>
        </p:txBody>
      </p:sp>
      <p:sp>
        <p:nvSpPr>
          <p:cNvPr id="11" name="Tijdelijke aanduiding voor grafiek 8"/>
          <p:cNvSpPr>
            <a:spLocks noGrp="1"/>
          </p:cNvSpPr>
          <p:nvPr>
            <p:ph type="chart" sz="quarter" idx="14" hasCustomPrompt="1"/>
          </p:nvPr>
        </p:nvSpPr>
        <p:spPr>
          <a:xfrm>
            <a:off x="3790950" y="2276476"/>
            <a:ext cx="2275417" cy="2232025"/>
          </a:xfrm>
        </p:spPr>
        <p:txBody>
          <a:bodyPr lIns="90000">
            <a:noAutofit/>
          </a:bodyPr>
          <a:lstStyle>
            <a:lvl1pPr marL="0" indent="0" algn="ctr">
              <a:buNone/>
              <a:defRPr sz="1200" b="1" spc="0"/>
            </a:lvl1pPr>
          </a:lstStyle>
          <a:p>
            <a:r>
              <a:rPr lang="nl-BE" dirty="0"/>
              <a:t>CHART</a:t>
            </a:r>
          </a:p>
        </p:txBody>
      </p:sp>
      <p:sp>
        <p:nvSpPr>
          <p:cNvPr id="12" name="Tijdelijke aanduiding voor grafiek 8"/>
          <p:cNvSpPr>
            <a:spLocks noGrp="1"/>
          </p:cNvSpPr>
          <p:nvPr>
            <p:ph type="chart" sz="quarter" idx="15" hasCustomPrompt="1"/>
          </p:nvPr>
        </p:nvSpPr>
        <p:spPr>
          <a:xfrm>
            <a:off x="6066368" y="2276476"/>
            <a:ext cx="2275417" cy="2232025"/>
          </a:xfrm>
        </p:spPr>
        <p:txBody>
          <a:bodyPr lIns="90000">
            <a:noAutofit/>
          </a:bodyPr>
          <a:lstStyle>
            <a:lvl1pPr marL="0" indent="0" algn="ctr">
              <a:buNone/>
              <a:defRPr sz="1200" b="1" spc="0"/>
            </a:lvl1pPr>
          </a:lstStyle>
          <a:p>
            <a:r>
              <a:rPr lang="nl-BE" dirty="0"/>
              <a:t>CHART</a:t>
            </a:r>
          </a:p>
        </p:txBody>
      </p:sp>
      <p:sp>
        <p:nvSpPr>
          <p:cNvPr id="13" name="Tijdelijke aanduiding voor grafiek 8"/>
          <p:cNvSpPr>
            <a:spLocks noGrp="1"/>
          </p:cNvSpPr>
          <p:nvPr>
            <p:ph type="chart" sz="quarter" idx="16" hasCustomPrompt="1"/>
          </p:nvPr>
        </p:nvSpPr>
        <p:spPr>
          <a:xfrm>
            <a:off x="8341785" y="2276476"/>
            <a:ext cx="2275417" cy="2232025"/>
          </a:xfrm>
        </p:spPr>
        <p:txBody>
          <a:bodyPr lIns="90000">
            <a:noAutofit/>
          </a:bodyPr>
          <a:lstStyle>
            <a:lvl1pPr marL="0" indent="0" algn="ctr">
              <a:buNone/>
              <a:defRPr sz="1200" b="1" spc="0"/>
            </a:lvl1pPr>
          </a:lstStyle>
          <a:p>
            <a:r>
              <a:rPr lang="nl-BE" dirty="0"/>
              <a:t>CHART</a:t>
            </a:r>
          </a:p>
        </p:txBody>
      </p:sp>
    </p:spTree>
    <p:extLst>
      <p:ext uri="{BB962C8B-B14F-4D97-AF65-F5344CB8AC3E}">
        <p14:creationId xmlns:p14="http://schemas.microsoft.com/office/powerpoint/2010/main" val="1077056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eldia">
    <p:bg>
      <p:bgPr>
        <a:solidFill>
          <a:schemeClr val="accent2"/>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bg1"/>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bg1"/>
                </a:solidFill>
              </a:defRPr>
            </a:lvl1pPr>
          </a:lstStyle>
          <a:p>
            <a:fld id="{022FBEFF-EBBF-4E87-8B40-6CCE83520150}" type="datetime1">
              <a:rPr lang="nl-BE" smtClean="0"/>
              <a:t>30/05/2023</a:t>
            </a:fld>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bg1"/>
                </a:solidFill>
              </a:defRPr>
            </a:lvl1pPr>
          </a:lstStyle>
          <a:p>
            <a:endParaRPr lang="nl-BE" dirty="0"/>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bg1"/>
                </a:solidFill>
              </a:defRPr>
            </a:lvl1p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418878582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01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datum 2"/>
          <p:cNvSpPr>
            <a:spLocks noGrp="1"/>
          </p:cNvSpPr>
          <p:nvPr>
            <p:ph type="dt" sz="half" idx="10"/>
          </p:nvPr>
        </p:nvSpPr>
        <p:spPr/>
        <p:txBody>
          <a:bodyPr/>
          <a:lstStyle/>
          <a:p>
            <a:fld id="{394400BF-F442-49AE-A647-2CAEF8151DDA}" type="datetime1">
              <a:rPr lang="nl-BE" smtClean="0"/>
              <a:t>30/05/2023</a:t>
            </a:fld>
            <a:endParaRPr lang="nl-BE"/>
          </a:p>
        </p:txBody>
      </p:sp>
      <p:sp>
        <p:nvSpPr>
          <p:cNvPr id="4" name="Tijdelijke aanduiding voor voettekst 3"/>
          <p:cNvSpPr>
            <a:spLocks noGrp="1"/>
          </p:cNvSpPr>
          <p:nvPr>
            <p:ph type="ftr" sz="quarter" idx="11"/>
          </p:nvPr>
        </p:nvSpPr>
        <p:spPr/>
        <p:txBody>
          <a:bodyPr/>
          <a:lstStyle/>
          <a:p>
            <a:endParaRPr lang="nl-BE" dirty="0"/>
          </a:p>
        </p:txBody>
      </p:sp>
      <p:sp>
        <p:nvSpPr>
          <p:cNvPr id="5" name="Tijdelijke aanduiding voor dianummer 4"/>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17222789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Aangepaste indeling">
    <p:spTree>
      <p:nvGrpSpPr>
        <p:cNvPr id="1" name=""/>
        <p:cNvGrpSpPr/>
        <p:nvPr/>
      </p:nvGrpSpPr>
      <p:grpSpPr>
        <a:xfrm>
          <a:off x="0" y="0"/>
          <a:ext cx="0" cy="0"/>
          <a:chOff x="0" y="0"/>
          <a:chExt cx="0" cy="0"/>
        </a:xfrm>
      </p:grpSpPr>
      <p:sp>
        <p:nvSpPr>
          <p:cNvPr id="2" name="Tijdelijke aanduiding voor datum 2"/>
          <p:cNvSpPr>
            <a:spLocks noGrp="1"/>
          </p:cNvSpPr>
          <p:nvPr>
            <p:ph type="dt" sz="half" idx="10"/>
          </p:nvPr>
        </p:nvSpPr>
        <p:spPr>
          <a:xfrm>
            <a:off x="1199456" y="6400801"/>
            <a:ext cx="917211" cy="276224"/>
          </a:xfrm>
        </p:spPr>
        <p:txBody>
          <a:bodyPr/>
          <a:lstStyle/>
          <a:p>
            <a:fld id="{394400BF-F442-49AE-A647-2CAEF8151DDA}" type="datetime1">
              <a:rPr lang="nl-BE" smtClean="0"/>
              <a:t>30/05/2023</a:t>
            </a:fld>
            <a:endParaRPr lang="nl-BE"/>
          </a:p>
        </p:txBody>
      </p:sp>
      <p:sp>
        <p:nvSpPr>
          <p:cNvPr id="3" name="Tijdelijke aanduiding voor voettekst 3"/>
          <p:cNvSpPr>
            <a:spLocks noGrp="1"/>
          </p:cNvSpPr>
          <p:nvPr>
            <p:ph type="ftr" sz="quarter" idx="11"/>
          </p:nvPr>
        </p:nvSpPr>
        <p:spPr>
          <a:xfrm>
            <a:off x="2116667" y="6400801"/>
            <a:ext cx="8313605" cy="276224"/>
          </a:xfrm>
        </p:spPr>
        <p:txBody>
          <a:bodyPr/>
          <a:lstStyle/>
          <a:p>
            <a:endParaRPr lang="nl-BE" dirty="0"/>
          </a:p>
        </p:txBody>
      </p:sp>
      <p:sp>
        <p:nvSpPr>
          <p:cNvPr id="4" name="Tijdelijke aanduiding voor dianummer 4"/>
          <p:cNvSpPr>
            <a:spLocks noGrp="1"/>
          </p:cNvSpPr>
          <p:nvPr>
            <p:ph type="sldNum" sz="quarter" idx="12"/>
          </p:nvPr>
        </p:nvSpPr>
        <p:spPr>
          <a:xfrm>
            <a:off x="609600" y="6400801"/>
            <a:ext cx="589856" cy="276224"/>
          </a:xfrm>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4250700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Aangepaste indeling">
    <p:bg>
      <p:bgPr>
        <a:solidFill>
          <a:srgbClr val="C62B37"/>
        </a:solidFill>
        <a:effectLst/>
      </p:bgPr>
    </p:bg>
    <p:spTree>
      <p:nvGrpSpPr>
        <p:cNvPr id="1" name=""/>
        <p:cNvGrpSpPr/>
        <p:nvPr/>
      </p:nvGrpSpPr>
      <p:grpSpPr>
        <a:xfrm>
          <a:off x="0" y="0"/>
          <a:ext cx="0" cy="0"/>
          <a:chOff x="0" y="0"/>
          <a:chExt cx="0" cy="0"/>
        </a:xfrm>
      </p:grpSpPr>
      <p:sp>
        <p:nvSpPr>
          <p:cNvPr id="7" name="Rechthoek 6"/>
          <p:cNvSpPr/>
          <p:nvPr userDrawn="1"/>
        </p:nvSpPr>
        <p:spPr>
          <a:xfrm>
            <a:off x="0" y="5429250"/>
            <a:ext cx="12192000" cy="142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8" name="Tekstvak 7"/>
          <p:cNvSpPr txBox="1"/>
          <p:nvPr userDrawn="1"/>
        </p:nvSpPr>
        <p:spPr>
          <a:xfrm>
            <a:off x="555786" y="6003410"/>
            <a:ext cx="3076483" cy="461665"/>
          </a:xfrm>
          <a:prstGeom prst="rect">
            <a:avLst/>
          </a:prstGeom>
          <a:noFill/>
        </p:spPr>
        <p:txBody>
          <a:bodyPr wrap="none" rtlCol="0">
            <a:spAutoFit/>
          </a:bodyPr>
          <a:lstStyle/>
          <a:p>
            <a:r>
              <a:rPr lang="en-GB" sz="800" b="1" dirty="0"/>
              <a:t>Federatie van de Belgische Elektriciteits- en Gasbedrijven </a:t>
            </a:r>
          </a:p>
          <a:p>
            <a:r>
              <a:rPr lang="en-GB" sz="800" b="1" dirty="0"/>
              <a:t>Fédération Belge des Entreprises Électriques et Gazières</a:t>
            </a:r>
          </a:p>
          <a:p>
            <a:r>
              <a:rPr lang="en-GB" sz="800" b="1" dirty="0"/>
              <a:t>Federation of Belgian Electricity and Gas Companies</a:t>
            </a:r>
          </a:p>
        </p:txBody>
      </p:sp>
      <p:pic>
        <p:nvPicPr>
          <p:cNvPr id="5" name="Picture 22" descr="C:\4PPS\2015\Typographics\Febeg 01\_USE\FEBEG_Q.png">
            <a:extLst>
              <a:ext uri="{FF2B5EF4-FFF2-40B4-BE49-F238E27FC236}">
                <a16:creationId xmlns:a16="http://schemas.microsoft.com/office/drawing/2014/main" id="{97FA4974-3AEB-436C-8C1A-F4B58987F16E}"/>
              </a:ext>
            </a:extLst>
          </p:cNvPr>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a:ext>
            </a:extLst>
          </a:blip>
          <a:srcRect l="62995" t="32777" b="6087"/>
          <a:stretch/>
        </p:blipFill>
        <p:spPr bwMode="auto">
          <a:xfrm>
            <a:off x="0" y="-1"/>
            <a:ext cx="8528640" cy="685800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1348563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Aangepaste indeling">
    <p:bg>
      <p:bgPr>
        <a:solidFill>
          <a:srgbClr val="C62B37"/>
        </a:solidFill>
        <a:effectLst/>
      </p:bgPr>
    </p:bg>
    <p:spTree>
      <p:nvGrpSpPr>
        <p:cNvPr id="1" name=""/>
        <p:cNvGrpSpPr/>
        <p:nvPr/>
      </p:nvGrpSpPr>
      <p:grpSpPr>
        <a:xfrm>
          <a:off x="0" y="0"/>
          <a:ext cx="0" cy="0"/>
          <a:chOff x="0" y="0"/>
          <a:chExt cx="0" cy="0"/>
        </a:xfrm>
      </p:grpSpPr>
      <p:sp>
        <p:nvSpPr>
          <p:cNvPr id="7" name="Rechthoek 6"/>
          <p:cNvSpPr/>
          <p:nvPr userDrawn="1"/>
        </p:nvSpPr>
        <p:spPr>
          <a:xfrm>
            <a:off x="0" y="5429250"/>
            <a:ext cx="12192000" cy="142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5" name="Picture 22" descr="C:\4PPS\2015\Typographics\Febeg 01\_USE\FEBEG_Q.png">
            <a:extLst>
              <a:ext uri="{FF2B5EF4-FFF2-40B4-BE49-F238E27FC236}">
                <a16:creationId xmlns:a16="http://schemas.microsoft.com/office/drawing/2014/main" id="{20A7C618-217D-4985-909A-8DAE2D250DAA}"/>
              </a:ext>
            </a:extLst>
          </p:cNvPr>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a:ext>
            </a:extLst>
          </a:blip>
          <a:srcRect l="90734" t="32777" b="6087"/>
          <a:stretch/>
        </p:blipFill>
        <p:spPr bwMode="auto">
          <a:xfrm>
            <a:off x="0" y="-1"/>
            <a:ext cx="2135460"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8" name="Tekstvak 7"/>
          <p:cNvSpPr txBox="1"/>
          <p:nvPr userDrawn="1"/>
        </p:nvSpPr>
        <p:spPr>
          <a:xfrm>
            <a:off x="555786" y="6003410"/>
            <a:ext cx="3076483" cy="461665"/>
          </a:xfrm>
          <a:prstGeom prst="rect">
            <a:avLst/>
          </a:prstGeom>
          <a:noFill/>
        </p:spPr>
        <p:txBody>
          <a:bodyPr wrap="none" rtlCol="0">
            <a:spAutoFit/>
          </a:bodyPr>
          <a:lstStyle/>
          <a:p>
            <a:r>
              <a:rPr lang="en-GB" sz="800" b="1" dirty="0"/>
              <a:t>Federatie van de Belgische Elektriciteits- en Gasbedrijven </a:t>
            </a:r>
          </a:p>
          <a:p>
            <a:r>
              <a:rPr lang="en-GB" sz="800" b="1" dirty="0"/>
              <a:t>Fédération Belge des Entreprises Électriques et Gazières</a:t>
            </a:r>
          </a:p>
          <a:p>
            <a:r>
              <a:rPr lang="en-GB" sz="800" b="1" dirty="0"/>
              <a:t>Federation of Belgian Electricity and Gas Companies</a:t>
            </a:r>
          </a:p>
        </p:txBody>
      </p:sp>
    </p:spTree>
    <p:extLst>
      <p:ext uri="{BB962C8B-B14F-4D97-AF65-F5344CB8AC3E}">
        <p14:creationId xmlns:p14="http://schemas.microsoft.com/office/powerpoint/2010/main" val="41415806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pic>
        <p:nvPicPr>
          <p:cNvPr id="71" name="Picture 70" descr="http://www.febeg.be/Objects/1/Images/LogoEneco.jpg">
            <a:hlinkClick r:id="rId2"/>
            <a:extLst>
              <a:ext uri="{FF2B5EF4-FFF2-40B4-BE49-F238E27FC236}">
                <a16:creationId xmlns:a16="http://schemas.microsoft.com/office/drawing/2014/main" id="{8290F04A-5544-49D0-BA5A-DCDF56A6B08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3237" y="3018917"/>
            <a:ext cx="1664526" cy="40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71">
            <a:extLst>
              <a:ext uri="{FF2B5EF4-FFF2-40B4-BE49-F238E27FC236}">
                <a16:creationId xmlns:a16="http://schemas.microsoft.com/office/drawing/2014/main" id="{65AFBDB2-C2EE-46B9-9606-4344938B1222}"/>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654300" y="1864855"/>
            <a:ext cx="898642" cy="563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72">
            <a:extLst>
              <a:ext uri="{FF2B5EF4-FFF2-40B4-BE49-F238E27FC236}">
                <a16:creationId xmlns:a16="http://schemas.microsoft.com/office/drawing/2014/main" id="{DD3F732A-BF8A-4216-AD4E-6D243155900C}"/>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175156" y="2769850"/>
            <a:ext cx="608140" cy="7550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73">
            <a:extLst>
              <a:ext uri="{FF2B5EF4-FFF2-40B4-BE49-F238E27FC236}">
                <a16:creationId xmlns:a16="http://schemas.microsoft.com/office/drawing/2014/main" id="{A81E4CA1-B66A-4B4E-927B-8B07C41EBB7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396070" y="4341928"/>
            <a:ext cx="1569860" cy="85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75">
            <a:extLst>
              <a:ext uri="{FF2B5EF4-FFF2-40B4-BE49-F238E27FC236}">
                <a16:creationId xmlns:a16="http://schemas.microsoft.com/office/drawing/2014/main" id="{9EB02DE0-07D4-4E5F-B1D4-7AFCD867AAA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098822" y="3024539"/>
            <a:ext cx="993250" cy="604641"/>
          </a:xfrm>
          <a:prstGeom prst="rect">
            <a:avLst/>
          </a:prstGeom>
        </p:spPr>
      </p:pic>
      <p:pic>
        <p:nvPicPr>
          <p:cNvPr id="77" name="Picture 76">
            <a:extLst>
              <a:ext uri="{FF2B5EF4-FFF2-40B4-BE49-F238E27FC236}">
                <a16:creationId xmlns:a16="http://schemas.microsoft.com/office/drawing/2014/main" id="{9D33F26D-245E-41B9-9F71-7C66ED2DFA9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617537" y="987096"/>
            <a:ext cx="1455613" cy="536534"/>
          </a:xfrm>
          <a:prstGeom prst="rect">
            <a:avLst/>
          </a:prstGeom>
        </p:spPr>
      </p:pic>
      <p:pic>
        <p:nvPicPr>
          <p:cNvPr id="78" name="Picture 77">
            <a:extLst>
              <a:ext uri="{FF2B5EF4-FFF2-40B4-BE49-F238E27FC236}">
                <a16:creationId xmlns:a16="http://schemas.microsoft.com/office/drawing/2014/main" id="{256D280A-6610-4657-AD92-A6A8065F800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371562" y="4080216"/>
            <a:ext cx="1391101" cy="231632"/>
          </a:xfrm>
          <a:prstGeom prst="rect">
            <a:avLst/>
          </a:prstGeom>
        </p:spPr>
      </p:pic>
      <p:pic>
        <p:nvPicPr>
          <p:cNvPr id="79" name="Picture 78">
            <a:extLst>
              <a:ext uri="{FF2B5EF4-FFF2-40B4-BE49-F238E27FC236}">
                <a16:creationId xmlns:a16="http://schemas.microsoft.com/office/drawing/2014/main" id="{DE11E69A-90AB-4A16-8D90-EB0358E3B6CA}"/>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45536" y="4709118"/>
            <a:ext cx="1322227" cy="376882"/>
          </a:xfrm>
          <a:prstGeom prst="rect">
            <a:avLst/>
          </a:prstGeom>
        </p:spPr>
      </p:pic>
      <p:pic>
        <p:nvPicPr>
          <p:cNvPr id="80" name="Picture 79">
            <a:extLst>
              <a:ext uri="{FF2B5EF4-FFF2-40B4-BE49-F238E27FC236}">
                <a16:creationId xmlns:a16="http://schemas.microsoft.com/office/drawing/2014/main" id="{331FAF10-747A-40C7-9222-F7A2F69EEC67}"/>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483673" y="960926"/>
            <a:ext cx="1317523" cy="696482"/>
          </a:xfrm>
          <a:prstGeom prst="rect">
            <a:avLst/>
          </a:prstGeom>
        </p:spPr>
      </p:pic>
      <p:pic>
        <p:nvPicPr>
          <p:cNvPr id="81" name="Picture 80">
            <a:extLst>
              <a:ext uri="{FF2B5EF4-FFF2-40B4-BE49-F238E27FC236}">
                <a16:creationId xmlns:a16="http://schemas.microsoft.com/office/drawing/2014/main" id="{5CF70C5A-5CF4-4844-A806-DB0241B45B78}"/>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606067" y="2960261"/>
            <a:ext cx="1215602" cy="501314"/>
          </a:xfrm>
          <a:prstGeom prst="rect">
            <a:avLst/>
          </a:prstGeom>
        </p:spPr>
      </p:pic>
      <p:pic>
        <p:nvPicPr>
          <p:cNvPr id="83" name="Picture 82">
            <a:extLst>
              <a:ext uri="{FF2B5EF4-FFF2-40B4-BE49-F238E27FC236}">
                <a16:creationId xmlns:a16="http://schemas.microsoft.com/office/drawing/2014/main" id="{EDAFED45-1E4B-4010-A4BE-E00F900692A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987116" y="1062171"/>
            <a:ext cx="1419902" cy="377162"/>
          </a:xfrm>
          <a:prstGeom prst="rect">
            <a:avLst/>
          </a:prstGeom>
        </p:spPr>
      </p:pic>
      <p:pic>
        <p:nvPicPr>
          <p:cNvPr id="84" name="Picture 83">
            <a:extLst>
              <a:ext uri="{FF2B5EF4-FFF2-40B4-BE49-F238E27FC236}">
                <a16:creationId xmlns:a16="http://schemas.microsoft.com/office/drawing/2014/main" id="{B96B765B-6801-436A-94AD-5BF7D89024C3}"/>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370111" y="1067391"/>
            <a:ext cx="1652623" cy="446209"/>
          </a:xfrm>
          <a:prstGeom prst="rect">
            <a:avLst/>
          </a:prstGeom>
        </p:spPr>
      </p:pic>
      <p:pic>
        <p:nvPicPr>
          <p:cNvPr id="85" name="Picture 84">
            <a:extLst>
              <a:ext uri="{FF2B5EF4-FFF2-40B4-BE49-F238E27FC236}">
                <a16:creationId xmlns:a16="http://schemas.microsoft.com/office/drawing/2014/main" id="{7E0EA5CD-3495-4F82-AE21-369AEAFB1CF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387990" y="2715558"/>
            <a:ext cx="1606648" cy="972489"/>
          </a:xfrm>
          <a:prstGeom prst="rect">
            <a:avLst/>
          </a:prstGeom>
        </p:spPr>
      </p:pic>
      <p:pic>
        <p:nvPicPr>
          <p:cNvPr id="86" name="Picture 85">
            <a:extLst>
              <a:ext uri="{FF2B5EF4-FFF2-40B4-BE49-F238E27FC236}">
                <a16:creationId xmlns:a16="http://schemas.microsoft.com/office/drawing/2014/main" id="{BAB739FA-5E4F-4EAA-92F8-866C6AE619B7}"/>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186649" y="2740601"/>
            <a:ext cx="1607115" cy="972772"/>
          </a:xfrm>
          <a:prstGeom prst="rect">
            <a:avLst/>
          </a:prstGeom>
        </p:spPr>
      </p:pic>
      <p:pic>
        <p:nvPicPr>
          <p:cNvPr id="88" name="Picture 87">
            <a:extLst>
              <a:ext uri="{FF2B5EF4-FFF2-40B4-BE49-F238E27FC236}">
                <a16:creationId xmlns:a16="http://schemas.microsoft.com/office/drawing/2014/main" id="{9844EA48-10BB-4E2C-8B9D-C1ABBAE1AF37}"/>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331714" y="1725174"/>
            <a:ext cx="1249972" cy="883675"/>
          </a:xfrm>
          <a:prstGeom prst="rect">
            <a:avLst/>
          </a:prstGeom>
        </p:spPr>
      </p:pic>
      <p:pic>
        <p:nvPicPr>
          <p:cNvPr id="89" name="Picture 88">
            <a:extLst>
              <a:ext uri="{FF2B5EF4-FFF2-40B4-BE49-F238E27FC236}">
                <a16:creationId xmlns:a16="http://schemas.microsoft.com/office/drawing/2014/main" id="{F6FD9DCC-2366-44C3-95A4-7027476A657B}"/>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6174334" y="1884931"/>
            <a:ext cx="830168" cy="578792"/>
          </a:xfrm>
          <a:prstGeom prst="rect">
            <a:avLst/>
          </a:prstGeom>
        </p:spPr>
      </p:pic>
      <p:pic>
        <p:nvPicPr>
          <p:cNvPr id="90" name="Picture 89">
            <a:extLst>
              <a:ext uri="{FF2B5EF4-FFF2-40B4-BE49-F238E27FC236}">
                <a16:creationId xmlns:a16="http://schemas.microsoft.com/office/drawing/2014/main" id="{D69EABF9-7613-43BF-93BD-2DED12D44998}"/>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2654300" y="4022482"/>
            <a:ext cx="1507344" cy="297223"/>
          </a:xfrm>
          <a:prstGeom prst="rect">
            <a:avLst/>
          </a:prstGeom>
        </p:spPr>
      </p:pic>
      <p:pic>
        <p:nvPicPr>
          <p:cNvPr id="91" name="Picture 90">
            <a:extLst>
              <a:ext uri="{FF2B5EF4-FFF2-40B4-BE49-F238E27FC236}">
                <a16:creationId xmlns:a16="http://schemas.microsoft.com/office/drawing/2014/main" id="{F2272C0A-8F10-4629-8909-47DFF812DE40}"/>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843268" y="3461575"/>
            <a:ext cx="1222927" cy="1066888"/>
          </a:xfrm>
          <a:prstGeom prst="rect">
            <a:avLst/>
          </a:prstGeom>
        </p:spPr>
      </p:pic>
      <p:pic>
        <p:nvPicPr>
          <p:cNvPr id="92" name="Picture 91">
            <a:extLst>
              <a:ext uri="{FF2B5EF4-FFF2-40B4-BE49-F238E27FC236}">
                <a16:creationId xmlns:a16="http://schemas.microsoft.com/office/drawing/2014/main" id="{B91009A4-C385-412E-A888-BBE1B7EE01AC}"/>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153195" y="3987293"/>
            <a:ext cx="1126653" cy="367603"/>
          </a:xfrm>
          <a:prstGeom prst="rect">
            <a:avLst/>
          </a:prstGeom>
        </p:spPr>
      </p:pic>
      <p:pic>
        <p:nvPicPr>
          <p:cNvPr id="93" name="Picture 92">
            <a:extLst>
              <a:ext uri="{FF2B5EF4-FFF2-40B4-BE49-F238E27FC236}">
                <a16:creationId xmlns:a16="http://schemas.microsoft.com/office/drawing/2014/main" id="{7DF1D22D-D6E9-4E66-934B-DDF0774CDEBD}"/>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186649" y="4615027"/>
            <a:ext cx="1558072" cy="505321"/>
          </a:xfrm>
          <a:prstGeom prst="rect">
            <a:avLst/>
          </a:prstGeom>
        </p:spPr>
      </p:pic>
      <p:pic>
        <p:nvPicPr>
          <p:cNvPr id="94" name="Picture 93">
            <a:extLst>
              <a:ext uri="{FF2B5EF4-FFF2-40B4-BE49-F238E27FC236}">
                <a16:creationId xmlns:a16="http://schemas.microsoft.com/office/drawing/2014/main" id="{9F1C5DCF-C9D0-4DBC-BC13-F9554397A833}"/>
              </a:ext>
            </a:extLst>
          </p:cNvPr>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3791744" y="5334407"/>
            <a:ext cx="2153360" cy="52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5" name="Picture 94">
            <a:extLst>
              <a:ext uri="{FF2B5EF4-FFF2-40B4-BE49-F238E27FC236}">
                <a16:creationId xmlns:a16="http://schemas.microsoft.com/office/drawing/2014/main" id="{1D9F20F2-9294-45CE-9AF1-59879A02CCA1}"/>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2617537" y="4856107"/>
            <a:ext cx="1448159" cy="1448159"/>
          </a:xfrm>
          <a:prstGeom prst="rect">
            <a:avLst/>
          </a:prstGeom>
        </p:spPr>
      </p:pic>
      <p:pic>
        <p:nvPicPr>
          <p:cNvPr id="96" name="Picture 95">
            <a:extLst>
              <a:ext uri="{FF2B5EF4-FFF2-40B4-BE49-F238E27FC236}">
                <a16:creationId xmlns:a16="http://schemas.microsoft.com/office/drawing/2014/main" id="{3A4448B7-C87A-4F20-833E-D1AFE237FED6}"/>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967961" y="5423638"/>
            <a:ext cx="1420029" cy="344864"/>
          </a:xfrm>
          <a:prstGeom prst="rect">
            <a:avLst/>
          </a:prstGeom>
        </p:spPr>
      </p:pic>
      <p:pic>
        <p:nvPicPr>
          <p:cNvPr id="97" name="Picture 96">
            <a:extLst>
              <a:ext uri="{FF2B5EF4-FFF2-40B4-BE49-F238E27FC236}">
                <a16:creationId xmlns:a16="http://schemas.microsoft.com/office/drawing/2014/main" id="{1F00AFC9-AB63-4868-9E8F-34A3047D9F6D}"/>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9079342" y="4725156"/>
            <a:ext cx="1448159" cy="443500"/>
          </a:xfrm>
          <a:prstGeom prst="rect">
            <a:avLst/>
          </a:prstGeom>
        </p:spPr>
      </p:pic>
      <p:pic>
        <p:nvPicPr>
          <p:cNvPr id="98" name="Picture 97" descr="A close up of a logo&#10;&#10;Description automatically generated">
            <a:extLst>
              <a:ext uri="{FF2B5EF4-FFF2-40B4-BE49-F238E27FC236}">
                <a16:creationId xmlns:a16="http://schemas.microsoft.com/office/drawing/2014/main" id="{7384D210-ECEB-4D49-B600-21119745E31B}"/>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6213607" y="4827126"/>
            <a:ext cx="982816" cy="239561"/>
          </a:xfrm>
          <a:prstGeom prst="rect">
            <a:avLst/>
          </a:prstGeom>
        </p:spPr>
      </p:pic>
      <p:pic>
        <p:nvPicPr>
          <p:cNvPr id="99" name="Picture 98" descr="Logo, company name&#10;&#10;Description automatically generated">
            <a:extLst>
              <a:ext uri="{FF2B5EF4-FFF2-40B4-BE49-F238E27FC236}">
                <a16:creationId xmlns:a16="http://schemas.microsoft.com/office/drawing/2014/main" id="{86E7FE65-2E57-435C-9743-DECB820D229E}"/>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7666420" y="3982153"/>
            <a:ext cx="1228122" cy="377884"/>
          </a:xfrm>
          <a:prstGeom prst="rect">
            <a:avLst/>
          </a:prstGeom>
        </p:spPr>
      </p:pic>
      <p:pic>
        <p:nvPicPr>
          <p:cNvPr id="100" name="Picture 99" descr="A green and white sign&#10;&#10;Description automatically generated with low confidence">
            <a:extLst>
              <a:ext uri="{FF2B5EF4-FFF2-40B4-BE49-F238E27FC236}">
                <a16:creationId xmlns:a16="http://schemas.microsoft.com/office/drawing/2014/main" id="{0D2D3CD2-027B-4F22-BFA7-384065783B93}"/>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8996209" y="1950610"/>
            <a:ext cx="1198475" cy="535034"/>
          </a:xfrm>
          <a:prstGeom prst="rect">
            <a:avLst/>
          </a:prstGeom>
        </p:spPr>
      </p:pic>
      <p:pic>
        <p:nvPicPr>
          <p:cNvPr id="101" name="Picture 100" descr="Logo&#10;&#10;Description automatically generated">
            <a:extLst>
              <a:ext uri="{FF2B5EF4-FFF2-40B4-BE49-F238E27FC236}">
                <a16:creationId xmlns:a16="http://schemas.microsoft.com/office/drawing/2014/main" id="{91CE132B-9F25-4271-B33C-B8C0190F7A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7665309" y="4537265"/>
            <a:ext cx="1014586" cy="720587"/>
          </a:xfrm>
          <a:prstGeom prst="rect">
            <a:avLst/>
          </a:prstGeom>
        </p:spPr>
      </p:pic>
      <p:pic>
        <p:nvPicPr>
          <p:cNvPr id="102" name="Picture 101" descr="A picture containing text&#10;&#10;Description automatically generated">
            <a:extLst>
              <a:ext uri="{FF2B5EF4-FFF2-40B4-BE49-F238E27FC236}">
                <a16:creationId xmlns:a16="http://schemas.microsoft.com/office/drawing/2014/main" id="{8A738452-4BBE-4FEF-95EE-67892EEAC465}"/>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982811" y="1860954"/>
            <a:ext cx="1205994" cy="678373"/>
          </a:xfrm>
          <a:prstGeom prst="rect">
            <a:avLst/>
          </a:prstGeom>
        </p:spPr>
      </p:pic>
      <p:pic>
        <p:nvPicPr>
          <p:cNvPr id="103" name="Picture 102" descr="A green and white sign&#10;&#10;Description automatically generated with medium confidence">
            <a:extLst>
              <a:ext uri="{FF2B5EF4-FFF2-40B4-BE49-F238E27FC236}">
                <a16:creationId xmlns:a16="http://schemas.microsoft.com/office/drawing/2014/main" id="{17ECF44D-B174-4554-96F0-CEA4E4E47048}"/>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4283502" y="1960587"/>
            <a:ext cx="1455612" cy="440445"/>
          </a:xfrm>
          <a:prstGeom prst="rect">
            <a:avLst/>
          </a:prstGeom>
        </p:spPr>
      </p:pic>
      <p:pic>
        <p:nvPicPr>
          <p:cNvPr id="3" name="Picture 2" descr="A picture containing text, clipart&#10;&#10;Description automatically generated">
            <a:extLst>
              <a:ext uri="{FF2B5EF4-FFF2-40B4-BE49-F238E27FC236}">
                <a16:creationId xmlns:a16="http://schemas.microsoft.com/office/drawing/2014/main" id="{9B416E88-559E-5452-B1C6-12223BC1CFEA}"/>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6099040" y="3942471"/>
            <a:ext cx="1295067" cy="507121"/>
          </a:xfrm>
          <a:prstGeom prst="rect">
            <a:avLst/>
          </a:prstGeom>
        </p:spPr>
      </p:pic>
      <p:pic>
        <p:nvPicPr>
          <p:cNvPr id="5" name="Picture 4" descr="Logo&#10;&#10;Description automatically generated">
            <a:extLst>
              <a:ext uri="{FF2B5EF4-FFF2-40B4-BE49-F238E27FC236}">
                <a16:creationId xmlns:a16="http://schemas.microsoft.com/office/drawing/2014/main" id="{47C9B18C-AD60-03A3-F9C8-C8A637E37A9D}"/>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938052" y="941227"/>
            <a:ext cx="1295512" cy="586791"/>
          </a:xfrm>
          <a:prstGeom prst="rect">
            <a:avLst/>
          </a:prstGeom>
        </p:spPr>
      </p:pic>
    </p:spTree>
    <p:extLst>
      <p:ext uri="{BB962C8B-B14F-4D97-AF65-F5344CB8AC3E}">
        <p14:creationId xmlns:p14="http://schemas.microsoft.com/office/powerpoint/2010/main" val="30620657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partners">
    <p:spTree>
      <p:nvGrpSpPr>
        <p:cNvPr id="1" name=""/>
        <p:cNvGrpSpPr/>
        <p:nvPr/>
      </p:nvGrpSpPr>
      <p:grpSpPr>
        <a:xfrm>
          <a:off x="0" y="0"/>
          <a:ext cx="0" cy="0"/>
          <a:chOff x="0" y="0"/>
          <a:chExt cx="0" cy="0"/>
        </a:xfrm>
      </p:grpSpPr>
      <p:sp>
        <p:nvSpPr>
          <p:cNvPr id="2" name="Tekstvak 1"/>
          <p:cNvSpPr txBox="1"/>
          <p:nvPr userDrawn="1"/>
        </p:nvSpPr>
        <p:spPr>
          <a:xfrm>
            <a:off x="6671734" y="6762750"/>
            <a:ext cx="184731" cy="369332"/>
          </a:xfrm>
          <a:prstGeom prst="rect">
            <a:avLst/>
          </a:prstGeom>
          <a:noFill/>
        </p:spPr>
        <p:txBody>
          <a:bodyPr wrap="none" rtlCol="0">
            <a:spAutoFit/>
          </a:bodyPr>
          <a:lstStyle/>
          <a:p>
            <a:endParaRPr lang="nl-NL" sz="1800" dirty="0"/>
          </a:p>
        </p:txBody>
      </p:sp>
      <p:pic>
        <p:nvPicPr>
          <p:cNvPr id="4" name="Afbeelding 2">
            <a:extLst>
              <a:ext uri="{FF2B5EF4-FFF2-40B4-BE49-F238E27FC236}">
                <a16:creationId xmlns:a16="http://schemas.microsoft.com/office/drawing/2014/main" id="{1D421EB7-6EB9-4C0C-976C-BCE3197F09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1205" y="2636912"/>
            <a:ext cx="8149590" cy="3589020"/>
          </a:xfrm>
          <a:prstGeom prst="rect">
            <a:avLst/>
          </a:prstGeom>
          <a:solidFill>
            <a:schemeClr val="bg1"/>
          </a:solidFill>
        </p:spPr>
      </p:pic>
    </p:spTree>
    <p:extLst>
      <p:ext uri="{BB962C8B-B14F-4D97-AF65-F5344CB8AC3E}">
        <p14:creationId xmlns:p14="http://schemas.microsoft.com/office/powerpoint/2010/main" val="16823508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partners">
    <p:bg>
      <p:bgPr>
        <a:solidFill>
          <a:schemeClr val="accent1"/>
        </a:solidFill>
        <a:effectLst/>
      </p:bgPr>
    </p:bg>
    <p:spTree>
      <p:nvGrpSpPr>
        <p:cNvPr id="1" name=""/>
        <p:cNvGrpSpPr/>
        <p:nvPr/>
      </p:nvGrpSpPr>
      <p:grpSpPr>
        <a:xfrm>
          <a:off x="0" y="0"/>
          <a:ext cx="0" cy="0"/>
          <a:chOff x="0" y="0"/>
          <a:chExt cx="0" cy="0"/>
        </a:xfrm>
      </p:grpSpPr>
      <p:pic>
        <p:nvPicPr>
          <p:cNvPr id="3" name="Afbeelding 4" descr="LOGO_LINES.eps">
            <a:extLst>
              <a:ext uri="{FF2B5EF4-FFF2-40B4-BE49-F238E27FC236}">
                <a16:creationId xmlns:a16="http://schemas.microsoft.com/office/drawing/2014/main" id="{BAD6A92A-0DFF-4BC7-93D4-D345929B07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1205" y="2636912"/>
            <a:ext cx="8149590" cy="3589020"/>
          </a:xfrm>
          <a:prstGeom prst="rect">
            <a:avLst/>
          </a:prstGeom>
        </p:spPr>
      </p:pic>
    </p:spTree>
    <p:extLst>
      <p:ext uri="{BB962C8B-B14F-4D97-AF65-F5344CB8AC3E}">
        <p14:creationId xmlns:p14="http://schemas.microsoft.com/office/powerpoint/2010/main" val="41655169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el 1"/>
          <p:cNvSpPr>
            <a:spLocks noGrp="1"/>
          </p:cNvSpPr>
          <p:nvPr>
            <p:ph type="title" hasCustomPrompt="1"/>
          </p:nvPr>
        </p:nvSpPr>
        <p:spPr>
          <a:xfrm>
            <a:off x="609600" y="730560"/>
            <a:ext cx="10972800" cy="565200"/>
          </a:xfrm>
        </p:spPr>
        <p:txBody>
          <a:bodyPr/>
          <a:lstStyle/>
          <a:p>
            <a:r>
              <a:rPr lang="en-US" dirty="0"/>
              <a:t>This is the title of the subject on this page</a:t>
            </a:r>
            <a:endParaRPr lang="nl-BE" dirty="0"/>
          </a:p>
        </p:txBody>
      </p:sp>
      <p:sp>
        <p:nvSpPr>
          <p:cNvPr id="7" name="Tijdelijke aanduiding voor datum 4"/>
          <p:cNvSpPr>
            <a:spLocks noGrp="1"/>
          </p:cNvSpPr>
          <p:nvPr>
            <p:ph type="dt" sz="half" idx="10"/>
          </p:nvPr>
        </p:nvSpPr>
        <p:spPr>
          <a:xfrm>
            <a:off x="1198966" y="6400801"/>
            <a:ext cx="917701" cy="276224"/>
          </a:xfrm>
        </p:spPr>
        <p:txBody>
          <a:bodyPr/>
          <a:lstStyle/>
          <a:p>
            <a:fld id="{FA320BFA-507D-427A-A204-9635D9E8251B}" type="datetime1">
              <a:rPr lang="nl-BE" smtClean="0"/>
              <a:t>30/05/2023</a:t>
            </a:fld>
            <a:endParaRPr lang="nl-BE" dirty="0"/>
          </a:p>
        </p:txBody>
      </p:sp>
      <p:sp>
        <p:nvSpPr>
          <p:cNvPr id="8" name="Tijdelijke aanduiding voor voettekst 5"/>
          <p:cNvSpPr>
            <a:spLocks noGrp="1"/>
          </p:cNvSpPr>
          <p:nvPr>
            <p:ph type="ftr" sz="quarter" idx="11"/>
          </p:nvPr>
        </p:nvSpPr>
        <p:spPr>
          <a:xfrm>
            <a:off x="2116667" y="6400801"/>
            <a:ext cx="8313605" cy="276224"/>
          </a:xfrm>
        </p:spPr>
        <p:txBody>
          <a:bodyPr/>
          <a:lstStyle/>
          <a:p>
            <a:endParaRPr lang="nl-BE" dirty="0"/>
          </a:p>
        </p:txBody>
      </p:sp>
      <p:sp>
        <p:nvSpPr>
          <p:cNvPr id="9" name="Tijdelijke aanduiding voor dianummer 8"/>
          <p:cNvSpPr>
            <a:spLocks noGrp="1"/>
          </p:cNvSpPr>
          <p:nvPr>
            <p:ph type="sldNum" sz="quarter" idx="12"/>
          </p:nvPr>
        </p:nvSpPr>
        <p:spPr>
          <a:xfrm>
            <a:off x="609600" y="6400801"/>
            <a:ext cx="589856" cy="276224"/>
          </a:xfrm>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2771168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ext &amp; image">
    <p:spTree>
      <p:nvGrpSpPr>
        <p:cNvPr id="1" name=""/>
        <p:cNvGrpSpPr/>
        <p:nvPr/>
      </p:nvGrpSpPr>
      <p:grpSpPr>
        <a:xfrm>
          <a:off x="0" y="0"/>
          <a:ext cx="0" cy="0"/>
          <a:chOff x="0" y="0"/>
          <a:chExt cx="0" cy="0"/>
        </a:xfrm>
      </p:grpSpPr>
      <p:sp>
        <p:nvSpPr>
          <p:cNvPr id="9" name="Tijdelijke aanduiding voor afbeelding 8">
            <a:extLst>
              <a:ext uri="{FF2B5EF4-FFF2-40B4-BE49-F238E27FC236}">
                <a16:creationId xmlns:a16="http://schemas.microsoft.com/office/drawing/2014/main" id="{3D216AC8-9DBA-4B11-A815-5B70AD503BDF}"/>
              </a:ext>
            </a:extLst>
          </p:cNvPr>
          <p:cNvSpPr>
            <a:spLocks noGrp="1"/>
          </p:cNvSpPr>
          <p:nvPr>
            <p:ph type="pic" sz="quarter" idx="10"/>
          </p:nvPr>
        </p:nvSpPr>
        <p:spPr>
          <a:xfrm>
            <a:off x="3754672" y="0"/>
            <a:ext cx="8437328" cy="68580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5143429 h 5143500"/>
              <a:gd name="connsiteX5" fmla="*/ 2816004 w 9144000"/>
              <a:gd name="connsiteY5" fmla="*/ 5143429 h 5143500"/>
              <a:gd name="connsiteX6" fmla="*/ 2855703 w 9144000"/>
              <a:gd name="connsiteY6" fmla="*/ 5123180 h 5143500"/>
              <a:gd name="connsiteX7" fmla="*/ 2907441 w 9144000"/>
              <a:gd name="connsiteY7" fmla="*/ 5095850 h 5143500"/>
              <a:gd name="connsiteX8" fmla="*/ 2933131 w 9144000"/>
              <a:gd name="connsiteY8" fmla="*/ 5081894 h 5143500"/>
              <a:gd name="connsiteX9" fmla="*/ 2958701 w 9144000"/>
              <a:gd name="connsiteY9" fmla="*/ 5067746 h 5143500"/>
              <a:gd name="connsiteX10" fmla="*/ 2984149 w 9144000"/>
              <a:gd name="connsiteY10" fmla="*/ 5053407 h 5143500"/>
              <a:gd name="connsiteX11" fmla="*/ 3009475 w 9144000"/>
              <a:gd name="connsiteY11" fmla="*/ 5038876 h 5143500"/>
              <a:gd name="connsiteX12" fmla="*/ 3034677 w 9144000"/>
              <a:gd name="connsiteY12" fmla="*/ 5024157 h 5143500"/>
              <a:gd name="connsiteX13" fmla="*/ 3059755 w 9144000"/>
              <a:gd name="connsiteY13" fmla="*/ 5009248 h 5143500"/>
              <a:gd name="connsiteX14" fmla="*/ 3084708 w 9144000"/>
              <a:gd name="connsiteY14" fmla="*/ 4994153 h 5143500"/>
              <a:gd name="connsiteX15" fmla="*/ 3109534 w 9144000"/>
              <a:gd name="connsiteY15" fmla="*/ 4978871 h 5143500"/>
              <a:gd name="connsiteX16" fmla="*/ 3134233 w 9144000"/>
              <a:gd name="connsiteY16" fmla="*/ 4963403 h 5143500"/>
              <a:gd name="connsiteX17" fmla="*/ 3158804 w 9144000"/>
              <a:gd name="connsiteY17" fmla="*/ 4947750 h 5143500"/>
              <a:gd name="connsiteX18" fmla="*/ 3183246 w 9144000"/>
              <a:gd name="connsiteY18" fmla="*/ 4931914 h 5143500"/>
              <a:gd name="connsiteX19" fmla="*/ 3207557 w 9144000"/>
              <a:gd name="connsiteY19" fmla="*/ 4915895 h 5143500"/>
              <a:gd name="connsiteX20" fmla="*/ 3231737 w 9144000"/>
              <a:gd name="connsiteY20" fmla="*/ 4899694 h 5143500"/>
              <a:gd name="connsiteX21" fmla="*/ 3255785 w 9144000"/>
              <a:gd name="connsiteY21" fmla="*/ 4883312 h 5143500"/>
              <a:gd name="connsiteX22" fmla="*/ 3279700 w 9144000"/>
              <a:gd name="connsiteY22" fmla="*/ 4866751 h 5143500"/>
              <a:gd name="connsiteX23" fmla="*/ 3303481 w 9144000"/>
              <a:gd name="connsiteY23" fmla="*/ 4850011 h 5143500"/>
              <a:gd name="connsiteX24" fmla="*/ 3327126 w 9144000"/>
              <a:gd name="connsiteY24" fmla="*/ 4833093 h 5143500"/>
              <a:gd name="connsiteX25" fmla="*/ 3350636 w 9144000"/>
              <a:gd name="connsiteY25" fmla="*/ 4815999 h 5143500"/>
              <a:gd name="connsiteX26" fmla="*/ 3374008 w 9144000"/>
              <a:gd name="connsiteY26" fmla="*/ 4798728 h 5143500"/>
              <a:gd name="connsiteX27" fmla="*/ 3397243 w 9144000"/>
              <a:gd name="connsiteY27" fmla="*/ 4781282 h 5143500"/>
              <a:gd name="connsiteX28" fmla="*/ 3420339 w 9144000"/>
              <a:gd name="connsiteY28" fmla="*/ 4763663 h 5143500"/>
              <a:gd name="connsiteX29" fmla="*/ 3443295 w 9144000"/>
              <a:gd name="connsiteY29" fmla="*/ 4745870 h 5143500"/>
              <a:gd name="connsiteX30" fmla="*/ 3466109 w 9144000"/>
              <a:gd name="connsiteY30" fmla="*/ 4727906 h 5143500"/>
              <a:gd name="connsiteX31" fmla="*/ 3488783 w 9144000"/>
              <a:gd name="connsiteY31" fmla="*/ 4709770 h 5143500"/>
              <a:gd name="connsiteX32" fmla="*/ 3511313 w 9144000"/>
              <a:gd name="connsiteY32" fmla="*/ 4691464 h 5143500"/>
              <a:gd name="connsiteX33" fmla="*/ 3533699 w 9144000"/>
              <a:gd name="connsiteY33" fmla="*/ 4672989 h 5143500"/>
              <a:gd name="connsiteX34" fmla="*/ 3555940 w 9144000"/>
              <a:gd name="connsiteY34" fmla="*/ 4654347 h 5143500"/>
              <a:gd name="connsiteX35" fmla="*/ 3578036 w 9144000"/>
              <a:gd name="connsiteY35" fmla="*/ 4635536 h 5143500"/>
              <a:gd name="connsiteX36" fmla="*/ 3599985 w 9144000"/>
              <a:gd name="connsiteY36" fmla="*/ 4616560 h 5143500"/>
              <a:gd name="connsiteX37" fmla="*/ 3621786 w 9144000"/>
              <a:gd name="connsiteY37" fmla="*/ 4597419 h 5143500"/>
              <a:gd name="connsiteX38" fmla="*/ 3643439 w 9144000"/>
              <a:gd name="connsiteY38" fmla="*/ 4578113 h 5143500"/>
              <a:gd name="connsiteX39" fmla="*/ 3664942 w 9144000"/>
              <a:gd name="connsiteY39" fmla="*/ 4558644 h 5143500"/>
              <a:gd name="connsiteX40" fmla="*/ 3686294 w 9144000"/>
              <a:gd name="connsiteY40" fmla="*/ 4539013 h 5143500"/>
              <a:gd name="connsiteX41" fmla="*/ 3707495 w 9144000"/>
              <a:gd name="connsiteY41" fmla="*/ 4519220 h 5143500"/>
              <a:gd name="connsiteX42" fmla="*/ 3728543 w 9144000"/>
              <a:gd name="connsiteY42" fmla="*/ 4499267 h 5143500"/>
              <a:gd name="connsiteX43" fmla="*/ 3749437 w 9144000"/>
              <a:gd name="connsiteY43" fmla="*/ 4479155 h 5143500"/>
              <a:gd name="connsiteX44" fmla="*/ 3770178 w 9144000"/>
              <a:gd name="connsiteY44" fmla="*/ 4458884 h 5143500"/>
              <a:gd name="connsiteX45" fmla="*/ 3790762 w 9144000"/>
              <a:gd name="connsiteY45" fmla="*/ 4438456 h 5143500"/>
              <a:gd name="connsiteX46" fmla="*/ 3811191 w 9144000"/>
              <a:gd name="connsiteY46" fmla="*/ 4417872 h 5143500"/>
              <a:gd name="connsiteX47" fmla="*/ 3831461 w 9144000"/>
              <a:gd name="connsiteY47" fmla="*/ 4397131 h 5143500"/>
              <a:gd name="connsiteX48" fmla="*/ 3851573 w 9144000"/>
              <a:gd name="connsiteY48" fmla="*/ 4376237 h 5143500"/>
              <a:gd name="connsiteX49" fmla="*/ 3871526 w 9144000"/>
              <a:gd name="connsiteY49" fmla="*/ 4355189 h 5143500"/>
              <a:gd name="connsiteX50" fmla="*/ 3891319 w 9144000"/>
              <a:gd name="connsiteY50" fmla="*/ 4333988 h 5143500"/>
              <a:gd name="connsiteX51" fmla="*/ 3910950 w 9144000"/>
              <a:gd name="connsiteY51" fmla="*/ 4312636 h 5143500"/>
              <a:gd name="connsiteX52" fmla="*/ 3930419 w 9144000"/>
              <a:gd name="connsiteY52" fmla="*/ 4291133 h 5143500"/>
              <a:gd name="connsiteX53" fmla="*/ 3949725 w 9144000"/>
              <a:gd name="connsiteY53" fmla="*/ 4269480 h 5143500"/>
              <a:gd name="connsiteX54" fmla="*/ 3968866 w 9144000"/>
              <a:gd name="connsiteY54" fmla="*/ 4247679 h 5143500"/>
              <a:gd name="connsiteX55" fmla="*/ 3987842 w 9144000"/>
              <a:gd name="connsiteY55" fmla="*/ 4225730 h 5143500"/>
              <a:gd name="connsiteX56" fmla="*/ 4006653 w 9144000"/>
              <a:gd name="connsiteY56" fmla="*/ 4203634 h 5143500"/>
              <a:gd name="connsiteX57" fmla="*/ 4025295 w 9144000"/>
              <a:gd name="connsiteY57" fmla="*/ 4181393 h 5143500"/>
              <a:gd name="connsiteX58" fmla="*/ 4043770 w 9144000"/>
              <a:gd name="connsiteY58" fmla="*/ 4159006 h 5143500"/>
              <a:gd name="connsiteX59" fmla="*/ 4062076 w 9144000"/>
              <a:gd name="connsiteY59" fmla="*/ 4136476 h 5143500"/>
              <a:gd name="connsiteX60" fmla="*/ 4080212 w 9144000"/>
              <a:gd name="connsiteY60" fmla="*/ 4113803 h 5143500"/>
              <a:gd name="connsiteX61" fmla="*/ 4098176 w 9144000"/>
              <a:gd name="connsiteY61" fmla="*/ 4090988 h 5143500"/>
              <a:gd name="connsiteX62" fmla="*/ 4115969 w 9144000"/>
              <a:gd name="connsiteY62" fmla="*/ 4068033 h 5143500"/>
              <a:gd name="connsiteX63" fmla="*/ 4133588 w 9144000"/>
              <a:gd name="connsiteY63" fmla="*/ 4044937 h 5143500"/>
              <a:gd name="connsiteX64" fmla="*/ 4151034 w 9144000"/>
              <a:gd name="connsiteY64" fmla="*/ 4021702 h 5143500"/>
              <a:gd name="connsiteX65" fmla="*/ 4168305 w 9144000"/>
              <a:gd name="connsiteY65" fmla="*/ 3998330 h 5143500"/>
              <a:gd name="connsiteX66" fmla="*/ 4185399 w 9144000"/>
              <a:gd name="connsiteY66" fmla="*/ 3974820 h 5143500"/>
              <a:gd name="connsiteX67" fmla="*/ 4202317 w 9144000"/>
              <a:gd name="connsiteY67" fmla="*/ 3951174 h 5143500"/>
              <a:gd name="connsiteX68" fmla="*/ 4219057 w 9144000"/>
              <a:gd name="connsiteY68" fmla="*/ 3927394 h 5143500"/>
              <a:gd name="connsiteX69" fmla="*/ 4235619 w 9144000"/>
              <a:gd name="connsiteY69" fmla="*/ 3903479 h 5143500"/>
              <a:gd name="connsiteX70" fmla="*/ 4252000 w 9144000"/>
              <a:gd name="connsiteY70" fmla="*/ 3879431 h 5143500"/>
              <a:gd name="connsiteX71" fmla="*/ 4268201 w 9144000"/>
              <a:gd name="connsiteY71" fmla="*/ 3855250 h 5143500"/>
              <a:gd name="connsiteX72" fmla="*/ 4284220 w 9144000"/>
              <a:gd name="connsiteY72" fmla="*/ 3830939 h 5143500"/>
              <a:gd name="connsiteX73" fmla="*/ 4300056 w 9144000"/>
              <a:gd name="connsiteY73" fmla="*/ 3806498 h 5143500"/>
              <a:gd name="connsiteX74" fmla="*/ 4315709 w 9144000"/>
              <a:gd name="connsiteY74" fmla="*/ 3781927 h 5143500"/>
              <a:gd name="connsiteX75" fmla="*/ 4331176 w 9144000"/>
              <a:gd name="connsiteY75" fmla="*/ 3757228 h 5143500"/>
              <a:gd name="connsiteX76" fmla="*/ 4346459 w 9144000"/>
              <a:gd name="connsiteY76" fmla="*/ 3732401 h 5143500"/>
              <a:gd name="connsiteX77" fmla="*/ 4361555 w 9144000"/>
              <a:gd name="connsiteY77" fmla="*/ 3707449 h 5143500"/>
              <a:gd name="connsiteX78" fmla="*/ 4376463 w 9144000"/>
              <a:gd name="connsiteY78" fmla="*/ 3682371 h 5143500"/>
              <a:gd name="connsiteX79" fmla="*/ 4391183 w 9144000"/>
              <a:gd name="connsiteY79" fmla="*/ 3657169 h 5143500"/>
              <a:gd name="connsiteX80" fmla="*/ 4405712 w 9144000"/>
              <a:gd name="connsiteY80" fmla="*/ 3631843 h 5143500"/>
              <a:gd name="connsiteX81" fmla="*/ 4420052 w 9144000"/>
              <a:gd name="connsiteY81" fmla="*/ 3606395 h 5143500"/>
              <a:gd name="connsiteX82" fmla="*/ 4434200 w 9144000"/>
              <a:gd name="connsiteY82" fmla="*/ 3580825 h 5143500"/>
              <a:gd name="connsiteX83" fmla="*/ 4448156 w 9144000"/>
              <a:gd name="connsiteY83" fmla="*/ 3555135 h 5143500"/>
              <a:gd name="connsiteX84" fmla="*/ 4461919 w 9144000"/>
              <a:gd name="connsiteY84" fmla="*/ 3529325 h 5143500"/>
              <a:gd name="connsiteX85" fmla="*/ 4475486 w 9144000"/>
              <a:gd name="connsiteY85" fmla="*/ 3503396 h 5143500"/>
              <a:gd name="connsiteX86" fmla="*/ 4488859 w 9144000"/>
              <a:gd name="connsiteY86" fmla="*/ 3477351 h 5143500"/>
              <a:gd name="connsiteX87" fmla="*/ 4502035 w 9144000"/>
              <a:gd name="connsiteY87" fmla="*/ 3451188 h 5143500"/>
              <a:gd name="connsiteX88" fmla="*/ 4515014 w 9144000"/>
              <a:gd name="connsiteY88" fmla="*/ 3424910 h 5143500"/>
              <a:gd name="connsiteX89" fmla="*/ 4527795 w 9144000"/>
              <a:gd name="connsiteY89" fmla="*/ 3398518 h 5143500"/>
              <a:gd name="connsiteX90" fmla="*/ 4540376 w 9144000"/>
              <a:gd name="connsiteY90" fmla="*/ 3372011 h 5143500"/>
              <a:gd name="connsiteX91" fmla="*/ 4552758 w 9144000"/>
              <a:gd name="connsiteY91" fmla="*/ 3345392 h 5143500"/>
              <a:gd name="connsiteX92" fmla="*/ 4564938 w 9144000"/>
              <a:gd name="connsiteY92" fmla="*/ 3318661 h 5143500"/>
              <a:gd name="connsiteX93" fmla="*/ 4576916 w 9144000"/>
              <a:gd name="connsiteY93" fmla="*/ 3291819 h 5143500"/>
              <a:gd name="connsiteX94" fmla="*/ 4588691 w 9144000"/>
              <a:gd name="connsiteY94" fmla="*/ 3264868 h 5143500"/>
              <a:gd name="connsiteX95" fmla="*/ 4600262 w 9144000"/>
              <a:gd name="connsiteY95" fmla="*/ 3237807 h 5143500"/>
              <a:gd name="connsiteX96" fmla="*/ 4611627 w 9144000"/>
              <a:gd name="connsiteY96" fmla="*/ 3210639 h 5143500"/>
              <a:gd name="connsiteX97" fmla="*/ 4622787 w 9144000"/>
              <a:gd name="connsiteY97" fmla="*/ 3183365 h 5143500"/>
              <a:gd name="connsiteX98" fmla="*/ 4633740 w 9144000"/>
              <a:gd name="connsiteY98" fmla="*/ 3155984 h 5143500"/>
              <a:gd name="connsiteX99" fmla="*/ 4644484 w 9144000"/>
              <a:gd name="connsiteY99" fmla="*/ 3128498 h 5143500"/>
              <a:gd name="connsiteX100" fmla="*/ 4655020 w 9144000"/>
              <a:gd name="connsiteY100" fmla="*/ 3100908 h 5143500"/>
              <a:gd name="connsiteX101" fmla="*/ 4665346 w 9144000"/>
              <a:gd name="connsiteY101" fmla="*/ 3073215 h 5143500"/>
              <a:gd name="connsiteX102" fmla="*/ 4675461 w 9144000"/>
              <a:gd name="connsiteY102" fmla="*/ 3045421 h 5143500"/>
              <a:gd name="connsiteX103" fmla="*/ 4685364 w 9144000"/>
              <a:gd name="connsiteY103" fmla="*/ 3017525 h 5143500"/>
              <a:gd name="connsiteX104" fmla="*/ 4695054 w 9144000"/>
              <a:gd name="connsiteY104" fmla="*/ 2989528 h 5143500"/>
              <a:gd name="connsiteX105" fmla="*/ 4704531 w 9144000"/>
              <a:gd name="connsiteY105" fmla="*/ 2961433 h 5143500"/>
              <a:gd name="connsiteX106" fmla="*/ 4713792 w 9144000"/>
              <a:gd name="connsiteY106" fmla="*/ 2933240 h 5143500"/>
              <a:gd name="connsiteX107" fmla="*/ 4722838 w 9144000"/>
              <a:gd name="connsiteY107" fmla="*/ 2904950 h 5143500"/>
              <a:gd name="connsiteX108" fmla="*/ 4731667 w 9144000"/>
              <a:gd name="connsiteY108" fmla="*/ 2876564 h 5143500"/>
              <a:gd name="connsiteX109" fmla="*/ 4740279 w 9144000"/>
              <a:gd name="connsiteY109" fmla="*/ 2848081 h 5143500"/>
              <a:gd name="connsiteX110" fmla="*/ 4748671 w 9144000"/>
              <a:gd name="connsiteY110" fmla="*/ 2819506 h 5143500"/>
              <a:gd name="connsiteX111" fmla="*/ 4756844 w 9144000"/>
              <a:gd name="connsiteY111" fmla="*/ 2790836 h 5143500"/>
              <a:gd name="connsiteX112" fmla="*/ 4764796 w 9144000"/>
              <a:gd name="connsiteY112" fmla="*/ 2762075 h 5143500"/>
              <a:gd name="connsiteX113" fmla="*/ 4772528 w 9144000"/>
              <a:gd name="connsiteY113" fmla="*/ 2733222 h 5143500"/>
              <a:gd name="connsiteX114" fmla="*/ 4780036 w 9144000"/>
              <a:gd name="connsiteY114" fmla="*/ 2704279 h 5143500"/>
              <a:gd name="connsiteX115" fmla="*/ 4787321 w 9144000"/>
              <a:gd name="connsiteY115" fmla="*/ 2675246 h 5143500"/>
              <a:gd name="connsiteX116" fmla="*/ 4794381 w 9144000"/>
              <a:gd name="connsiteY116" fmla="*/ 2646125 h 5143500"/>
              <a:gd name="connsiteX117" fmla="*/ 4801216 w 9144000"/>
              <a:gd name="connsiteY117" fmla="*/ 2616917 h 5143500"/>
              <a:gd name="connsiteX118" fmla="*/ 4807824 w 9144000"/>
              <a:gd name="connsiteY118" fmla="*/ 2587622 h 5143500"/>
              <a:gd name="connsiteX119" fmla="*/ 4814205 w 9144000"/>
              <a:gd name="connsiteY119" fmla="*/ 2558241 h 5143500"/>
              <a:gd name="connsiteX120" fmla="*/ 4820357 w 9144000"/>
              <a:gd name="connsiteY120" fmla="*/ 2528776 h 5143500"/>
              <a:gd name="connsiteX121" fmla="*/ 4826280 w 9144000"/>
              <a:gd name="connsiteY121" fmla="*/ 2499227 h 5143500"/>
              <a:gd name="connsiteX122" fmla="*/ 4831973 w 9144000"/>
              <a:gd name="connsiteY122" fmla="*/ 2469596 h 5143500"/>
              <a:gd name="connsiteX123" fmla="*/ 4837435 w 9144000"/>
              <a:gd name="connsiteY123" fmla="*/ 2439884 h 5143500"/>
              <a:gd name="connsiteX124" fmla="*/ 4842664 w 9144000"/>
              <a:gd name="connsiteY124" fmla="*/ 2410090 h 5143500"/>
              <a:gd name="connsiteX125" fmla="*/ 4847660 w 9144000"/>
              <a:gd name="connsiteY125" fmla="*/ 2380217 h 5143500"/>
              <a:gd name="connsiteX126" fmla="*/ 4852422 w 9144000"/>
              <a:gd name="connsiteY126" fmla="*/ 2350266 h 5143500"/>
              <a:gd name="connsiteX127" fmla="*/ 4856948 w 9144000"/>
              <a:gd name="connsiteY127" fmla="*/ 2320236 h 5143500"/>
              <a:gd name="connsiteX128" fmla="*/ 4861239 w 9144000"/>
              <a:gd name="connsiteY128" fmla="*/ 2290130 h 5143500"/>
              <a:gd name="connsiteX129" fmla="*/ 4865292 w 9144000"/>
              <a:gd name="connsiteY129" fmla="*/ 2259948 h 5143500"/>
              <a:gd name="connsiteX130" fmla="*/ 4869107 w 9144000"/>
              <a:gd name="connsiteY130" fmla="*/ 2229692 h 5143500"/>
              <a:gd name="connsiteX131" fmla="*/ 4872683 w 9144000"/>
              <a:gd name="connsiteY131" fmla="*/ 2199361 h 5143500"/>
              <a:gd name="connsiteX132" fmla="*/ 4876019 w 9144000"/>
              <a:gd name="connsiteY132" fmla="*/ 2168957 h 5143500"/>
              <a:gd name="connsiteX133" fmla="*/ 4879114 w 9144000"/>
              <a:gd name="connsiteY133" fmla="*/ 2138482 h 5143500"/>
              <a:gd name="connsiteX134" fmla="*/ 4881966 w 9144000"/>
              <a:gd name="connsiteY134" fmla="*/ 2107936 h 5143500"/>
              <a:gd name="connsiteX135" fmla="*/ 4884576 w 9144000"/>
              <a:gd name="connsiteY135" fmla="*/ 2077320 h 5143500"/>
              <a:gd name="connsiteX136" fmla="*/ 4886942 w 9144000"/>
              <a:gd name="connsiteY136" fmla="*/ 2046635 h 5143500"/>
              <a:gd name="connsiteX137" fmla="*/ 4889064 w 9144000"/>
              <a:gd name="connsiteY137" fmla="*/ 2015881 h 5143500"/>
              <a:gd name="connsiteX138" fmla="*/ 4890939 w 9144000"/>
              <a:gd name="connsiteY138" fmla="*/ 1985062 h 5143500"/>
              <a:gd name="connsiteX139" fmla="*/ 4892567 w 9144000"/>
              <a:gd name="connsiteY139" fmla="*/ 1954175 h 5143500"/>
              <a:gd name="connsiteX140" fmla="*/ 4893947 w 9144000"/>
              <a:gd name="connsiteY140" fmla="*/ 1923224 h 5143500"/>
              <a:gd name="connsiteX141" fmla="*/ 4895079 w 9144000"/>
              <a:gd name="connsiteY141" fmla="*/ 1892208 h 5143500"/>
              <a:gd name="connsiteX142" fmla="*/ 4895961 w 9144000"/>
              <a:gd name="connsiteY142" fmla="*/ 1861130 h 5143500"/>
              <a:gd name="connsiteX143" fmla="*/ 4896592 w 9144000"/>
              <a:gd name="connsiteY143" fmla="*/ 1829989 h 5143500"/>
              <a:gd name="connsiteX144" fmla="*/ 4896971 w 9144000"/>
              <a:gd name="connsiteY144" fmla="*/ 1798787 h 5143500"/>
              <a:gd name="connsiteX145" fmla="*/ 4897098 w 9144000"/>
              <a:gd name="connsiteY145" fmla="*/ 1767525 h 5143500"/>
              <a:gd name="connsiteX146" fmla="*/ 4896971 w 9144000"/>
              <a:gd name="connsiteY146" fmla="*/ 1736263 h 5143500"/>
              <a:gd name="connsiteX147" fmla="*/ 4896592 w 9144000"/>
              <a:gd name="connsiteY147" fmla="*/ 1705061 h 5143500"/>
              <a:gd name="connsiteX148" fmla="*/ 4895961 w 9144000"/>
              <a:gd name="connsiteY148" fmla="*/ 1673920 h 5143500"/>
              <a:gd name="connsiteX149" fmla="*/ 4895079 w 9144000"/>
              <a:gd name="connsiteY149" fmla="*/ 1642842 h 5143500"/>
              <a:gd name="connsiteX150" fmla="*/ 4893947 w 9144000"/>
              <a:gd name="connsiteY150" fmla="*/ 1611826 h 5143500"/>
              <a:gd name="connsiteX151" fmla="*/ 4892567 w 9144000"/>
              <a:gd name="connsiteY151" fmla="*/ 1580875 h 5143500"/>
              <a:gd name="connsiteX152" fmla="*/ 4890939 w 9144000"/>
              <a:gd name="connsiteY152" fmla="*/ 1549988 h 5143500"/>
              <a:gd name="connsiteX153" fmla="*/ 4889064 w 9144000"/>
              <a:gd name="connsiteY153" fmla="*/ 1519168 h 5143500"/>
              <a:gd name="connsiteX154" fmla="*/ 4886942 w 9144000"/>
              <a:gd name="connsiteY154" fmla="*/ 1488415 h 5143500"/>
              <a:gd name="connsiteX155" fmla="*/ 4884576 w 9144000"/>
              <a:gd name="connsiteY155" fmla="*/ 1457730 h 5143500"/>
              <a:gd name="connsiteX156" fmla="*/ 4881966 w 9144000"/>
              <a:gd name="connsiteY156" fmla="*/ 1427113 h 5143500"/>
              <a:gd name="connsiteX157" fmla="*/ 4879114 w 9144000"/>
              <a:gd name="connsiteY157" fmla="*/ 1396567 h 5143500"/>
              <a:gd name="connsiteX158" fmla="*/ 4876019 w 9144000"/>
              <a:gd name="connsiteY158" fmla="*/ 1366092 h 5143500"/>
              <a:gd name="connsiteX159" fmla="*/ 4872683 w 9144000"/>
              <a:gd name="connsiteY159" fmla="*/ 1335688 h 5143500"/>
              <a:gd name="connsiteX160" fmla="*/ 4869107 w 9144000"/>
              <a:gd name="connsiteY160" fmla="*/ 1305358 h 5143500"/>
              <a:gd name="connsiteX161" fmla="*/ 4865292 w 9144000"/>
              <a:gd name="connsiteY161" fmla="*/ 1275101 h 5143500"/>
              <a:gd name="connsiteX162" fmla="*/ 4861239 w 9144000"/>
              <a:gd name="connsiteY162" fmla="*/ 1244919 h 5143500"/>
              <a:gd name="connsiteX163" fmla="*/ 4856948 w 9144000"/>
              <a:gd name="connsiteY163" fmla="*/ 1214813 h 5143500"/>
              <a:gd name="connsiteX164" fmla="*/ 4852422 w 9144000"/>
              <a:gd name="connsiteY164" fmla="*/ 1184783 h 5143500"/>
              <a:gd name="connsiteX165" fmla="*/ 4847660 w 9144000"/>
              <a:gd name="connsiteY165" fmla="*/ 1154832 h 5143500"/>
              <a:gd name="connsiteX166" fmla="*/ 4842664 w 9144000"/>
              <a:gd name="connsiteY166" fmla="*/ 1124958 h 5143500"/>
              <a:gd name="connsiteX167" fmla="*/ 4837435 w 9144000"/>
              <a:gd name="connsiteY167" fmla="*/ 1095165 h 5143500"/>
              <a:gd name="connsiteX168" fmla="*/ 4831973 w 9144000"/>
              <a:gd name="connsiteY168" fmla="*/ 1065453 h 5143500"/>
              <a:gd name="connsiteX169" fmla="*/ 4826280 w 9144000"/>
              <a:gd name="connsiteY169" fmla="*/ 1035821 h 5143500"/>
              <a:gd name="connsiteX170" fmla="*/ 4820357 w 9144000"/>
              <a:gd name="connsiteY170" fmla="*/ 1006273 h 5143500"/>
              <a:gd name="connsiteX171" fmla="*/ 4814205 w 9144000"/>
              <a:gd name="connsiteY171" fmla="*/ 976808 h 5143500"/>
              <a:gd name="connsiteX172" fmla="*/ 4807824 w 9144000"/>
              <a:gd name="connsiteY172" fmla="*/ 947427 h 5143500"/>
              <a:gd name="connsiteX173" fmla="*/ 4801216 w 9144000"/>
              <a:gd name="connsiteY173" fmla="*/ 918132 h 5143500"/>
              <a:gd name="connsiteX174" fmla="*/ 4794381 w 9144000"/>
              <a:gd name="connsiteY174" fmla="*/ 888923 h 5143500"/>
              <a:gd name="connsiteX175" fmla="*/ 4787321 w 9144000"/>
              <a:gd name="connsiteY175" fmla="*/ 859802 h 5143500"/>
              <a:gd name="connsiteX176" fmla="*/ 4780036 w 9144000"/>
              <a:gd name="connsiteY176" fmla="*/ 830770 h 5143500"/>
              <a:gd name="connsiteX177" fmla="*/ 4772528 w 9144000"/>
              <a:gd name="connsiteY177" fmla="*/ 801827 h 5143500"/>
              <a:gd name="connsiteX178" fmla="*/ 4764796 w 9144000"/>
              <a:gd name="connsiteY178" fmla="*/ 772973 h 5143500"/>
              <a:gd name="connsiteX179" fmla="*/ 4756844 w 9144000"/>
              <a:gd name="connsiteY179" fmla="*/ 744212 h 5143500"/>
              <a:gd name="connsiteX180" fmla="*/ 4748671 w 9144000"/>
              <a:gd name="connsiteY180" fmla="*/ 715542 h 5143500"/>
              <a:gd name="connsiteX181" fmla="*/ 4740279 w 9144000"/>
              <a:gd name="connsiteY181" fmla="*/ 686967 h 5143500"/>
              <a:gd name="connsiteX182" fmla="*/ 4731667 w 9144000"/>
              <a:gd name="connsiteY182" fmla="*/ 658484 h 5143500"/>
              <a:gd name="connsiteX183" fmla="*/ 4722838 w 9144000"/>
              <a:gd name="connsiteY183" fmla="*/ 630098 h 5143500"/>
              <a:gd name="connsiteX184" fmla="*/ 4713792 w 9144000"/>
              <a:gd name="connsiteY184" fmla="*/ 601808 h 5143500"/>
              <a:gd name="connsiteX185" fmla="*/ 4704531 w 9144000"/>
              <a:gd name="connsiteY185" fmla="*/ 573614 h 5143500"/>
              <a:gd name="connsiteX186" fmla="*/ 4695054 w 9144000"/>
              <a:gd name="connsiteY186" fmla="*/ 545519 h 5143500"/>
              <a:gd name="connsiteX187" fmla="*/ 4685364 w 9144000"/>
              <a:gd name="connsiteY187" fmla="*/ 517523 h 5143500"/>
              <a:gd name="connsiteX188" fmla="*/ 4675461 w 9144000"/>
              <a:gd name="connsiteY188" fmla="*/ 489627 h 5143500"/>
              <a:gd name="connsiteX189" fmla="*/ 4665346 w 9144000"/>
              <a:gd name="connsiteY189" fmla="*/ 461833 h 5143500"/>
              <a:gd name="connsiteX190" fmla="*/ 4655020 w 9144000"/>
              <a:gd name="connsiteY190" fmla="*/ 434140 h 5143500"/>
              <a:gd name="connsiteX191" fmla="*/ 4644484 w 9144000"/>
              <a:gd name="connsiteY191" fmla="*/ 406550 h 5143500"/>
              <a:gd name="connsiteX192" fmla="*/ 4633740 w 9144000"/>
              <a:gd name="connsiteY192" fmla="*/ 379064 h 5143500"/>
              <a:gd name="connsiteX193" fmla="*/ 4622787 w 9144000"/>
              <a:gd name="connsiteY193" fmla="*/ 351683 h 5143500"/>
              <a:gd name="connsiteX194" fmla="*/ 4611627 w 9144000"/>
              <a:gd name="connsiteY194" fmla="*/ 324408 h 5143500"/>
              <a:gd name="connsiteX195" fmla="*/ 4600262 w 9144000"/>
              <a:gd name="connsiteY195" fmla="*/ 297240 h 5143500"/>
              <a:gd name="connsiteX196" fmla="*/ 4588691 w 9144000"/>
              <a:gd name="connsiteY196" fmla="*/ 270179 h 5143500"/>
              <a:gd name="connsiteX197" fmla="*/ 4576916 w 9144000"/>
              <a:gd name="connsiteY197" fmla="*/ 243228 h 5143500"/>
              <a:gd name="connsiteX198" fmla="*/ 4564938 w 9144000"/>
              <a:gd name="connsiteY198" fmla="*/ 216386 h 5143500"/>
              <a:gd name="connsiteX199" fmla="*/ 4552758 w 9144000"/>
              <a:gd name="connsiteY199" fmla="*/ 189655 h 5143500"/>
              <a:gd name="connsiteX200" fmla="*/ 4540376 w 9144000"/>
              <a:gd name="connsiteY200" fmla="*/ 163036 h 5143500"/>
              <a:gd name="connsiteX201" fmla="*/ 4527795 w 9144000"/>
              <a:gd name="connsiteY201" fmla="*/ 136530 h 5143500"/>
              <a:gd name="connsiteX202" fmla="*/ 4515014 w 9144000"/>
              <a:gd name="connsiteY202" fmla="*/ 110137 h 5143500"/>
              <a:gd name="connsiteX203" fmla="*/ 4502035 w 9144000"/>
              <a:gd name="connsiteY203" fmla="*/ 83859 h 5143500"/>
              <a:gd name="connsiteX204" fmla="*/ 4488859 w 9144000"/>
              <a:gd name="connsiteY204" fmla="*/ 57696 h 5143500"/>
              <a:gd name="connsiteX205" fmla="*/ 4475486 w 9144000"/>
              <a:gd name="connsiteY205" fmla="*/ 31651 h 5143500"/>
              <a:gd name="connsiteX206" fmla="*/ 4461919 w 9144000"/>
              <a:gd name="connsiteY206" fmla="*/ 5722 h 5143500"/>
              <a:gd name="connsiteX207" fmla="*/ 4458868 w 9144000"/>
              <a:gd name="connsiteY207" fmla="*/ 1 h 5143500"/>
              <a:gd name="connsiteX208" fmla="*/ 0 w 9144000"/>
              <a:gd name="connsiteY208" fmla="*/ 1 h 5143500"/>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2816004 w 9144000"/>
              <a:gd name="connsiteY4" fmla="*/ 5143429 h 5143500"/>
              <a:gd name="connsiteX5" fmla="*/ 2855703 w 9144000"/>
              <a:gd name="connsiteY5" fmla="*/ 5123180 h 5143500"/>
              <a:gd name="connsiteX6" fmla="*/ 2907441 w 9144000"/>
              <a:gd name="connsiteY6" fmla="*/ 5095850 h 5143500"/>
              <a:gd name="connsiteX7" fmla="*/ 2933131 w 9144000"/>
              <a:gd name="connsiteY7" fmla="*/ 5081894 h 5143500"/>
              <a:gd name="connsiteX8" fmla="*/ 2958701 w 9144000"/>
              <a:gd name="connsiteY8" fmla="*/ 5067746 h 5143500"/>
              <a:gd name="connsiteX9" fmla="*/ 2984149 w 9144000"/>
              <a:gd name="connsiteY9" fmla="*/ 5053407 h 5143500"/>
              <a:gd name="connsiteX10" fmla="*/ 3009475 w 9144000"/>
              <a:gd name="connsiteY10" fmla="*/ 5038876 h 5143500"/>
              <a:gd name="connsiteX11" fmla="*/ 3034677 w 9144000"/>
              <a:gd name="connsiteY11" fmla="*/ 5024157 h 5143500"/>
              <a:gd name="connsiteX12" fmla="*/ 3059755 w 9144000"/>
              <a:gd name="connsiteY12" fmla="*/ 5009248 h 5143500"/>
              <a:gd name="connsiteX13" fmla="*/ 3084708 w 9144000"/>
              <a:gd name="connsiteY13" fmla="*/ 4994153 h 5143500"/>
              <a:gd name="connsiteX14" fmla="*/ 3109534 w 9144000"/>
              <a:gd name="connsiteY14" fmla="*/ 4978871 h 5143500"/>
              <a:gd name="connsiteX15" fmla="*/ 3134233 w 9144000"/>
              <a:gd name="connsiteY15" fmla="*/ 4963403 h 5143500"/>
              <a:gd name="connsiteX16" fmla="*/ 3158804 w 9144000"/>
              <a:gd name="connsiteY16" fmla="*/ 4947750 h 5143500"/>
              <a:gd name="connsiteX17" fmla="*/ 3183246 w 9144000"/>
              <a:gd name="connsiteY17" fmla="*/ 4931914 h 5143500"/>
              <a:gd name="connsiteX18" fmla="*/ 3207557 w 9144000"/>
              <a:gd name="connsiteY18" fmla="*/ 4915895 h 5143500"/>
              <a:gd name="connsiteX19" fmla="*/ 3231737 w 9144000"/>
              <a:gd name="connsiteY19" fmla="*/ 4899694 h 5143500"/>
              <a:gd name="connsiteX20" fmla="*/ 3255785 w 9144000"/>
              <a:gd name="connsiteY20" fmla="*/ 4883312 h 5143500"/>
              <a:gd name="connsiteX21" fmla="*/ 3279700 w 9144000"/>
              <a:gd name="connsiteY21" fmla="*/ 4866751 h 5143500"/>
              <a:gd name="connsiteX22" fmla="*/ 3303481 w 9144000"/>
              <a:gd name="connsiteY22" fmla="*/ 4850011 h 5143500"/>
              <a:gd name="connsiteX23" fmla="*/ 3327126 w 9144000"/>
              <a:gd name="connsiteY23" fmla="*/ 4833093 h 5143500"/>
              <a:gd name="connsiteX24" fmla="*/ 3350636 w 9144000"/>
              <a:gd name="connsiteY24" fmla="*/ 4815999 h 5143500"/>
              <a:gd name="connsiteX25" fmla="*/ 3374008 w 9144000"/>
              <a:gd name="connsiteY25" fmla="*/ 4798728 h 5143500"/>
              <a:gd name="connsiteX26" fmla="*/ 3397243 w 9144000"/>
              <a:gd name="connsiteY26" fmla="*/ 4781282 h 5143500"/>
              <a:gd name="connsiteX27" fmla="*/ 3420339 w 9144000"/>
              <a:gd name="connsiteY27" fmla="*/ 4763663 h 5143500"/>
              <a:gd name="connsiteX28" fmla="*/ 3443295 w 9144000"/>
              <a:gd name="connsiteY28" fmla="*/ 4745870 h 5143500"/>
              <a:gd name="connsiteX29" fmla="*/ 3466109 w 9144000"/>
              <a:gd name="connsiteY29" fmla="*/ 4727906 h 5143500"/>
              <a:gd name="connsiteX30" fmla="*/ 3488783 w 9144000"/>
              <a:gd name="connsiteY30" fmla="*/ 4709770 h 5143500"/>
              <a:gd name="connsiteX31" fmla="*/ 3511313 w 9144000"/>
              <a:gd name="connsiteY31" fmla="*/ 4691464 h 5143500"/>
              <a:gd name="connsiteX32" fmla="*/ 3533699 w 9144000"/>
              <a:gd name="connsiteY32" fmla="*/ 4672989 h 5143500"/>
              <a:gd name="connsiteX33" fmla="*/ 3555940 w 9144000"/>
              <a:gd name="connsiteY33" fmla="*/ 4654347 h 5143500"/>
              <a:gd name="connsiteX34" fmla="*/ 3578036 w 9144000"/>
              <a:gd name="connsiteY34" fmla="*/ 4635536 h 5143500"/>
              <a:gd name="connsiteX35" fmla="*/ 3599985 w 9144000"/>
              <a:gd name="connsiteY35" fmla="*/ 4616560 h 5143500"/>
              <a:gd name="connsiteX36" fmla="*/ 3621786 w 9144000"/>
              <a:gd name="connsiteY36" fmla="*/ 4597419 h 5143500"/>
              <a:gd name="connsiteX37" fmla="*/ 3643439 w 9144000"/>
              <a:gd name="connsiteY37" fmla="*/ 4578113 h 5143500"/>
              <a:gd name="connsiteX38" fmla="*/ 3664942 w 9144000"/>
              <a:gd name="connsiteY38" fmla="*/ 4558644 h 5143500"/>
              <a:gd name="connsiteX39" fmla="*/ 3686294 w 9144000"/>
              <a:gd name="connsiteY39" fmla="*/ 4539013 h 5143500"/>
              <a:gd name="connsiteX40" fmla="*/ 3707495 w 9144000"/>
              <a:gd name="connsiteY40" fmla="*/ 4519220 h 5143500"/>
              <a:gd name="connsiteX41" fmla="*/ 3728543 w 9144000"/>
              <a:gd name="connsiteY41" fmla="*/ 4499267 h 5143500"/>
              <a:gd name="connsiteX42" fmla="*/ 3749437 w 9144000"/>
              <a:gd name="connsiteY42" fmla="*/ 4479155 h 5143500"/>
              <a:gd name="connsiteX43" fmla="*/ 3770178 w 9144000"/>
              <a:gd name="connsiteY43" fmla="*/ 4458884 h 5143500"/>
              <a:gd name="connsiteX44" fmla="*/ 3790762 w 9144000"/>
              <a:gd name="connsiteY44" fmla="*/ 4438456 h 5143500"/>
              <a:gd name="connsiteX45" fmla="*/ 3811191 w 9144000"/>
              <a:gd name="connsiteY45" fmla="*/ 4417872 h 5143500"/>
              <a:gd name="connsiteX46" fmla="*/ 3831461 w 9144000"/>
              <a:gd name="connsiteY46" fmla="*/ 4397131 h 5143500"/>
              <a:gd name="connsiteX47" fmla="*/ 3851573 w 9144000"/>
              <a:gd name="connsiteY47" fmla="*/ 4376237 h 5143500"/>
              <a:gd name="connsiteX48" fmla="*/ 3871526 w 9144000"/>
              <a:gd name="connsiteY48" fmla="*/ 4355189 h 5143500"/>
              <a:gd name="connsiteX49" fmla="*/ 3891319 w 9144000"/>
              <a:gd name="connsiteY49" fmla="*/ 4333988 h 5143500"/>
              <a:gd name="connsiteX50" fmla="*/ 3910950 w 9144000"/>
              <a:gd name="connsiteY50" fmla="*/ 4312636 h 5143500"/>
              <a:gd name="connsiteX51" fmla="*/ 3930419 w 9144000"/>
              <a:gd name="connsiteY51" fmla="*/ 4291133 h 5143500"/>
              <a:gd name="connsiteX52" fmla="*/ 3949725 w 9144000"/>
              <a:gd name="connsiteY52" fmla="*/ 4269480 h 5143500"/>
              <a:gd name="connsiteX53" fmla="*/ 3968866 w 9144000"/>
              <a:gd name="connsiteY53" fmla="*/ 4247679 h 5143500"/>
              <a:gd name="connsiteX54" fmla="*/ 3987842 w 9144000"/>
              <a:gd name="connsiteY54" fmla="*/ 4225730 h 5143500"/>
              <a:gd name="connsiteX55" fmla="*/ 4006653 w 9144000"/>
              <a:gd name="connsiteY55" fmla="*/ 4203634 h 5143500"/>
              <a:gd name="connsiteX56" fmla="*/ 4025295 w 9144000"/>
              <a:gd name="connsiteY56" fmla="*/ 4181393 h 5143500"/>
              <a:gd name="connsiteX57" fmla="*/ 4043770 w 9144000"/>
              <a:gd name="connsiteY57" fmla="*/ 4159006 h 5143500"/>
              <a:gd name="connsiteX58" fmla="*/ 4062076 w 9144000"/>
              <a:gd name="connsiteY58" fmla="*/ 4136476 h 5143500"/>
              <a:gd name="connsiteX59" fmla="*/ 4080212 w 9144000"/>
              <a:gd name="connsiteY59" fmla="*/ 4113803 h 5143500"/>
              <a:gd name="connsiteX60" fmla="*/ 4098176 w 9144000"/>
              <a:gd name="connsiteY60" fmla="*/ 4090988 h 5143500"/>
              <a:gd name="connsiteX61" fmla="*/ 4115969 w 9144000"/>
              <a:gd name="connsiteY61" fmla="*/ 4068033 h 5143500"/>
              <a:gd name="connsiteX62" fmla="*/ 4133588 w 9144000"/>
              <a:gd name="connsiteY62" fmla="*/ 4044937 h 5143500"/>
              <a:gd name="connsiteX63" fmla="*/ 4151034 w 9144000"/>
              <a:gd name="connsiteY63" fmla="*/ 4021702 h 5143500"/>
              <a:gd name="connsiteX64" fmla="*/ 4168305 w 9144000"/>
              <a:gd name="connsiteY64" fmla="*/ 3998330 h 5143500"/>
              <a:gd name="connsiteX65" fmla="*/ 4185399 w 9144000"/>
              <a:gd name="connsiteY65" fmla="*/ 3974820 h 5143500"/>
              <a:gd name="connsiteX66" fmla="*/ 4202317 w 9144000"/>
              <a:gd name="connsiteY66" fmla="*/ 3951174 h 5143500"/>
              <a:gd name="connsiteX67" fmla="*/ 4219057 w 9144000"/>
              <a:gd name="connsiteY67" fmla="*/ 3927394 h 5143500"/>
              <a:gd name="connsiteX68" fmla="*/ 4235619 w 9144000"/>
              <a:gd name="connsiteY68" fmla="*/ 3903479 h 5143500"/>
              <a:gd name="connsiteX69" fmla="*/ 4252000 w 9144000"/>
              <a:gd name="connsiteY69" fmla="*/ 3879431 h 5143500"/>
              <a:gd name="connsiteX70" fmla="*/ 4268201 w 9144000"/>
              <a:gd name="connsiteY70" fmla="*/ 3855250 h 5143500"/>
              <a:gd name="connsiteX71" fmla="*/ 4284220 w 9144000"/>
              <a:gd name="connsiteY71" fmla="*/ 3830939 h 5143500"/>
              <a:gd name="connsiteX72" fmla="*/ 4300056 w 9144000"/>
              <a:gd name="connsiteY72" fmla="*/ 3806498 h 5143500"/>
              <a:gd name="connsiteX73" fmla="*/ 4315709 w 9144000"/>
              <a:gd name="connsiteY73" fmla="*/ 3781927 h 5143500"/>
              <a:gd name="connsiteX74" fmla="*/ 4331176 w 9144000"/>
              <a:gd name="connsiteY74" fmla="*/ 3757228 h 5143500"/>
              <a:gd name="connsiteX75" fmla="*/ 4346459 w 9144000"/>
              <a:gd name="connsiteY75" fmla="*/ 3732401 h 5143500"/>
              <a:gd name="connsiteX76" fmla="*/ 4361555 w 9144000"/>
              <a:gd name="connsiteY76" fmla="*/ 3707449 h 5143500"/>
              <a:gd name="connsiteX77" fmla="*/ 4376463 w 9144000"/>
              <a:gd name="connsiteY77" fmla="*/ 3682371 h 5143500"/>
              <a:gd name="connsiteX78" fmla="*/ 4391183 w 9144000"/>
              <a:gd name="connsiteY78" fmla="*/ 3657169 h 5143500"/>
              <a:gd name="connsiteX79" fmla="*/ 4405712 w 9144000"/>
              <a:gd name="connsiteY79" fmla="*/ 3631843 h 5143500"/>
              <a:gd name="connsiteX80" fmla="*/ 4420052 w 9144000"/>
              <a:gd name="connsiteY80" fmla="*/ 3606395 h 5143500"/>
              <a:gd name="connsiteX81" fmla="*/ 4434200 w 9144000"/>
              <a:gd name="connsiteY81" fmla="*/ 3580825 h 5143500"/>
              <a:gd name="connsiteX82" fmla="*/ 4448156 w 9144000"/>
              <a:gd name="connsiteY82" fmla="*/ 3555135 h 5143500"/>
              <a:gd name="connsiteX83" fmla="*/ 4461919 w 9144000"/>
              <a:gd name="connsiteY83" fmla="*/ 3529325 h 5143500"/>
              <a:gd name="connsiteX84" fmla="*/ 4475486 w 9144000"/>
              <a:gd name="connsiteY84" fmla="*/ 3503396 h 5143500"/>
              <a:gd name="connsiteX85" fmla="*/ 4488859 w 9144000"/>
              <a:gd name="connsiteY85" fmla="*/ 3477351 h 5143500"/>
              <a:gd name="connsiteX86" fmla="*/ 4502035 w 9144000"/>
              <a:gd name="connsiteY86" fmla="*/ 3451188 h 5143500"/>
              <a:gd name="connsiteX87" fmla="*/ 4515014 w 9144000"/>
              <a:gd name="connsiteY87" fmla="*/ 3424910 h 5143500"/>
              <a:gd name="connsiteX88" fmla="*/ 4527795 w 9144000"/>
              <a:gd name="connsiteY88" fmla="*/ 3398518 h 5143500"/>
              <a:gd name="connsiteX89" fmla="*/ 4540376 w 9144000"/>
              <a:gd name="connsiteY89" fmla="*/ 3372011 h 5143500"/>
              <a:gd name="connsiteX90" fmla="*/ 4552758 w 9144000"/>
              <a:gd name="connsiteY90" fmla="*/ 3345392 h 5143500"/>
              <a:gd name="connsiteX91" fmla="*/ 4564938 w 9144000"/>
              <a:gd name="connsiteY91" fmla="*/ 3318661 h 5143500"/>
              <a:gd name="connsiteX92" fmla="*/ 4576916 w 9144000"/>
              <a:gd name="connsiteY92" fmla="*/ 3291819 h 5143500"/>
              <a:gd name="connsiteX93" fmla="*/ 4588691 w 9144000"/>
              <a:gd name="connsiteY93" fmla="*/ 3264868 h 5143500"/>
              <a:gd name="connsiteX94" fmla="*/ 4600262 w 9144000"/>
              <a:gd name="connsiteY94" fmla="*/ 3237807 h 5143500"/>
              <a:gd name="connsiteX95" fmla="*/ 4611627 w 9144000"/>
              <a:gd name="connsiteY95" fmla="*/ 3210639 h 5143500"/>
              <a:gd name="connsiteX96" fmla="*/ 4622787 w 9144000"/>
              <a:gd name="connsiteY96" fmla="*/ 3183365 h 5143500"/>
              <a:gd name="connsiteX97" fmla="*/ 4633740 w 9144000"/>
              <a:gd name="connsiteY97" fmla="*/ 3155984 h 5143500"/>
              <a:gd name="connsiteX98" fmla="*/ 4644484 w 9144000"/>
              <a:gd name="connsiteY98" fmla="*/ 3128498 h 5143500"/>
              <a:gd name="connsiteX99" fmla="*/ 4655020 w 9144000"/>
              <a:gd name="connsiteY99" fmla="*/ 3100908 h 5143500"/>
              <a:gd name="connsiteX100" fmla="*/ 4665346 w 9144000"/>
              <a:gd name="connsiteY100" fmla="*/ 3073215 h 5143500"/>
              <a:gd name="connsiteX101" fmla="*/ 4675461 w 9144000"/>
              <a:gd name="connsiteY101" fmla="*/ 3045421 h 5143500"/>
              <a:gd name="connsiteX102" fmla="*/ 4685364 w 9144000"/>
              <a:gd name="connsiteY102" fmla="*/ 3017525 h 5143500"/>
              <a:gd name="connsiteX103" fmla="*/ 4695054 w 9144000"/>
              <a:gd name="connsiteY103" fmla="*/ 2989528 h 5143500"/>
              <a:gd name="connsiteX104" fmla="*/ 4704531 w 9144000"/>
              <a:gd name="connsiteY104" fmla="*/ 2961433 h 5143500"/>
              <a:gd name="connsiteX105" fmla="*/ 4713792 w 9144000"/>
              <a:gd name="connsiteY105" fmla="*/ 2933240 h 5143500"/>
              <a:gd name="connsiteX106" fmla="*/ 4722838 w 9144000"/>
              <a:gd name="connsiteY106" fmla="*/ 2904950 h 5143500"/>
              <a:gd name="connsiteX107" fmla="*/ 4731667 w 9144000"/>
              <a:gd name="connsiteY107" fmla="*/ 2876564 h 5143500"/>
              <a:gd name="connsiteX108" fmla="*/ 4740279 w 9144000"/>
              <a:gd name="connsiteY108" fmla="*/ 2848081 h 5143500"/>
              <a:gd name="connsiteX109" fmla="*/ 4748671 w 9144000"/>
              <a:gd name="connsiteY109" fmla="*/ 2819506 h 5143500"/>
              <a:gd name="connsiteX110" fmla="*/ 4756844 w 9144000"/>
              <a:gd name="connsiteY110" fmla="*/ 2790836 h 5143500"/>
              <a:gd name="connsiteX111" fmla="*/ 4764796 w 9144000"/>
              <a:gd name="connsiteY111" fmla="*/ 2762075 h 5143500"/>
              <a:gd name="connsiteX112" fmla="*/ 4772528 w 9144000"/>
              <a:gd name="connsiteY112" fmla="*/ 2733222 h 5143500"/>
              <a:gd name="connsiteX113" fmla="*/ 4780036 w 9144000"/>
              <a:gd name="connsiteY113" fmla="*/ 2704279 h 5143500"/>
              <a:gd name="connsiteX114" fmla="*/ 4787321 w 9144000"/>
              <a:gd name="connsiteY114" fmla="*/ 2675246 h 5143500"/>
              <a:gd name="connsiteX115" fmla="*/ 4794381 w 9144000"/>
              <a:gd name="connsiteY115" fmla="*/ 2646125 h 5143500"/>
              <a:gd name="connsiteX116" fmla="*/ 4801216 w 9144000"/>
              <a:gd name="connsiteY116" fmla="*/ 2616917 h 5143500"/>
              <a:gd name="connsiteX117" fmla="*/ 4807824 w 9144000"/>
              <a:gd name="connsiteY117" fmla="*/ 2587622 h 5143500"/>
              <a:gd name="connsiteX118" fmla="*/ 4814205 w 9144000"/>
              <a:gd name="connsiteY118" fmla="*/ 2558241 h 5143500"/>
              <a:gd name="connsiteX119" fmla="*/ 4820357 w 9144000"/>
              <a:gd name="connsiteY119" fmla="*/ 2528776 h 5143500"/>
              <a:gd name="connsiteX120" fmla="*/ 4826280 w 9144000"/>
              <a:gd name="connsiteY120" fmla="*/ 2499227 h 5143500"/>
              <a:gd name="connsiteX121" fmla="*/ 4831973 w 9144000"/>
              <a:gd name="connsiteY121" fmla="*/ 2469596 h 5143500"/>
              <a:gd name="connsiteX122" fmla="*/ 4837435 w 9144000"/>
              <a:gd name="connsiteY122" fmla="*/ 2439884 h 5143500"/>
              <a:gd name="connsiteX123" fmla="*/ 4842664 w 9144000"/>
              <a:gd name="connsiteY123" fmla="*/ 2410090 h 5143500"/>
              <a:gd name="connsiteX124" fmla="*/ 4847660 w 9144000"/>
              <a:gd name="connsiteY124" fmla="*/ 2380217 h 5143500"/>
              <a:gd name="connsiteX125" fmla="*/ 4852422 w 9144000"/>
              <a:gd name="connsiteY125" fmla="*/ 2350266 h 5143500"/>
              <a:gd name="connsiteX126" fmla="*/ 4856948 w 9144000"/>
              <a:gd name="connsiteY126" fmla="*/ 2320236 h 5143500"/>
              <a:gd name="connsiteX127" fmla="*/ 4861239 w 9144000"/>
              <a:gd name="connsiteY127" fmla="*/ 2290130 h 5143500"/>
              <a:gd name="connsiteX128" fmla="*/ 4865292 w 9144000"/>
              <a:gd name="connsiteY128" fmla="*/ 2259948 h 5143500"/>
              <a:gd name="connsiteX129" fmla="*/ 4869107 w 9144000"/>
              <a:gd name="connsiteY129" fmla="*/ 2229692 h 5143500"/>
              <a:gd name="connsiteX130" fmla="*/ 4872683 w 9144000"/>
              <a:gd name="connsiteY130" fmla="*/ 2199361 h 5143500"/>
              <a:gd name="connsiteX131" fmla="*/ 4876019 w 9144000"/>
              <a:gd name="connsiteY131" fmla="*/ 2168957 h 5143500"/>
              <a:gd name="connsiteX132" fmla="*/ 4879114 w 9144000"/>
              <a:gd name="connsiteY132" fmla="*/ 2138482 h 5143500"/>
              <a:gd name="connsiteX133" fmla="*/ 4881966 w 9144000"/>
              <a:gd name="connsiteY133" fmla="*/ 2107936 h 5143500"/>
              <a:gd name="connsiteX134" fmla="*/ 4884576 w 9144000"/>
              <a:gd name="connsiteY134" fmla="*/ 2077320 h 5143500"/>
              <a:gd name="connsiteX135" fmla="*/ 4886942 w 9144000"/>
              <a:gd name="connsiteY135" fmla="*/ 2046635 h 5143500"/>
              <a:gd name="connsiteX136" fmla="*/ 4889064 w 9144000"/>
              <a:gd name="connsiteY136" fmla="*/ 2015881 h 5143500"/>
              <a:gd name="connsiteX137" fmla="*/ 4890939 w 9144000"/>
              <a:gd name="connsiteY137" fmla="*/ 1985062 h 5143500"/>
              <a:gd name="connsiteX138" fmla="*/ 4892567 w 9144000"/>
              <a:gd name="connsiteY138" fmla="*/ 1954175 h 5143500"/>
              <a:gd name="connsiteX139" fmla="*/ 4893947 w 9144000"/>
              <a:gd name="connsiteY139" fmla="*/ 1923224 h 5143500"/>
              <a:gd name="connsiteX140" fmla="*/ 4895079 w 9144000"/>
              <a:gd name="connsiteY140" fmla="*/ 1892208 h 5143500"/>
              <a:gd name="connsiteX141" fmla="*/ 4895961 w 9144000"/>
              <a:gd name="connsiteY141" fmla="*/ 1861130 h 5143500"/>
              <a:gd name="connsiteX142" fmla="*/ 4896592 w 9144000"/>
              <a:gd name="connsiteY142" fmla="*/ 1829989 h 5143500"/>
              <a:gd name="connsiteX143" fmla="*/ 4896971 w 9144000"/>
              <a:gd name="connsiteY143" fmla="*/ 1798787 h 5143500"/>
              <a:gd name="connsiteX144" fmla="*/ 4897098 w 9144000"/>
              <a:gd name="connsiteY144" fmla="*/ 1767525 h 5143500"/>
              <a:gd name="connsiteX145" fmla="*/ 4896971 w 9144000"/>
              <a:gd name="connsiteY145" fmla="*/ 1736263 h 5143500"/>
              <a:gd name="connsiteX146" fmla="*/ 4896592 w 9144000"/>
              <a:gd name="connsiteY146" fmla="*/ 1705061 h 5143500"/>
              <a:gd name="connsiteX147" fmla="*/ 4895961 w 9144000"/>
              <a:gd name="connsiteY147" fmla="*/ 1673920 h 5143500"/>
              <a:gd name="connsiteX148" fmla="*/ 4895079 w 9144000"/>
              <a:gd name="connsiteY148" fmla="*/ 1642842 h 5143500"/>
              <a:gd name="connsiteX149" fmla="*/ 4893947 w 9144000"/>
              <a:gd name="connsiteY149" fmla="*/ 1611826 h 5143500"/>
              <a:gd name="connsiteX150" fmla="*/ 4892567 w 9144000"/>
              <a:gd name="connsiteY150" fmla="*/ 1580875 h 5143500"/>
              <a:gd name="connsiteX151" fmla="*/ 4890939 w 9144000"/>
              <a:gd name="connsiteY151" fmla="*/ 1549988 h 5143500"/>
              <a:gd name="connsiteX152" fmla="*/ 4889064 w 9144000"/>
              <a:gd name="connsiteY152" fmla="*/ 1519168 h 5143500"/>
              <a:gd name="connsiteX153" fmla="*/ 4886942 w 9144000"/>
              <a:gd name="connsiteY153" fmla="*/ 1488415 h 5143500"/>
              <a:gd name="connsiteX154" fmla="*/ 4884576 w 9144000"/>
              <a:gd name="connsiteY154" fmla="*/ 1457730 h 5143500"/>
              <a:gd name="connsiteX155" fmla="*/ 4881966 w 9144000"/>
              <a:gd name="connsiteY155" fmla="*/ 1427113 h 5143500"/>
              <a:gd name="connsiteX156" fmla="*/ 4879114 w 9144000"/>
              <a:gd name="connsiteY156" fmla="*/ 1396567 h 5143500"/>
              <a:gd name="connsiteX157" fmla="*/ 4876019 w 9144000"/>
              <a:gd name="connsiteY157" fmla="*/ 1366092 h 5143500"/>
              <a:gd name="connsiteX158" fmla="*/ 4872683 w 9144000"/>
              <a:gd name="connsiteY158" fmla="*/ 1335688 h 5143500"/>
              <a:gd name="connsiteX159" fmla="*/ 4869107 w 9144000"/>
              <a:gd name="connsiteY159" fmla="*/ 1305358 h 5143500"/>
              <a:gd name="connsiteX160" fmla="*/ 4865292 w 9144000"/>
              <a:gd name="connsiteY160" fmla="*/ 1275101 h 5143500"/>
              <a:gd name="connsiteX161" fmla="*/ 4861239 w 9144000"/>
              <a:gd name="connsiteY161" fmla="*/ 1244919 h 5143500"/>
              <a:gd name="connsiteX162" fmla="*/ 4856948 w 9144000"/>
              <a:gd name="connsiteY162" fmla="*/ 1214813 h 5143500"/>
              <a:gd name="connsiteX163" fmla="*/ 4852422 w 9144000"/>
              <a:gd name="connsiteY163" fmla="*/ 1184783 h 5143500"/>
              <a:gd name="connsiteX164" fmla="*/ 4847660 w 9144000"/>
              <a:gd name="connsiteY164" fmla="*/ 1154832 h 5143500"/>
              <a:gd name="connsiteX165" fmla="*/ 4842664 w 9144000"/>
              <a:gd name="connsiteY165" fmla="*/ 1124958 h 5143500"/>
              <a:gd name="connsiteX166" fmla="*/ 4837435 w 9144000"/>
              <a:gd name="connsiteY166" fmla="*/ 1095165 h 5143500"/>
              <a:gd name="connsiteX167" fmla="*/ 4831973 w 9144000"/>
              <a:gd name="connsiteY167" fmla="*/ 1065453 h 5143500"/>
              <a:gd name="connsiteX168" fmla="*/ 4826280 w 9144000"/>
              <a:gd name="connsiteY168" fmla="*/ 1035821 h 5143500"/>
              <a:gd name="connsiteX169" fmla="*/ 4820357 w 9144000"/>
              <a:gd name="connsiteY169" fmla="*/ 1006273 h 5143500"/>
              <a:gd name="connsiteX170" fmla="*/ 4814205 w 9144000"/>
              <a:gd name="connsiteY170" fmla="*/ 976808 h 5143500"/>
              <a:gd name="connsiteX171" fmla="*/ 4807824 w 9144000"/>
              <a:gd name="connsiteY171" fmla="*/ 947427 h 5143500"/>
              <a:gd name="connsiteX172" fmla="*/ 4801216 w 9144000"/>
              <a:gd name="connsiteY172" fmla="*/ 918132 h 5143500"/>
              <a:gd name="connsiteX173" fmla="*/ 4794381 w 9144000"/>
              <a:gd name="connsiteY173" fmla="*/ 888923 h 5143500"/>
              <a:gd name="connsiteX174" fmla="*/ 4787321 w 9144000"/>
              <a:gd name="connsiteY174" fmla="*/ 859802 h 5143500"/>
              <a:gd name="connsiteX175" fmla="*/ 4780036 w 9144000"/>
              <a:gd name="connsiteY175" fmla="*/ 830770 h 5143500"/>
              <a:gd name="connsiteX176" fmla="*/ 4772528 w 9144000"/>
              <a:gd name="connsiteY176" fmla="*/ 801827 h 5143500"/>
              <a:gd name="connsiteX177" fmla="*/ 4764796 w 9144000"/>
              <a:gd name="connsiteY177" fmla="*/ 772973 h 5143500"/>
              <a:gd name="connsiteX178" fmla="*/ 4756844 w 9144000"/>
              <a:gd name="connsiteY178" fmla="*/ 744212 h 5143500"/>
              <a:gd name="connsiteX179" fmla="*/ 4748671 w 9144000"/>
              <a:gd name="connsiteY179" fmla="*/ 715542 h 5143500"/>
              <a:gd name="connsiteX180" fmla="*/ 4740279 w 9144000"/>
              <a:gd name="connsiteY180" fmla="*/ 686967 h 5143500"/>
              <a:gd name="connsiteX181" fmla="*/ 4731667 w 9144000"/>
              <a:gd name="connsiteY181" fmla="*/ 658484 h 5143500"/>
              <a:gd name="connsiteX182" fmla="*/ 4722838 w 9144000"/>
              <a:gd name="connsiteY182" fmla="*/ 630098 h 5143500"/>
              <a:gd name="connsiteX183" fmla="*/ 4713792 w 9144000"/>
              <a:gd name="connsiteY183" fmla="*/ 601808 h 5143500"/>
              <a:gd name="connsiteX184" fmla="*/ 4704531 w 9144000"/>
              <a:gd name="connsiteY184" fmla="*/ 573614 h 5143500"/>
              <a:gd name="connsiteX185" fmla="*/ 4695054 w 9144000"/>
              <a:gd name="connsiteY185" fmla="*/ 545519 h 5143500"/>
              <a:gd name="connsiteX186" fmla="*/ 4685364 w 9144000"/>
              <a:gd name="connsiteY186" fmla="*/ 517523 h 5143500"/>
              <a:gd name="connsiteX187" fmla="*/ 4675461 w 9144000"/>
              <a:gd name="connsiteY187" fmla="*/ 489627 h 5143500"/>
              <a:gd name="connsiteX188" fmla="*/ 4665346 w 9144000"/>
              <a:gd name="connsiteY188" fmla="*/ 461833 h 5143500"/>
              <a:gd name="connsiteX189" fmla="*/ 4655020 w 9144000"/>
              <a:gd name="connsiteY189" fmla="*/ 434140 h 5143500"/>
              <a:gd name="connsiteX190" fmla="*/ 4644484 w 9144000"/>
              <a:gd name="connsiteY190" fmla="*/ 406550 h 5143500"/>
              <a:gd name="connsiteX191" fmla="*/ 4633740 w 9144000"/>
              <a:gd name="connsiteY191" fmla="*/ 379064 h 5143500"/>
              <a:gd name="connsiteX192" fmla="*/ 4622787 w 9144000"/>
              <a:gd name="connsiteY192" fmla="*/ 351683 h 5143500"/>
              <a:gd name="connsiteX193" fmla="*/ 4611627 w 9144000"/>
              <a:gd name="connsiteY193" fmla="*/ 324408 h 5143500"/>
              <a:gd name="connsiteX194" fmla="*/ 4600262 w 9144000"/>
              <a:gd name="connsiteY194" fmla="*/ 297240 h 5143500"/>
              <a:gd name="connsiteX195" fmla="*/ 4588691 w 9144000"/>
              <a:gd name="connsiteY195" fmla="*/ 270179 h 5143500"/>
              <a:gd name="connsiteX196" fmla="*/ 4576916 w 9144000"/>
              <a:gd name="connsiteY196" fmla="*/ 243228 h 5143500"/>
              <a:gd name="connsiteX197" fmla="*/ 4564938 w 9144000"/>
              <a:gd name="connsiteY197" fmla="*/ 216386 h 5143500"/>
              <a:gd name="connsiteX198" fmla="*/ 4552758 w 9144000"/>
              <a:gd name="connsiteY198" fmla="*/ 189655 h 5143500"/>
              <a:gd name="connsiteX199" fmla="*/ 4540376 w 9144000"/>
              <a:gd name="connsiteY199" fmla="*/ 163036 h 5143500"/>
              <a:gd name="connsiteX200" fmla="*/ 4527795 w 9144000"/>
              <a:gd name="connsiteY200" fmla="*/ 136530 h 5143500"/>
              <a:gd name="connsiteX201" fmla="*/ 4515014 w 9144000"/>
              <a:gd name="connsiteY201" fmla="*/ 110137 h 5143500"/>
              <a:gd name="connsiteX202" fmla="*/ 4502035 w 9144000"/>
              <a:gd name="connsiteY202" fmla="*/ 83859 h 5143500"/>
              <a:gd name="connsiteX203" fmla="*/ 4488859 w 9144000"/>
              <a:gd name="connsiteY203" fmla="*/ 57696 h 5143500"/>
              <a:gd name="connsiteX204" fmla="*/ 4475486 w 9144000"/>
              <a:gd name="connsiteY204" fmla="*/ 31651 h 5143500"/>
              <a:gd name="connsiteX205" fmla="*/ 4461919 w 9144000"/>
              <a:gd name="connsiteY205" fmla="*/ 5722 h 5143500"/>
              <a:gd name="connsiteX206" fmla="*/ 4458868 w 9144000"/>
              <a:gd name="connsiteY206" fmla="*/ 1 h 5143500"/>
              <a:gd name="connsiteX207" fmla="*/ 0 w 9144000"/>
              <a:gd name="connsiteY207" fmla="*/ 1 h 5143500"/>
              <a:gd name="connsiteX208" fmla="*/ 0 w 9144000"/>
              <a:gd name="connsiteY208" fmla="*/ 0 h 5143500"/>
              <a:gd name="connsiteX0" fmla="*/ 0 w 9144000"/>
              <a:gd name="connsiteY0" fmla="*/ 0 h 5143500"/>
              <a:gd name="connsiteX1" fmla="*/ 9144000 w 9144000"/>
              <a:gd name="connsiteY1" fmla="*/ 0 h 5143500"/>
              <a:gd name="connsiteX2" fmla="*/ 9144000 w 9144000"/>
              <a:gd name="connsiteY2" fmla="*/ 5143500 h 5143500"/>
              <a:gd name="connsiteX3" fmla="*/ 2816004 w 9144000"/>
              <a:gd name="connsiteY3" fmla="*/ 5143429 h 5143500"/>
              <a:gd name="connsiteX4" fmla="*/ 2855703 w 9144000"/>
              <a:gd name="connsiteY4" fmla="*/ 5123180 h 5143500"/>
              <a:gd name="connsiteX5" fmla="*/ 2907441 w 9144000"/>
              <a:gd name="connsiteY5" fmla="*/ 5095850 h 5143500"/>
              <a:gd name="connsiteX6" fmla="*/ 2933131 w 9144000"/>
              <a:gd name="connsiteY6" fmla="*/ 5081894 h 5143500"/>
              <a:gd name="connsiteX7" fmla="*/ 2958701 w 9144000"/>
              <a:gd name="connsiteY7" fmla="*/ 5067746 h 5143500"/>
              <a:gd name="connsiteX8" fmla="*/ 2984149 w 9144000"/>
              <a:gd name="connsiteY8" fmla="*/ 5053407 h 5143500"/>
              <a:gd name="connsiteX9" fmla="*/ 3009475 w 9144000"/>
              <a:gd name="connsiteY9" fmla="*/ 5038876 h 5143500"/>
              <a:gd name="connsiteX10" fmla="*/ 3034677 w 9144000"/>
              <a:gd name="connsiteY10" fmla="*/ 5024157 h 5143500"/>
              <a:gd name="connsiteX11" fmla="*/ 3059755 w 9144000"/>
              <a:gd name="connsiteY11" fmla="*/ 5009248 h 5143500"/>
              <a:gd name="connsiteX12" fmla="*/ 3084708 w 9144000"/>
              <a:gd name="connsiteY12" fmla="*/ 4994153 h 5143500"/>
              <a:gd name="connsiteX13" fmla="*/ 3109534 w 9144000"/>
              <a:gd name="connsiteY13" fmla="*/ 4978871 h 5143500"/>
              <a:gd name="connsiteX14" fmla="*/ 3134233 w 9144000"/>
              <a:gd name="connsiteY14" fmla="*/ 4963403 h 5143500"/>
              <a:gd name="connsiteX15" fmla="*/ 3158804 w 9144000"/>
              <a:gd name="connsiteY15" fmla="*/ 4947750 h 5143500"/>
              <a:gd name="connsiteX16" fmla="*/ 3183246 w 9144000"/>
              <a:gd name="connsiteY16" fmla="*/ 4931914 h 5143500"/>
              <a:gd name="connsiteX17" fmla="*/ 3207557 w 9144000"/>
              <a:gd name="connsiteY17" fmla="*/ 4915895 h 5143500"/>
              <a:gd name="connsiteX18" fmla="*/ 3231737 w 9144000"/>
              <a:gd name="connsiteY18" fmla="*/ 4899694 h 5143500"/>
              <a:gd name="connsiteX19" fmla="*/ 3255785 w 9144000"/>
              <a:gd name="connsiteY19" fmla="*/ 4883312 h 5143500"/>
              <a:gd name="connsiteX20" fmla="*/ 3279700 w 9144000"/>
              <a:gd name="connsiteY20" fmla="*/ 4866751 h 5143500"/>
              <a:gd name="connsiteX21" fmla="*/ 3303481 w 9144000"/>
              <a:gd name="connsiteY21" fmla="*/ 4850011 h 5143500"/>
              <a:gd name="connsiteX22" fmla="*/ 3327126 w 9144000"/>
              <a:gd name="connsiteY22" fmla="*/ 4833093 h 5143500"/>
              <a:gd name="connsiteX23" fmla="*/ 3350636 w 9144000"/>
              <a:gd name="connsiteY23" fmla="*/ 4815999 h 5143500"/>
              <a:gd name="connsiteX24" fmla="*/ 3374008 w 9144000"/>
              <a:gd name="connsiteY24" fmla="*/ 4798728 h 5143500"/>
              <a:gd name="connsiteX25" fmla="*/ 3397243 w 9144000"/>
              <a:gd name="connsiteY25" fmla="*/ 4781282 h 5143500"/>
              <a:gd name="connsiteX26" fmla="*/ 3420339 w 9144000"/>
              <a:gd name="connsiteY26" fmla="*/ 4763663 h 5143500"/>
              <a:gd name="connsiteX27" fmla="*/ 3443295 w 9144000"/>
              <a:gd name="connsiteY27" fmla="*/ 4745870 h 5143500"/>
              <a:gd name="connsiteX28" fmla="*/ 3466109 w 9144000"/>
              <a:gd name="connsiteY28" fmla="*/ 4727906 h 5143500"/>
              <a:gd name="connsiteX29" fmla="*/ 3488783 w 9144000"/>
              <a:gd name="connsiteY29" fmla="*/ 4709770 h 5143500"/>
              <a:gd name="connsiteX30" fmla="*/ 3511313 w 9144000"/>
              <a:gd name="connsiteY30" fmla="*/ 4691464 h 5143500"/>
              <a:gd name="connsiteX31" fmla="*/ 3533699 w 9144000"/>
              <a:gd name="connsiteY31" fmla="*/ 4672989 h 5143500"/>
              <a:gd name="connsiteX32" fmla="*/ 3555940 w 9144000"/>
              <a:gd name="connsiteY32" fmla="*/ 4654347 h 5143500"/>
              <a:gd name="connsiteX33" fmla="*/ 3578036 w 9144000"/>
              <a:gd name="connsiteY33" fmla="*/ 4635536 h 5143500"/>
              <a:gd name="connsiteX34" fmla="*/ 3599985 w 9144000"/>
              <a:gd name="connsiteY34" fmla="*/ 4616560 h 5143500"/>
              <a:gd name="connsiteX35" fmla="*/ 3621786 w 9144000"/>
              <a:gd name="connsiteY35" fmla="*/ 4597419 h 5143500"/>
              <a:gd name="connsiteX36" fmla="*/ 3643439 w 9144000"/>
              <a:gd name="connsiteY36" fmla="*/ 4578113 h 5143500"/>
              <a:gd name="connsiteX37" fmla="*/ 3664942 w 9144000"/>
              <a:gd name="connsiteY37" fmla="*/ 4558644 h 5143500"/>
              <a:gd name="connsiteX38" fmla="*/ 3686294 w 9144000"/>
              <a:gd name="connsiteY38" fmla="*/ 4539013 h 5143500"/>
              <a:gd name="connsiteX39" fmla="*/ 3707495 w 9144000"/>
              <a:gd name="connsiteY39" fmla="*/ 4519220 h 5143500"/>
              <a:gd name="connsiteX40" fmla="*/ 3728543 w 9144000"/>
              <a:gd name="connsiteY40" fmla="*/ 4499267 h 5143500"/>
              <a:gd name="connsiteX41" fmla="*/ 3749437 w 9144000"/>
              <a:gd name="connsiteY41" fmla="*/ 4479155 h 5143500"/>
              <a:gd name="connsiteX42" fmla="*/ 3770178 w 9144000"/>
              <a:gd name="connsiteY42" fmla="*/ 4458884 h 5143500"/>
              <a:gd name="connsiteX43" fmla="*/ 3790762 w 9144000"/>
              <a:gd name="connsiteY43" fmla="*/ 4438456 h 5143500"/>
              <a:gd name="connsiteX44" fmla="*/ 3811191 w 9144000"/>
              <a:gd name="connsiteY44" fmla="*/ 4417872 h 5143500"/>
              <a:gd name="connsiteX45" fmla="*/ 3831461 w 9144000"/>
              <a:gd name="connsiteY45" fmla="*/ 4397131 h 5143500"/>
              <a:gd name="connsiteX46" fmla="*/ 3851573 w 9144000"/>
              <a:gd name="connsiteY46" fmla="*/ 4376237 h 5143500"/>
              <a:gd name="connsiteX47" fmla="*/ 3871526 w 9144000"/>
              <a:gd name="connsiteY47" fmla="*/ 4355189 h 5143500"/>
              <a:gd name="connsiteX48" fmla="*/ 3891319 w 9144000"/>
              <a:gd name="connsiteY48" fmla="*/ 4333988 h 5143500"/>
              <a:gd name="connsiteX49" fmla="*/ 3910950 w 9144000"/>
              <a:gd name="connsiteY49" fmla="*/ 4312636 h 5143500"/>
              <a:gd name="connsiteX50" fmla="*/ 3930419 w 9144000"/>
              <a:gd name="connsiteY50" fmla="*/ 4291133 h 5143500"/>
              <a:gd name="connsiteX51" fmla="*/ 3949725 w 9144000"/>
              <a:gd name="connsiteY51" fmla="*/ 4269480 h 5143500"/>
              <a:gd name="connsiteX52" fmla="*/ 3968866 w 9144000"/>
              <a:gd name="connsiteY52" fmla="*/ 4247679 h 5143500"/>
              <a:gd name="connsiteX53" fmla="*/ 3987842 w 9144000"/>
              <a:gd name="connsiteY53" fmla="*/ 4225730 h 5143500"/>
              <a:gd name="connsiteX54" fmla="*/ 4006653 w 9144000"/>
              <a:gd name="connsiteY54" fmla="*/ 4203634 h 5143500"/>
              <a:gd name="connsiteX55" fmla="*/ 4025295 w 9144000"/>
              <a:gd name="connsiteY55" fmla="*/ 4181393 h 5143500"/>
              <a:gd name="connsiteX56" fmla="*/ 4043770 w 9144000"/>
              <a:gd name="connsiteY56" fmla="*/ 4159006 h 5143500"/>
              <a:gd name="connsiteX57" fmla="*/ 4062076 w 9144000"/>
              <a:gd name="connsiteY57" fmla="*/ 4136476 h 5143500"/>
              <a:gd name="connsiteX58" fmla="*/ 4080212 w 9144000"/>
              <a:gd name="connsiteY58" fmla="*/ 4113803 h 5143500"/>
              <a:gd name="connsiteX59" fmla="*/ 4098176 w 9144000"/>
              <a:gd name="connsiteY59" fmla="*/ 4090988 h 5143500"/>
              <a:gd name="connsiteX60" fmla="*/ 4115969 w 9144000"/>
              <a:gd name="connsiteY60" fmla="*/ 4068033 h 5143500"/>
              <a:gd name="connsiteX61" fmla="*/ 4133588 w 9144000"/>
              <a:gd name="connsiteY61" fmla="*/ 4044937 h 5143500"/>
              <a:gd name="connsiteX62" fmla="*/ 4151034 w 9144000"/>
              <a:gd name="connsiteY62" fmla="*/ 4021702 h 5143500"/>
              <a:gd name="connsiteX63" fmla="*/ 4168305 w 9144000"/>
              <a:gd name="connsiteY63" fmla="*/ 3998330 h 5143500"/>
              <a:gd name="connsiteX64" fmla="*/ 4185399 w 9144000"/>
              <a:gd name="connsiteY64" fmla="*/ 3974820 h 5143500"/>
              <a:gd name="connsiteX65" fmla="*/ 4202317 w 9144000"/>
              <a:gd name="connsiteY65" fmla="*/ 3951174 h 5143500"/>
              <a:gd name="connsiteX66" fmla="*/ 4219057 w 9144000"/>
              <a:gd name="connsiteY66" fmla="*/ 3927394 h 5143500"/>
              <a:gd name="connsiteX67" fmla="*/ 4235619 w 9144000"/>
              <a:gd name="connsiteY67" fmla="*/ 3903479 h 5143500"/>
              <a:gd name="connsiteX68" fmla="*/ 4252000 w 9144000"/>
              <a:gd name="connsiteY68" fmla="*/ 3879431 h 5143500"/>
              <a:gd name="connsiteX69" fmla="*/ 4268201 w 9144000"/>
              <a:gd name="connsiteY69" fmla="*/ 3855250 h 5143500"/>
              <a:gd name="connsiteX70" fmla="*/ 4284220 w 9144000"/>
              <a:gd name="connsiteY70" fmla="*/ 3830939 h 5143500"/>
              <a:gd name="connsiteX71" fmla="*/ 4300056 w 9144000"/>
              <a:gd name="connsiteY71" fmla="*/ 3806498 h 5143500"/>
              <a:gd name="connsiteX72" fmla="*/ 4315709 w 9144000"/>
              <a:gd name="connsiteY72" fmla="*/ 3781927 h 5143500"/>
              <a:gd name="connsiteX73" fmla="*/ 4331176 w 9144000"/>
              <a:gd name="connsiteY73" fmla="*/ 3757228 h 5143500"/>
              <a:gd name="connsiteX74" fmla="*/ 4346459 w 9144000"/>
              <a:gd name="connsiteY74" fmla="*/ 3732401 h 5143500"/>
              <a:gd name="connsiteX75" fmla="*/ 4361555 w 9144000"/>
              <a:gd name="connsiteY75" fmla="*/ 3707449 h 5143500"/>
              <a:gd name="connsiteX76" fmla="*/ 4376463 w 9144000"/>
              <a:gd name="connsiteY76" fmla="*/ 3682371 h 5143500"/>
              <a:gd name="connsiteX77" fmla="*/ 4391183 w 9144000"/>
              <a:gd name="connsiteY77" fmla="*/ 3657169 h 5143500"/>
              <a:gd name="connsiteX78" fmla="*/ 4405712 w 9144000"/>
              <a:gd name="connsiteY78" fmla="*/ 3631843 h 5143500"/>
              <a:gd name="connsiteX79" fmla="*/ 4420052 w 9144000"/>
              <a:gd name="connsiteY79" fmla="*/ 3606395 h 5143500"/>
              <a:gd name="connsiteX80" fmla="*/ 4434200 w 9144000"/>
              <a:gd name="connsiteY80" fmla="*/ 3580825 h 5143500"/>
              <a:gd name="connsiteX81" fmla="*/ 4448156 w 9144000"/>
              <a:gd name="connsiteY81" fmla="*/ 3555135 h 5143500"/>
              <a:gd name="connsiteX82" fmla="*/ 4461919 w 9144000"/>
              <a:gd name="connsiteY82" fmla="*/ 3529325 h 5143500"/>
              <a:gd name="connsiteX83" fmla="*/ 4475486 w 9144000"/>
              <a:gd name="connsiteY83" fmla="*/ 3503396 h 5143500"/>
              <a:gd name="connsiteX84" fmla="*/ 4488859 w 9144000"/>
              <a:gd name="connsiteY84" fmla="*/ 3477351 h 5143500"/>
              <a:gd name="connsiteX85" fmla="*/ 4502035 w 9144000"/>
              <a:gd name="connsiteY85" fmla="*/ 3451188 h 5143500"/>
              <a:gd name="connsiteX86" fmla="*/ 4515014 w 9144000"/>
              <a:gd name="connsiteY86" fmla="*/ 3424910 h 5143500"/>
              <a:gd name="connsiteX87" fmla="*/ 4527795 w 9144000"/>
              <a:gd name="connsiteY87" fmla="*/ 3398518 h 5143500"/>
              <a:gd name="connsiteX88" fmla="*/ 4540376 w 9144000"/>
              <a:gd name="connsiteY88" fmla="*/ 3372011 h 5143500"/>
              <a:gd name="connsiteX89" fmla="*/ 4552758 w 9144000"/>
              <a:gd name="connsiteY89" fmla="*/ 3345392 h 5143500"/>
              <a:gd name="connsiteX90" fmla="*/ 4564938 w 9144000"/>
              <a:gd name="connsiteY90" fmla="*/ 3318661 h 5143500"/>
              <a:gd name="connsiteX91" fmla="*/ 4576916 w 9144000"/>
              <a:gd name="connsiteY91" fmla="*/ 3291819 h 5143500"/>
              <a:gd name="connsiteX92" fmla="*/ 4588691 w 9144000"/>
              <a:gd name="connsiteY92" fmla="*/ 3264868 h 5143500"/>
              <a:gd name="connsiteX93" fmla="*/ 4600262 w 9144000"/>
              <a:gd name="connsiteY93" fmla="*/ 3237807 h 5143500"/>
              <a:gd name="connsiteX94" fmla="*/ 4611627 w 9144000"/>
              <a:gd name="connsiteY94" fmla="*/ 3210639 h 5143500"/>
              <a:gd name="connsiteX95" fmla="*/ 4622787 w 9144000"/>
              <a:gd name="connsiteY95" fmla="*/ 3183365 h 5143500"/>
              <a:gd name="connsiteX96" fmla="*/ 4633740 w 9144000"/>
              <a:gd name="connsiteY96" fmla="*/ 3155984 h 5143500"/>
              <a:gd name="connsiteX97" fmla="*/ 4644484 w 9144000"/>
              <a:gd name="connsiteY97" fmla="*/ 3128498 h 5143500"/>
              <a:gd name="connsiteX98" fmla="*/ 4655020 w 9144000"/>
              <a:gd name="connsiteY98" fmla="*/ 3100908 h 5143500"/>
              <a:gd name="connsiteX99" fmla="*/ 4665346 w 9144000"/>
              <a:gd name="connsiteY99" fmla="*/ 3073215 h 5143500"/>
              <a:gd name="connsiteX100" fmla="*/ 4675461 w 9144000"/>
              <a:gd name="connsiteY100" fmla="*/ 3045421 h 5143500"/>
              <a:gd name="connsiteX101" fmla="*/ 4685364 w 9144000"/>
              <a:gd name="connsiteY101" fmla="*/ 3017525 h 5143500"/>
              <a:gd name="connsiteX102" fmla="*/ 4695054 w 9144000"/>
              <a:gd name="connsiteY102" fmla="*/ 2989528 h 5143500"/>
              <a:gd name="connsiteX103" fmla="*/ 4704531 w 9144000"/>
              <a:gd name="connsiteY103" fmla="*/ 2961433 h 5143500"/>
              <a:gd name="connsiteX104" fmla="*/ 4713792 w 9144000"/>
              <a:gd name="connsiteY104" fmla="*/ 2933240 h 5143500"/>
              <a:gd name="connsiteX105" fmla="*/ 4722838 w 9144000"/>
              <a:gd name="connsiteY105" fmla="*/ 2904950 h 5143500"/>
              <a:gd name="connsiteX106" fmla="*/ 4731667 w 9144000"/>
              <a:gd name="connsiteY106" fmla="*/ 2876564 h 5143500"/>
              <a:gd name="connsiteX107" fmla="*/ 4740279 w 9144000"/>
              <a:gd name="connsiteY107" fmla="*/ 2848081 h 5143500"/>
              <a:gd name="connsiteX108" fmla="*/ 4748671 w 9144000"/>
              <a:gd name="connsiteY108" fmla="*/ 2819506 h 5143500"/>
              <a:gd name="connsiteX109" fmla="*/ 4756844 w 9144000"/>
              <a:gd name="connsiteY109" fmla="*/ 2790836 h 5143500"/>
              <a:gd name="connsiteX110" fmla="*/ 4764796 w 9144000"/>
              <a:gd name="connsiteY110" fmla="*/ 2762075 h 5143500"/>
              <a:gd name="connsiteX111" fmla="*/ 4772528 w 9144000"/>
              <a:gd name="connsiteY111" fmla="*/ 2733222 h 5143500"/>
              <a:gd name="connsiteX112" fmla="*/ 4780036 w 9144000"/>
              <a:gd name="connsiteY112" fmla="*/ 2704279 h 5143500"/>
              <a:gd name="connsiteX113" fmla="*/ 4787321 w 9144000"/>
              <a:gd name="connsiteY113" fmla="*/ 2675246 h 5143500"/>
              <a:gd name="connsiteX114" fmla="*/ 4794381 w 9144000"/>
              <a:gd name="connsiteY114" fmla="*/ 2646125 h 5143500"/>
              <a:gd name="connsiteX115" fmla="*/ 4801216 w 9144000"/>
              <a:gd name="connsiteY115" fmla="*/ 2616917 h 5143500"/>
              <a:gd name="connsiteX116" fmla="*/ 4807824 w 9144000"/>
              <a:gd name="connsiteY116" fmla="*/ 2587622 h 5143500"/>
              <a:gd name="connsiteX117" fmla="*/ 4814205 w 9144000"/>
              <a:gd name="connsiteY117" fmla="*/ 2558241 h 5143500"/>
              <a:gd name="connsiteX118" fmla="*/ 4820357 w 9144000"/>
              <a:gd name="connsiteY118" fmla="*/ 2528776 h 5143500"/>
              <a:gd name="connsiteX119" fmla="*/ 4826280 w 9144000"/>
              <a:gd name="connsiteY119" fmla="*/ 2499227 h 5143500"/>
              <a:gd name="connsiteX120" fmla="*/ 4831973 w 9144000"/>
              <a:gd name="connsiteY120" fmla="*/ 2469596 h 5143500"/>
              <a:gd name="connsiteX121" fmla="*/ 4837435 w 9144000"/>
              <a:gd name="connsiteY121" fmla="*/ 2439884 h 5143500"/>
              <a:gd name="connsiteX122" fmla="*/ 4842664 w 9144000"/>
              <a:gd name="connsiteY122" fmla="*/ 2410090 h 5143500"/>
              <a:gd name="connsiteX123" fmla="*/ 4847660 w 9144000"/>
              <a:gd name="connsiteY123" fmla="*/ 2380217 h 5143500"/>
              <a:gd name="connsiteX124" fmla="*/ 4852422 w 9144000"/>
              <a:gd name="connsiteY124" fmla="*/ 2350266 h 5143500"/>
              <a:gd name="connsiteX125" fmla="*/ 4856948 w 9144000"/>
              <a:gd name="connsiteY125" fmla="*/ 2320236 h 5143500"/>
              <a:gd name="connsiteX126" fmla="*/ 4861239 w 9144000"/>
              <a:gd name="connsiteY126" fmla="*/ 2290130 h 5143500"/>
              <a:gd name="connsiteX127" fmla="*/ 4865292 w 9144000"/>
              <a:gd name="connsiteY127" fmla="*/ 2259948 h 5143500"/>
              <a:gd name="connsiteX128" fmla="*/ 4869107 w 9144000"/>
              <a:gd name="connsiteY128" fmla="*/ 2229692 h 5143500"/>
              <a:gd name="connsiteX129" fmla="*/ 4872683 w 9144000"/>
              <a:gd name="connsiteY129" fmla="*/ 2199361 h 5143500"/>
              <a:gd name="connsiteX130" fmla="*/ 4876019 w 9144000"/>
              <a:gd name="connsiteY130" fmla="*/ 2168957 h 5143500"/>
              <a:gd name="connsiteX131" fmla="*/ 4879114 w 9144000"/>
              <a:gd name="connsiteY131" fmla="*/ 2138482 h 5143500"/>
              <a:gd name="connsiteX132" fmla="*/ 4881966 w 9144000"/>
              <a:gd name="connsiteY132" fmla="*/ 2107936 h 5143500"/>
              <a:gd name="connsiteX133" fmla="*/ 4884576 w 9144000"/>
              <a:gd name="connsiteY133" fmla="*/ 2077320 h 5143500"/>
              <a:gd name="connsiteX134" fmla="*/ 4886942 w 9144000"/>
              <a:gd name="connsiteY134" fmla="*/ 2046635 h 5143500"/>
              <a:gd name="connsiteX135" fmla="*/ 4889064 w 9144000"/>
              <a:gd name="connsiteY135" fmla="*/ 2015881 h 5143500"/>
              <a:gd name="connsiteX136" fmla="*/ 4890939 w 9144000"/>
              <a:gd name="connsiteY136" fmla="*/ 1985062 h 5143500"/>
              <a:gd name="connsiteX137" fmla="*/ 4892567 w 9144000"/>
              <a:gd name="connsiteY137" fmla="*/ 1954175 h 5143500"/>
              <a:gd name="connsiteX138" fmla="*/ 4893947 w 9144000"/>
              <a:gd name="connsiteY138" fmla="*/ 1923224 h 5143500"/>
              <a:gd name="connsiteX139" fmla="*/ 4895079 w 9144000"/>
              <a:gd name="connsiteY139" fmla="*/ 1892208 h 5143500"/>
              <a:gd name="connsiteX140" fmla="*/ 4895961 w 9144000"/>
              <a:gd name="connsiteY140" fmla="*/ 1861130 h 5143500"/>
              <a:gd name="connsiteX141" fmla="*/ 4896592 w 9144000"/>
              <a:gd name="connsiteY141" fmla="*/ 1829989 h 5143500"/>
              <a:gd name="connsiteX142" fmla="*/ 4896971 w 9144000"/>
              <a:gd name="connsiteY142" fmla="*/ 1798787 h 5143500"/>
              <a:gd name="connsiteX143" fmla="*/ 4897098 w 9144000"/>
              <a:gd name="connsiteY143" fmla="*/ 1767525 h 5143500"/>
              <a:gd name="connsiteX144" fmla="*/ 4896971 w 9144000"/>
              <a:gd name="connsiteY144" fmla="*/ 1736263 h 5143500"/>
              <a:gd name="connsiteX145" fmla="*/ 4896592 w 9144000"/>
              <a:gd name="connsiteY145" fmla="*/ 1705061 h 5143500"/>
              <a:gd name="connsiteX146" fmla="*/ 4895961 w 9144000"/>
              <a:gd name="connsiteY146" fmla="*/ 1673920 h 5143500"/>
              <a:gd name="connsiteX147" fmla="*/ 4895079 w 9144000"/>
              <a:gd name="connsiteY147" fmla="*/ 1642842 h 5143500"/>
              <a:gd name="connsiteX148" fmla="*/ 4893947 w 9144000"/>
              <a:gd name="connsiteY148" fmla="*/ 1611826 h 5143500"/>
              <a:gd name="connsiteX149" fmla="*/ 4892567 w 9144000"/>
              <a:gd name="connsiteY149" fmla="*/ 1580875 h 5143500"/>
              <a:gd name="connsiteX150" fmla="*/ 4890939 w 9144000"/>
              <a:gd name="connsiteY150" fmla="*/ 1549988 h 5143500"/>
              <a:gd name="connsiteX151" fmla="*/ 4889064 w 9144000"/>
              <a:gd name="connsiteY151" fmla="*/ 1519168 h 5143500"/>
              <a:gd name="connsiteX152" fmla="*/ 4886942 w 9144000"/>
              <a:gd name="connsiteY152" fmla="*/ 1488415 h 5143500"/>
              <a:gd name="connsiteX153" fmla="*/ 4884576 w 9144000"/>
              <a:gd name="connsiteY153" fmla="*/ 1457730 h 5143500"/>
              <a:gd name="connsiteX154" fmla="*/ 4881966 w 9144000"/>
              <a:gd name="connsiteY154" fmla="*/ 1427113 h 5143500"/>
              <a:gd name="connsiteX155" fmla="*/ 4879114 w 9144000"/>
              <a:gd name="connsiteY155" fmla="*/ 1396567 h 5143500"/>
              <a:gd name="connsiteX156" fmla="*/ 4876019 w 9144000"/>
              <a:gd name="connsiteY156" fmla="*/ 1366092 h 5143500"/>
              <a:gd name="connsiteX157" fmla="*/ 4872683 w 9144000"/>
              <a:gd name="connsiteY157" fmla="*/ 1335688 h 5143500"/>
              <a:gd name="connsiteX158" fmla="*/ 4869107 w 9144000"/>
              <a:gd name="connsiteY158" fmla="*/ 1305358 h 5143500"/>
              <a:gd name="connsiteX159" fmla="*/ 4865292 w 9144000"/>
              <a:gd name="connsiteY159" fmla="*/ 1275101 h 5143500"/>
              <a:gd name="connsiteX160" fmla="*/ 4861239 w 9144000"/>
              <a:gd name="connsiteY160" fmla="*/ 1244919 h 5143500"/>
              <a:gd name="connsiteX161" fmla="*/ 4856948 w 9144000"/>
              <a:gd name="connsiteY161" fmla="*/ 1214813 h 5143500"/>
              <a:gd name="connsiteX162" fmla="*/ 4852422 w 9144000"/>
              <a:gd name="connsiteY162" fmla="*/ 1184783 h 5143500"/>
              <a:gd name="connsiteX163" fmla="*/ 4847660 w 9144000"/>
              <a:gd name="connsiteY163" fmla="*/ 1154832 h 5143500"/>
              <a:gd name="connsiteX164" fmla="*/ 4842664 w 9144000"/>
              <a:gd name="connsiteY164" fmla="*/ 1124958 h 5143500"/>
              <a:gd name="connsiteX165" fmla="*/ 4837435 w 9144000"/>
              <a:gd name="connsiteY165" fmla="*/ 1095165 h 5143500"/>
              <a:gd name="connsiteX166" fmla="*/ 4831973 w 9144000"/>
              <a:gd name="connsiteY166" fmla="*/ 1065453 h 5143500"/>
              <a:gd name="connsiteX167" fmla="*/ 4826280 w 9144000"/>
              <a:gd name="connsiteY167" fmla="*/ 1035821 h 5143500"/>
              <a:gd name="connsiteX168" fmla="*/ 4820357 w 9144000"/>
              <a:gd name="connsiteY168" fmla="*/ 1006273 h 5143500"/>
              <a:gd name="connsiteX169" fmla="*/ 4814205 w 9144000"/>
              <a:gd name="connsiteY169" fmla="*/ 976808 h 5143500"/>
              <a:gd name="connsiteX170" fmla="*/ 4807824 w 9144000"/>
              <a:gd name="connsiteY170" fmla="*/ 947427 h 5143500"/>
              <a:gd name="connsiteX171" fmla="*/ 4801216 w 9144000"/>
              <a:gd name="connsiteY171" fmla="*/ 918132 h 5143500"/>
              <a:gd name="connsiteX172" fmla="*/ 4794381 w 9144000"/>
              <a:gd name="connsiteY172" fmla="*/ 888923 h 5143500"/>
              <a:gd name="connsiteX173" fmla="*/ 4787321 w 9144000"/>
              <a:gd name="connsiteY173" fmla="*/ 859802 h 5143500"/>
              <a:gd name="connsiteX174" fmla="*/ 4780036 w 9144000"/>
              <a:gd name="connsiteY174" fmla="*/ 830770 h 5143500"/>
              <a:gd name="connsiteX175" fmla="*/ 4772528 w 9144000"/>
              <a:gd name="connsiteY175" fmla="*/ 801827 h 5143500"/>
              <a:gd name="connsiteX176" fmla="*/ 4764796 w 9144000"/>
              <a:gd name="connsiteY176" fmla="*/ 772973 h 5143500"/>
              <a:gd name="connsiteX177" fmla="*/ 4756844 w 9144000"/>
              <a:gd name="connsiteY177" fmla="*/ 744212 h 5143500"/>
              <a:gd name="connsiteX178" fmla="*/ 4748671 w 9144000"/>
              <a:gd name="connsiteY178" fmla="*/ 715542 h 5143500"/>
              <a:gd name="connsiteX179" fmla="*/ 4740279 w 9144000"/>
              <a:gd name="connsiteY179" fmla="*/ 686967 h 5143500"/>
              <a:gd name="connsiteX180" fmla="*/ 4731667 w 9144000"/>
              <a:gd name="connsiteY180" fmla="*/ 658484 h 5143500"/>
              <a:gd name="connsiteX181" fmla="*/ 4722838 w 9144000"/>
              <a:gd name="connsiteY181" fmla="*/ 630098 h 5143500"/>
              <a:gd name="connsiteX182" fmla="*/ 4713792 w 9144000"/>
              <a:gd name="connsiteY182" fmla="*/ 601808 h 5143500"/>
              <a:gd name="connsiteX183" fmla="*/ 4704531 w 9144000"/>
              <a:gd name="connsiteY183" fmla="*/ 573614 h 5143500"/>
              <a:gd name="connsiteX184" fmla="*/ 4695054 w 9144000"/>
              <a:gd name="connsiteY184" fmla="*/ 545519 h 5143500"/>
              <a:gd name="connsiteX185" fmla="*/ 4685364 w 9144000"/>
              <a:gd name="connsiteY185" fmla="*/ 517523 h 5143500"/>
              <a:gd name="connsiteX186" fmla="*/ 4675461 w 9144000"/>
              <a:gd name="connsiteY186" fmla="*/ 489627 h 5143500"/>
              <a:gd name="connsiteX187" fmla="*/ 4665346 w 9144000"/>
              <a:gd name="connsiteY187" fmla="*/ 461833 h 5143500"/>
              <a:gd name="connsiteX188" fmla="*/ 4655020 w 9144000"/>
              <a:gd name="connsiteY188" fmla="*/ 434140 h 5143500"/>
              <a:gd name="connsiteX189" fmla="*/ 4644484 w 9144000"/>
              <a:gd name="connsiteY189" fmla="*/ 406550 h 5143500"/>
              <a:gd name="connsiteX190" fmla="*/ 4633740 w 9144000"/>
              <a:gd name="connsiteY190" fmla="*/ 379064 h 5143500"/>
              <a:gd name="connsiteX191" fmla="*/ 4622787 w 9144000"/>
              <a:gd name="connsiteY191" fmla="*/ 351683 h 5143500"/>
              <a:gd name="connsiteX192" fmla="*/ 4611627 w 9144000"/>
              <a:gd name="connsiteY192" fmla="*/ 324408 h 5143500"/>
              <a:gd name="connsiteX193" fmla="*/ 4600262 w 9144000"/>
              <a:gd name="connsiteY193" fmla="*/ 297240 h 5143500"/>
              <a:gd name="connsiteX194" fmla="*/ 4588691 w 9144000"/>
              <a:gd name="connsiteY194" fmla="*/ 270179 h 5143500"/>
              <a:gd name="connsiteX195" fmla="*/ 4576916 w 9144000"/>
              <a:gd name="connsiteY195" fmla="*/ 243228 h 5143500"/>
              <a:gd name="connsiteX196" fmla="*/ 4564938 w 9144000"/>
              <a:gd name="connsiteY196" fmla="*/ 216386 h 5143500"/>
              <a:gd name="connsiteX197" fmla="*/ 4552758 w 9144000"/>
              <a:gd name="connsiteY197" fmla="*/ 189655 h 5143500"/>
              <a:gd name="connsiteX198" fmla="*/ 4540376 w 9144000"/>
              <a:gd name="connsiteY198" fmla="*/ 163036 h 5143500"/>
              <a:gd name="connsiteX199" fmla="*/ 4527795 w 9144000"/>
              <a:gd name="connsiteY199" fmla="*/ 136530 h 5143500"/>
              <a:gd name="connsiteX200" fmla="*/ 4515014 w 9144000"/>
              <a:gd name="connsiteY200" fmla="*/ 110137 h 5143500"/>
              <a:gd name="connsiteX201" fmla="*/ 4502035 w 9144000"/>
              <a:gd name="connsiteY201" fmla="*/ 83859 h 5143500"/>
              <a:gd name="connsiteX202" fmla="*/ 4488859 w 9144000"/>
              <a:gd name="connsiteY202" fmla="*/ 57696 h 5143500"/>
              <a:gd name="connsiteX203" fmla="*/ 4475486 w 9144000"/>
              <a:gd name="connsiteY203" fmla="*/ 31651 h 5143500"/>
              <a:gd name="connsiteX204" fmla="*/ 4461919 w 9144000"/>
              <a:gd name="connsiteY204" fmla="*/ 5722 h 5143500"/>
              <a:gd name="connsiteX205" fmla="*/ 4458868 w 9144000"/>
              <a:gd name="connsiteY205" fmla="*/ 1 h 5143500"/>
              <a:gd name="connsiteX206" fmla="*/ 0 w 9144000"/>
              <a:gd name="connsiteY206" fmla="*/ 1 h 5143500"/>
              <a:gd name="connsiteX207" fmla="*/ 0 w 9144000"/>
              <a:gd name="connsiteY207" fmla="*/ 0 h 5143500"/>
              <a:gd name="connsiteX0" fmla="*/ 0 w 9144000"/>
              <a:gd name="connsiteY0" fmla="*/ 1 h 5143500"/>
              <a:gd name="connsiteX1" fmla="*/ 9144000 w 9144000"/>
              <a:gd name="connsiteY1" fmla="*/ 0 h 5143500"/>
              <a:gd name="connsiteX2" fmla="*/ 9144000 w 9144000"/>
              <a:gd name="connsiteY2" fmla="*/ 5143500 h 5143500"/>
              <a:gd name="connsiteX3" fmla="*/ 2816004 w 9144000"/>
              <a:gd name="connsiteY3" fmla="*/ 5143429 h 5143500"/>
              <a:gd name="connsiteX4" fmla="*/ 2855703 w 9144000"/>
              <a:gd name="connsiteY4" fmla="*/ 5123180 h 5143500"/>
              <a:gd name="connsiteX5" fmla="*/ 2907441 w 9144000"/>
              <a:gd name="connsiteY5" fmla="*/ 5095850 h 5143500"/>
              <a:gd name="connsiteX6" fmla="*/ 2933131 w 9144000"/>
              <a:gd name="connsiteY6" fmla="*/ 5081894 h 5143500"/>
              <a:gd name="connsiteX7" fmla="*/ 2958701 w 9144000"/>
              <a:gd name="connsiteY7" fmla="*/ 5067746 h 5143500"/>
              <a:gd name="connsiteX8" fmla="*/ 2984149 w 9144000"/>
              <a:gd name="connsiteY8" fmla="*/ 5053407 h 5143500"/>
              <a:gd name="connsiteX9" fmla="*/ 3009475 w 9144000"/>
              <a:gd name="connsiteY9" fmla="*/ 5038876 h 5143500"/>
              <a:gd name="connsiteX10" fmla="*/ 3034677 w 9144000"/>
              <a:gd name="connsiteY10" fmla="*/ 5024157 h 5143500"/>
              <a:gd name="connsiteX11" fmla="*/ 3059755 w 9144000"/>
              <a:gd name="connsiteY11" fmla="*/ 5009248 h 5143500"/>
              <a:gd name="connsiteX12" fmla="*/ 3084708 w 9144000"/>
              <a:gd name="connsiteY12" fmla="*/ 4994153 h 5143500"/>
              <a:gd name="connsiteX13" fmla="*/ 3109534 w 9144000"/>
              <a:gd name="connsiteY13" fmla="*/ 4978871 h 5143500"/>
              <a:gd name="connsiteX14" fmla="*/ 3134233 w 9144000"/>
              <a:gd name="connsiteY14" fmla="*/ 4963403 h 5143500"/>
              <a:gd name="connsiteX15" fmla="*/ 3158804 w 9144000"/>
              <a:gd name="connsiteY15" fmla="*/ 4947750 h 5143500"/>
              <a:gd name="connsiteX16" fmla="*/ 3183246 w 9144000"/>
              <a:gd name="connsiteY16" fmla="*/ 4931914 h 5143500"/>
              <a:gd name="connsiteX17" fmla="*/ 3207557 w 9144000"/>
              <a:gd name="connsiteY17" fmla="*/ 4915895 h 5143500"/>
              <a:gd name="connsiteX18" fmla="*/ 3231737 w 9144000"/>
              <a:gd name="connsiteY18" fmla="*/ 4899694 h 5143500"/>
              <a:gd name="connsiteX19" fmla="*/ 3255785 w 9144000"/>
              <a:gd name="connsiteY19" fmla="*/ 4883312 h 5143500"/>
              <a:gd name="connsiteX20" fmla="*/ 3279700 w 9144000"/>
              <a:gd name="connsiteY20" fmla="*/ 4866751 h 5143500"/>
              <a:gd name="connsiteX21" fmla="*/ 3303481 w 9144000"/>
              <a:gd name="connsiteY21" fmla="*/ 4850011 h 5143500"/>
              <a:gd name="connsiteX22" fmla="*/ 3327126 w 9144000"/>
              <a:gd name="connsiteY22" fmla="*/ 4833093 h 5143500"/>
              <a:gd name="connsiteX23" fmla="*/ 3350636 w 9144000"/>
              <a:gd name="connsiteY23" fmla="*/ 4815999 h 5143500"/>
              <a:gd name="connsiteX24" fmla="*/ 3374008 w 9144000"/>
              <a:gd name="connsiteY24" fmla="*/ 4798728 h 5143500"/>
              <a:gd name="connsiteX25" fmla="*/ 3397243 w 9144000"/>
              <a:gd name="connsiteY25" fmla="*/ 4781282 h 5143500"/>
              <a:gd name="connsiteX26" fmla="*/ 3420339 w 9144000"/>
              <a:gd name="connsiteY26" fmla="*/ 4763663 h 5143500"/>
              <a:gd name="connsiteX27" fmla="*/ 3443295 w 9144000"/>
              <a:gd name="connsiteY27" fmla="*/ 4745870 h 5143500"/>
              <a:gd name="connsiteX28" fmla="*/ 3466109 w 9144000"/>
              <a:gd name="connsiteY28" fmla="*/ 4727906 h 5143500"/>
              <a:gd name="connsiteX29" fmla="*/ 3488783 w 9144000"/>
              <a:gd name="connsiteY29" fmla="*/ 4709770 h 5143500"/>
              <a:gd name="connsiteX30" fmla="*/ 3511313 w 9144000"/>
              <a:gd name="connsiteY30" fmla="*/ 4691464 h 5143500"/>
              <a:gd name="connsiteX31" fmla="*/ 3533699 w 9144000"/>
              <a:gd name="connsiteY31" fmla="*/ 4672989 h 5143500"/>
              <a:gd name="connsiteX32" fmla="*/ 3555940 w 9144000"/>
              <a:gd name="connsiteY32" fmla="*/ 4654347 h 5143500"/>
              <a:gd name="connsiteX33" fmla="*/ 3578036 w 9144000"/>
              <a:gd name="connsiteY33" fmla="*/ 4635536 h 5143500"/>
              <a:gd name="connsiteX34" fmla="*/ 3599985 w 9144000"/>
              <a:gd name="connsiteY34" fmla="*/ 4616560 h 5143500"/>
              <a:gd name="connsiteX35" fmla="*/ 3621786 w 9144000"/>
              <a:gd name="connsiteY35" fmla="*/ 4597419 h 5143500"/>
              <a:gd name="connsiteX36" fmla="*/ 3643439 w 9144000"/>
              <a:gd name="connsiteY36" fmla="*/ 4578113 h 5143500"/>
              <a:gd name="connsiteX37" fmla="*/ 3664942 w 9144000"/>
              <a:gd name="connsiteY37" fmla="*/ 4558644 h 5143500"/>
              <a:gd name="connsiteX38" fmla="*/ 3686294 w 9144000"/>
              <a:gd name="connsiteY38" fmla="*/ 4539013 h 5143500"/>
              <a:gd name="connsiteX39" fmla="*/ 3707495 w 9144000"/>
              <a:gd name="connsiteY39" fmla="*/ 4519220 h 5143500"/>
              <a:gd name="connsiteX40" fmla="*/ 3728543 w 9144000"/>
              <a:gd name="connsiteY40" fmla="*/ 4499267 h 5143500"/>
              <a:gd name="connsiteX41" fmla="*/ 3749437 w 9144000"/>
              <a:gd name="connsiteY41" fmla="*/ 4479155 h 5143500"/>
              <a:gd name="connsiteX42" fmla="*/ 3770178 w 9144000"/>
              <a:gd name="connsiteY42" fmla="*/ 4458884 h 5143500"/>
              <a:gd name="connsiteX43" fmla="*/ 3790762 w 9144000"/>
              <a:gd name="connsiteY43" fmla="*/ 4438456 h 5143500"/>
              <a:gd name="connsiteX44" fmla="*/ 3811191 w 9144000"/>
              <a:gd name="connsiteY44" fmla="*/ 4417872 h 5143500"/>
              <a:gd name="connsiteX45" fmla="*/ 3831461 w 9144000"/>
              <a:gd name="connsiteY45" fmla="*/ 4397131 h 5143500"/>
              <a:gd name="connsiteX46" fmla="*/ 3851573 w 9144000"/>
              <a:gd name="connsiteY46" fmla="*/ 4376237 h 5143500"/>
              <a:gd name="connsiteX47" fmla="*/ 3871526 w 9144000"/>
              <a:gd name="connsiteY47" fmla="*/ 4355189 h 5143500"/>
              <a:gd name="connsiteX48" fmla="*/ 3891319 w 9144000"/>
              <a:gd name="connsiteY48" fmla="*/ 4333988 h 5143500"/>
              <a:gd name="connsiteX49" fmla="*/ 3910950 w 9144000"/>
              <a:gd name="connsiteY49" fmla="*/ 4312636 h 5143500"/>
              <a:gd name="connsiteX50" fmla="*/ 3930419 w 9144000"/>
              <a:gd name="connsiteY50" fmla="*/ 4291133 h 5143500"/>
              <a:gd name="connsiteX51" fmla="*/ 3949725 w 9144000"/>
              <a:gd name="connsiteY51" fmla="*/ 4269480 h 5143500"/>
              <a:gd name="connsiteX52" fmla="*/ 3968866 w 9144000"/>
              <a:gd name="connsiteY52" fmla="*/ 4247679 h 5143500"/>
              <a:gd name="connsiteX53" fmla="*/ 3987842 w 9144000"/>
              <a:gd name="connsiteY53" fmla="*/ 4225730 h 5143500"/>
              <a:gd name="connsiteX54" fmla="*/ 4006653 w 9144000"/>
              <a:gd name="connsiteY54" fmla="*/ 4203634 h 5143500"/>
              <a:gd name="connsiteX55" fmla="*/ 4025295 w 9144000"/>
              <a:gd name="connsiteY55" fmla="*/ 4181393 h 5143500"/>
              <a:gd name="connsiteX56" fmla="*/ 4043770 w 9144000"/>
              <a:gd name="connsiteY56" fmla="*/ 4159006 h 5143500"/>
              <a:gd name="connsiteX57" fmla="*/ 4062076 w 9144000"/>
              <a:gd name="connsiteY57" fmla="*/ 4136476 h 5143500"/>
              <a:gd name="connsiteX58" fmla="*/ 4080212 w 9144000"/>
              <a:gd name="connsiteY58" fmla="*/ 4113803 h 5143500"/>
              <a:gd name="connsiteX59" fmla="*/ 4098176 w 9144000"/>
              <a:gd name="connsiteY59" fmla="*/ 4090988 h 5143500"/>
              <a:gd name="connsiteX60" fmla="*/ 4115969 w 9144000"/>
              <a:gd name="connsiteY60" fmla="*/ 4068033 h 5143500"/>
              <a:gd name="connsiteX61" fmla="*/ 4133588 w 9144000"/>
              <a:gd name="connsiteY61" fmla="*/ 4044937 h 5143500"/>
              <a:gd name="connsiteX62" fmla="*/ 4151034 w 9144000"/>
              <a:gd name="connsiteY62" fmla="*/ 4021702 h 5143500"/>
              <a:gd name="connsiteX63" fmla="*/ 4168305 w 9144000"/>
              <a:gd name="connsiteY63" fmla="*/ 3998330 h 5143500"/>
              <a:gd name="connsiteX64" fmla="*/ 4185399 w 9144000"/>
              <a:gd name="connsiteY64" fmla="*/ 3974820 h 5143500"/>
              <a:gd name="connsiteX65" fmla="*/ 4202317 w 9144000"/>
              <a:gd name="connsiteY65" fmla="*/ 3951174 h 5143500"/>
              <a:gd name="connsiteX66" fmla="*/ 4219057 w 9144000"/>
              <a:gd name="connsiteY66" fmla="*/ 3927394 h 5143500"/>
              <a:gd name="connsiteX67" fmla="*/ 4235619 w 9144000"/>
              <a:gd name="connsiteY67" fmla="*/ 3903479 h 5143500"/>
              <a:gd name="connsiteX68" fmla="*/ 4252000 w 9144000"/>
              <a:gd name="connsiteY68" fmla="*/ 3879431 h 5143500"/>
              <a:gd name="connsiteX69" fmla="*/ 4268201 w 9144000"/>
              <a:gd name="connsiteY69" fmla="*/ 3855250 h 5143500"/>
              <a:gd name="connsiteX70" fmla="*/ 4284220 w 9144000"/>
              <a:gd name="connsiteY70" fmla="*/ 3830939 h 5143500"/>
              <a:gd name="connsiteX71" fmla="*/ 4300056 w 9144000"/>
              <a:gd name="connsiteY71" fmla="*/ 3806498 h 5143500"/>
              <a:gd name="connsiteX72" fmla="*/ 4315709 w 9144000"/>
              <a:gd name="connsiteY72" fmla="*/ 3781927 h 5143500"/>
              <a:gd name="connsiteX73" fmla="*/ 4331176 w 9144000"/>
              <a:gd name="connsiteY73" fmla="*/ 3757228 h 5143500"/>
              <a:gd name="connsiteX74" fmla="*/ 4346459 w 9144000"/>
              <a:gd name="connsiteY74" fmla="*/ 3732401 h 5143500"/>
              <a:gd name="connsiteX75" fmla="*/ 4361555 w 9144000"/>
              <a:gd name="connsiteY75" fmla="*/ 3707449 h 5143500"/>
              <a:gd name="connsiteX76" fmla="*/ 4376463 w 9144000"/>
              <a:gd name="connsiteY76" fmla="*/ 3682371 h 5143500"/>
              <a:gd name="connsiteX77" fmla="*/ 4391183 w 9144000"/>
              <a:gd name="connsiteY77" fmla="*/ 3657169 h 5143500"/>
              <a:gd name="connsiteX78" fmla="*/ 4405712 w 9144000"/>
              <a:gd name="connsiteY78" fmla="*/ 3631843 h 5143500"/>
              <a:gd name="connsiteX79" fmla="*/ 4420052 w 9144000"/>
              <a:gd name="connsiteY79" fmla="*/ 3606395 h 5143500"/>
              <a:gd name="connsiteX80" fmla="*/ 4434200 w 9144000"/>
              <a:gd name="connsiteY80" fmla="*/ 3580825 h 5143500"/>
              <a:gd name="connsiteX81" fmla="*/ 4448156 w 9144000"/>
              <a:gd name="connsiteY81" fmla="*/ 3555135 h 5143500"/>
              <a:gd name="connsiteX82" fmla="*/ 4461919 w 9144000"/>
              <a:gd name="connsiteY82" fmla="*/ 3529325 h 5143500"/>
              <a:gd name="connsiteX83" fmla="*/ 4475486 w 9144000"/>
              <a:gd name="connsiteY83" fmla="*/ 3503396 h 5143500"/>
              <a:gd name="connsiteX84" fmla="*/ 4488859 w 9144000"/>
              <a:gd name="connsiteY84" fmla="*/ 3477351 h 5143500"/>
              <a:gd name="connsiteX85" fmla="*/ 4502035 w 9144000"/>
              <a:gd name="connsiteY85" fmla="*/ 3451188 h 5143500"/>
              <a:gd name="connsiteX86" fmla="*/ 4515014 w 9144000"/>
              <a:gd name="connsiteY86" fmla="*/ 3424910 h 5143500"/>
              <a:gd name="connsiteX87" fmla="*/ 4527795 w 9144000"/>
              <a:gd name="connsiteY87" fmla="*/ 3398518 h 5143500"/>
              <a:gd name="connsiteX88" fmla="*/ 4540376 w 9144000"/>
              <a:gd name="connsiteY88" fmla="*/ 3372011 h 5143500"/>
              <a:gd name="connsiteX89" fmla="*/ 4552758 w 9144000"/>
              <a:gd name="connsiteY89" fmla="*/ 3345392 h 5143500"/>
              <a:gd name="connsiteX90" fmla="*/ 4564938 w 9144000"/>
              <a:gd name="connsiteY90" fmla="*/ 3318661 h 5143500"/>
              <a:gd name="connsiteX91" fmla="*/ 4576916 w 9144000"/>
              <a:gd name="connsiteY91" fmla="*/ 3291819 h 5143500"/>
              <a:gd name="connsiteX92" fmla="*/ 4588691 w 9144000"/>
              <a:gd name="connsiteY92" fmla="*/ 3264868 h 5143500"/>
              <a:gd name="connsiteX93" fmla="*/ 4600262 w 9144000"/>
              <a:gd name="connsiteY93" fmla="*/ 3237807 h 5143500"/>
              <a:gd name="connsiteX94" fmla="*/ 4611627 w 9144000"/>
              <a:gd name="connsiteY94" fmla="*/ 3210639 h 5143500"/>
              <a:gd name="connsiteX95" fmla="*/ 4622787 w 9144000"/>
              <a:gd name="connsiteY95" fmla="*/ 3183365 h 5143500"/>
              <a:gd name="connsiteX96" fmla="*/ 4633740 w 9144000"/>
              <a:gd name="connsiteY96" fmla="*/ 3155984 h 5143500"/>
              <a:gd name="connsiteX97" fmla="*/ 4644484 w 9144000"/>
              <a:gd name="connsiteY97" fmla="*/ 3128498 h 5143500"/>
              <a:gd name="connsiteX98" fmla="*/ 4655020 w 9144000"/>
              <a:gd name="connsiteY98" fmla="*/ 3100908 h 5143500"/>
              <a:gd name="connsiteX99" fmla="*/ 4665346 w 9144000"/>
              <a:gd name="connsiteY99" fmla="*/ 3073215 h 5143500"/>
              <a:gd name="connsiteX100" fmla="*/ 4675461 w 9144000"/>
              <a:gd name="connsiteY100" fmla="*/ 3045421 h 5143500"/>
              <a:gd name="connsiteX101" fmla="*/ 4685364 w 9144000"/>
              <a:gd name="connsiteY101" fmla="*/ 3017525 h 5143500"/>
              <a:gd name="connsiteX102" fmla="*/ 4695054 w 9144000"/>
              <a:gd name="connsiteY102" fmla="*/ 2989528 h 5143500"/>
              <a:gd name="connsiteX103" fmla="*/ 4704531 w 9144000"/>
              <a:gd name="connsiteY103" fmla="*/ 2961433 h 5143500"/>
              <a:gd name="connsiteX104" fmla="*/ 4713792 w 9144000"/>
              <a:gd name="connsiteY104" fmla="*/ 2933240 h 5143500"/>
              <a:gd name="connsiteX105" fmla="*/ 4722838 w 9144000"/>
              <a:gd name="connsiteY105" fmla="*/ 2904950 h 5143500"/>
              <a:gd name="connsiteX106" fmla="*/ 4731667 w 9144000"/>
              <a:gd name="connsiteY106" fmla="*/ 2876564 h 5143500"/>
              <a:gd name="connsiteX107" fmla="*/ 4740279 w 9144000"/>
              <a:gd name="connsiteY107" fmla="*/ 2848081 h 5143500"/>
              <a:gd name="connsiteX108" fmla="*/ 4748671 w 9144000"/>
              <a:gd name="connsiteY108" fmla="*/ 2819506 h 5143500"/>
              <a:gd name="connsiteX109" fmla="*/ 4756844 w 9144000"/>
              <a:gd name="connsiteY109" fmla="*/ 2790836 h 5143500"/>
              <a:gd name="connsiteX110" fmla="*/ 4764796 w 9144000"/>
              <a:gd name="connsiteY110" fmla="*/ 2762075 h 5143500"/>
              <a:gd name="connsiteX111" fmla="*/ 4772528 w 9144000"/>
              <a:gd name="connsiteY111" fmla="*/ 2733222 h 5143500"/>
              <a:gd name="connsiteX112" fmla="*/ 4780036 w 9144000"/>
              <a:gd name="connsiteY112" fmla="*/ 2704279 h 5143500"/>
              <a:gd name="connsiteX113" fmla="*/ 4787321 w 9144000"/>
              <a:gd name="connsiteY113" fmla="*/ 2675246 h 5143500"/>
              <a:gd name="connsiteX114" fmla="*/ 4794381 w 9144000"/>
              <a:gd name="connsiteY114" fmla="*/ 2646125 h 5143500"/>
              <a:gd name="connsiteX115" fmla="*/ 4801216 w 9144000"/>
              <a:gd name="connsiteY115" fmla="*/ 2616917 h 5143500"/>
              <a:gd name="connsiteX116" fmla="*/ 4807824 w 9144000"/>
              <a:gd name="connsiteY116" fmla="*/ 2587622 h 5143500"/>
              <a:gd name="connsiteX117" fmla="*/ 4814205 w 9144000"/>
              <a:gd name="connsiteY117" fmla="*/ 2558241 h 5143500"/>
              <a:gd name="connsiteX118" fmla="*/ 4820357 w 9144000"/>
              <a:gd name="connsiteY118" fmla="*/ 2528776 h 5143500"/>
              <a:gd name="connsiteX119" fmla="*/ 4826280 w 9144000"/>
              <a:gd name="connsiteY119" fmla="*/ 2499227 h 5143500"/>
              <a:gd name="connsiteX120" fmla="*/ 4831973 w 9144000"/>
              <a:gd name="connsiteY120" fmla="*/ 2469596 h 5143500"/>
              <a:gd name="connsiteX121" fmla="*/ 4837435 w 9144000"/>
              <a:gd name="connsiteY121" fmla="*/ 2439884 h 5143500"/>
              <a:gd name="connsiteX122" fmla="*/ 4842664 w 9144000"/>
              <a:gd name="connsiteY122" fmla="*/ 2410090 h 5143500"/>
              <a:gd name="connsiteX123" fmla="*/ 4847660 w 9144000"/>
              <a:gd name="connsiteY123" fmla="*/ 2380217 h 5143500"/>
              <a:gd name="connsiteX124" fmla="*/ 4852422 w 9144000"/>
              <a:gd name="connsiteY124" fmla="*/ 2350266 h 5143500"/>
              <a:gd name="connsiteX125" fmla="*/ 4856948 w 9144000"/>
              <a:gd name="connsiteY125" fmla="*/ 2320236 h 5143500"/>
              <a:gd name="connsiteX126" fmla="*/ 4861239 w 9144000"/>
              <a:gd name="connsiteY126" fmla="*/ 2290130 h 5143500"/>
              <a:gd name="connsiteX127" fmla="*/ 4865292 w 9144000"/>
              <a:gd name="connsiteY127" fmla="*/ 2259948 h 5143500"/>
              <a:gd name="connsiteX128" fmla="*/ 4869107 w 9144000"/>
              <a:gd name="connsiteY128" fmla="*/ 2229692 h 5143500"/>
              <a:gd name="connsiteX129" fmla="*/ 4872683 w 9144000"/>
              <a:gd name="connsiteY129" fmla="*/ 2199361 h 5143500"/>
              <a:gd name="connsiteX130" fmla="*/ 4876019 w 9144000"/>
              <a:gd name="connsiteY130" fmla="*/ 2168957 h 5143500"/>
              <a:gd name="connsiteX131" fmla="*/ 4879114 w 9144000"/>
              <a:gd name="connsiteY131" fmla="*/ 2138482 h 5143500"/>
              <a:gd name="connsiteX132" fmla="*/ 4881966 w 9144000"/>
              <a:gd name="connsiteY132" fmla="*/ 2107936 h 5143500"/>
              <a:gd name="connsiteX133" fmla="*/ 4884576 w 9144000"/>
              <a:gd name="connsiteY133" fmla="*/ 2077320 h 5143500"/>
              <a:gd name="connsiteX134" fmla="*/ 4886942 w 9144000"/>
              <a:gd name="connsiteY134" fmla="*/ 2046635 h 5143500"/>
              <a:gd name="connsiteX135" fmla="*/ 4889064 w 9144000"/>
              <a:gd name="connsiteY135" fmla="*/ 2015881 h 5143500"/>
              <a:gd name="connsiteX136" fmla="*/ 4890939 w 9144000"/>
              <a:gd name="connsiteY136" fmla="*/ 1985062 h 5143500"/>
              <a:gd name="connsiteX137" fmla="*/ 4892567 w 9144000"/>
              <a:gd name="connsiteY137" fmla="*/ 1954175 h 5143500"/>
              <a:gd name="connsiteX138" fmla="*/ 4893947 w 9144000"/>
              <a:gd name="connsiteY138" fmla="*/ 1923224 h 5143500"/>
              <a:gd name="connsiteX139" fmla="*/ 4895079 w 9144000"/>
              <a:gd name="connsiteY139" fmla="*/ 1892208 h 5143500"/>
              <a:gd name="connsiteX140" fmla="*/ 4895961 w 9144000"/>
              <a:gd name="connsiteY140" fmla="*/ 1861130 h 5143500"/>
              <a:gd name="connsiteX141" fmla="*/ 4896592 w 9144000"/>
              <a:gd name="connsiteY141" fmla="*/ 1829989 h 5143500"/>
              <a:gd name="connsiteX142" fmla="*/ 4896971 w 9144000"/>
              <a:gd name="connsiteY142" fmla="*/ 1798787 h 5143500"/>
              <a:gd name="connsiteX143" fmla="*/ 4897098 w 9144000"/>
              <a:gd name="connsiteY143" fmla="*/ 1767525 h 5143500"/>
              <a:gd name="connsiteX144" fmla="*/ 4896971 w 9144000"/>
              <a:gd name="connsiteY144" fmla="*/ 1736263 h 5143500"/>
              <a:gd name="connsiteX145" fmla="*/ 4896592 w 9144000"/>
              <a:gd name="connsiteY145" fmla="*/ 1705061 h 5143500"/>
              <a:gd name="connsiteX146" fmla="*/ 4895961 w 9144000"/>
              <a:gd name="connsiteY146" fmla="*/ 1673920 h 5143500"/>
              <a:gd name="connsiteX147" fmla="*/ 4895079 w 9144000"/>
              <a:gd name="connsiteY147" fmla="*/ 1642842 h 5143500"/>
              <a:gd name="connsiteX148" fmla="*/ 4893947 w 9144000"/>
              <a:gd name="connsiteY148" fmla="*/ 1611826 h 5143500"/>
              <a:gd name="connsiteX149" fmla="*/ 4892567 w 9144000"/>
              <a:gd name="connsiteY149" fmla="*/ 1580875 h 5143500"/>
              <a:gd name="connsiteX150" fmla="*/ 4890939 w 9144000"/>
              <a:gd name="connsiteY150" fmla="*/ 1549988 h 5143500"/>
              <a:gd name="connsiteX151" fmla="*/ 4889064 w 9144000"/>
              <a:gd name="connsiteY151" fmla="*/ 1519168 h 5143500"/>
              <a:gd name="connsiteX152" fmla="*/ 4886942 w 9144000"/>
              <a:gd name="connsiteY152" fmla="*/ 1488415 h 5143500"/>
              <a:gd name="connsiteX153" fmla="*/ 4884576 w 9144000"/>
              <a:gd name="connsiteY153" fmla="*/ 1457730 h 5143500"/>
              <a:gd name="connsiteX154" fmla="*/ 4881966 w 9144000"/>
              <a:gd name="connsiteY154" fmla="*/ 1427113 h 5143500"/>
              <a:gd name="connsiteX155" fmla="*/ 4879114 w 9144000"/>
              <a:gd name="connsiteY155" fmla="*/ 1396567 h 5143500"/>
              <a:gd name="connsiteX156" fmla="*/ 4876019 w 9144000"/>
              <a:gd name="connsiteY156" fmla="*/ 1366092 h 5143500"/>
              <a:gd name="connsiteX157" fmla="*/ 4872683 w 9144000"/>
              <a:gd name="connsiteY157" fmla="*/ 1335688 h 5143500"/>
              <a:gd name="connsiteX158" fmla="*/ 4869107 w 9144000"/>
              <a:gd name="connsiteY158" fmla="*/ 1305358 h 5143500"/>
              <a:gd name="connsiteX159" fmla="*/ 4865292 w 9144000"/>
              <a:gd name="connsiteY159" fmla="*/ 1275101 h 5143500"/>
              <a:gd name="connsiteX160" fmla="*/ 4861239 w 9144000"/>
              <a:gd name="connsiteY160" fmla="*/ 1244919 h 5143500"/>
              <a:gd name="connsiteX161" fmla="*/ 4856948 w 9144000"/>
              <a:gd name="connsiteY161" fmla="*/ 1214813 h 5143500"/>
              <a:gd name="connsiteX162" fmla="*/ 4852422 w 9144000"/>
              <a:gd name="connsiteY162" fmla="*/ 1184783 h 5143500"/>
              <a:gd name="connsiteX163" fmla="*/ 4847660 w 9144000"/>
              <a:gd name="connsiteY163" fmla="*/ 1154832 h 5143500"/>
              <a:gd name="connsiteX164" fmla="*/ 4842664 w 9144000"/>
              <a:gd name="connsiteY164" fmla="*/ 1124958 h 5143500"/>
              <a:gd name="connsiteX165" fmla="*/ 4837435 w 9144000"/>
              <a:gd name="connsiteY165" fmla="*/ 1095165 h 5143500"/>
              <a:gd name="connsiteX166" fmla="*/ 4831973 w 9144000"/>
              <a:gd name="connsiteY166" fmla="*/ 1065453 h 5143500"/>
              <a:gd name="connsiteX167" fmla="*/ 4826280 w 9144000"/>
              <a:gd name="connsiteY167" fmla="*/ 1035821 h 5143500"/>
              <a:gd name="connsiteX168" fmla="*/ 4820357 w 9144000"/>
              <a:gd name="connsiteY168" fmla="*/ 1006273 h 5143500"/>
              <a:gd name="connsiteX169" fmla="*/ 4814205 w 9144000"/>
              <a:gd name="connsiteY169" fmla="*/ 976808 h 5143500"/>
              <a:gd name="connsiteX170" fmla="*/ 4807824 w 9144000"/>
              <a:gd name="connsiteY170" fmla="*/ 947427 h 5143500"/>
              <a:gd name="connsiteX171" fmla="*/ 4801216 w 9144000"/>
              <a:gd name="connsiteY171" fmla="*/ 918132 h 5143500"/>
              <a:gd name="connsiteX172" fmla="*/ 4794381 w 9144000"/>
              <a:gd name="connsiteY172" fmla="*/ 888923 h 5143500"/>
              <a:gd name="connsiteX173" fmla="*/ 4787321 w 9144000"/>
              <a:gd name="connsiteY173" fmla="*/ 859802 h 5143500"/>
              <a:gd name="connsiteX174" fmla="*/ 4780036 w 9144000"/>
              <a:gd name="connsiteY174" fmla="*/ 830770 h 5143500"/>
              <a:gd name="connsiteX175" fmla="*/ 4772528 w 9144000"/>
              <a:gd name="connsiteY175" fmla="*/ 801827 h 5143500"/>
              <a:gd name="connsiteX176" fmla="*/ 4764796 w 9144000"/>
              <a:gd name="connsiteY176" fmla="*/ 772973 h 5143500"/>
              <a:gd name="connsiteX177" fmla="*/ 4756844 w 9144000"/>
              <a:gd name="connsiteY177" fmla="*/ 744212 h 5143500"/>
              <a:gd name="connsiteX178" fmla="*/ 4748671 w 9144000"/>
              <a:gd name="connsiteY178" fmla="*/ 715542 h 5143500"/>
              <a:gd name="connsiteX179" fmla="*/ 4740279 w 9144000"/>
              <a:gd name="connsiteY179" fmla="*/ 686967 h 5143500"/>
              <a:gd name="connsiteX180" fmla="*/ 4731667 w 9144000"/>
              <a:gd name="connsiteY180" fmla="*/ 658484 h 5143500"/>
              <a:gd name="connsiteX181" fmla="*/ 4722838 w 9144000"/>
              <a:gd name="connsiteY181" fmla="*/ 630098 h 5143500"/>
              <a:gd name="connsiteX182" fmla="*/ 4713792 w 9144000"/>
              <a:gd name="connsiteY182" fmla="*/ 601808 h 5143500"/>
              <a:gd name="connsiteX183" fmla="*/ 4704531 w 9144000"/>
              <a:gd name="connsiteY183" fmla="*/ 573614 h 5143500"/>
              <a:gd name="connsiteX184" fmla="*/ 4695054 w 9144000"/>
              <a:gd name="connsiteY184" fmla="*/ 545519 h 5143500"/>
              <a:gd name="connsiteX185" fmla="*/ 4685364 w 9144000"/>
              <a:gd name="connsiteY185" fmla="*/ 517523 h 5143500"/>
              <a:gd name="connsiteX186" fmla="*/ 4675461 w 9144000"/>
              <a:gd name="connsiteY186" fmla="*/ 489627 h 5143500"/>
              <a:gd name="connsiteX187" fmla="*/ 4665346 w 9144000"/>
              <a:gd name="connsiteY187" fmla="*/ 461833 h 5143500"/>
              <a:gd name="connsiteX188" fmla="*/ 4655020 w 9144000"/>
              <a:gd name="connsiteY188" fmla="*/ 434140 h 5143500"/>
              <a:gd name="connsiteX189" fmla="*/ 4644484 w 9144000"/>
              <a:gd name="connsiteY189" fmla="*/ 406550 h 5143500"/>
              <a:gd name="connsiteX190" fmla="*/ 4633740 w 9144000"/>
              <a:gd name="connsiteY190" fmla="*/ 379064 h 5143500"/>
              <a:gd name="connsiteX191" fmla="*/ 4622787 w 9144000"/>
              <a:gd name="connsiteY191" fmla="*/ 351683 h 5143500"/>
              <a:gd name="connsiteX192" fmla="*/ 4611627 w 9144000"/>
              <a:gd name="connsiteY192" fmla="*/ 324408 h 5143500"/>
              <a:gd name="connsiteX193" fmla="*/ 4600262 w 9144000"/>
              <a:gd name="connsiteY193" fmla="*/ 297240 h 5143500"/>
              <a:gd name="connsiteX194" fmla="*/ 4588691 w 9144000"/>
              <a:gd name="connsiteY194" fmla="*/ 270179 h 5143500"/>
              <a:gd name="connsiteX195" fmla="*/ 4576916 w 9144000"/>
              <a:gd name="connsiteY195" fmla="*/ 243228 h 5143500"/>
              <a:gd name="connsiteX196" fmla="*/ 4564938 w 9144000"/>
              <a:gd name="connsiteY196" fmla="*/ 216386 h 5143500"/>
              <a:gd name="connsiteX197" fmla="*/ 4552758 w 9144000"/>
              <a:gd name="connsiteY197" fmla="*/ 189655 h 5143500"/>
              <a:gd name="connsiteX198" fmla="*/ 4540376 w 9144000"/>
              <a:gd name="connsiteY198" fmla="*/ 163036 h 5143500"/>
              <a:gd name="connsiteX199" fmla="*/ 4527795 w 9144000"/>
              <a:gd name="connsiteY199" fmla="*/ 136530 h 5143500"/>
              <a:gd name="connsiteX200" fmla="*/ 4515014 w 9144000"/>
              <a:gd name="connsiteY200" fmla="*/ 110137 h 5143500"/>
              <a:gd name="connsiteX201" fmla="*/ 4502035 w 9144000"/>
              <a:gd name="connsiteY201" fmla="*/ 83859 h 5143500"/>
              <a:gd name="connsiteX202" fmla="*/ 4488859 w 9144000"/>
              <a:gd name="connsiteY202" fmla="*/ 57696 h 5143500"/>
              <a:gd name="connsiteX203" fmla="*/ 4475486 w 9144000"/>
              <a:gd name="connsiteY203" fmla="*/ 31651 h 5143500"/>
              <a:gd name="connsiteX204" fmla="*/ 4461919 w 9144000"/>
              <a:gd name="connsiteY204" fmla="*/ 5722 h 5143500"/>
              <a:gd name="connsiteX205" fmla="*/ 4458868 w 9144000"/>
              <a:gd name="connsiteY205" fmla="*/ 1 h 5143500"/>
              <a:gd name="connsiteX206" fmla="*/ 0 w 9144000"/>
              <a:gd name="connsiteY206" fmla="*/ 1 h 5143500"/>
              <a:gd name="connsiteX0" fmla="*/ 1642864 w 6327996"/>
              <a:gd name="connsiteY0" fmla="*/ 1 h 5143500"/>
              <a:gd name="connsiteX1" fmla="*/ 6327996 w 6327996"/>
              <a:gd name="connsiteY1" fmla="*/ 0 h 5143500"/>
              <a:gd name="connsiteX2" fmla="*/ 6327996 w 6327996"/>
              <a:gd name="connsiteY2" fmla="*/ 5143500 h 5143500"/>
              <a:gd name="connsiteX3" fmla="*/ 0 w 6327996"/>
              <a:gd name="connsiteY3" fmla="*/ 5143429 h 5143500"/>
              <a:gd name="connsiteX4" fmla="*/ 39699 w 6327996"/>
              <a:gd name="connsiteY4" fmla="*/ 5123180 h 5143500"/>
              <a:gd name="connsiteX5" fmla="*/ 91437 w 6327996"/>
              <a:gd name="connsiteY5" fmla="*/ 5095850 h 5143500"/>
              <a:gd name="connsiteX6" fmla="*/ 117127 w 6327996"/>
              <a:gd name="connsiteY6" fmla="*/ 5081894 h 5143500"/>
              <a:gd name="connsiteX7" fmla="*/ 142697 w 6327996"/>
              <a:gd name="connsiteY7" fmla="*/ 5067746 h 5143500"/>
              <a:gd name="connsiteX8" fmla="*/ 168145 w 6327996"/>
              <a:gd name="connsiteY8" fmla="*/ 5053407 h 5143500"/>
              <a:gd name="connsiteX9" fmla="*/ 193471 w 6327996"/>
              <a:gd name="connsiteY9" fmla="*/ 5038876 h 5143500"/>
              <a:gd name="connsiteX10" fmla="*/ 218673 w 6327996"/>
              <a:gd name="connsiteY10" fmla="*/ 5024157 h 5143500"/>
              <a:gd name="connsiteX11" fmla="*/ 243751 w 6327996"/>
              <a:gd name="connsiteY11" fmla="*/ 5009248 h 5143500"/>
              <a:gd name="connsiteX12" fmla="*/ 268704 w 6327996"/>
              <a:gd name="connsiteY12" fmla="*/ 4994153 h 5143500"/>
              <a:gd name="connsiteX13" fmla="*/ 293530 w 6327996"/>
              <a:gd name="connsiteY13" fmla="*/ 4978871 h 5143500"/>
              <a:gd name="connsiteX14" fmla="*/ 318229 w 6327996"/>
              <a:gd name="connsiteY14" fmla="*/ 4963403 h 5143500"/>
              <a:gd name="connsiteX15" fmla="*/ 342800 w 6327996"/>
              <a:gd name="connsiteY15" fmla="*/ 4947750 h 5143500"/>
              <a:gd name="connsiteX16" fmla="*/ 367242 w 6327996"/>
              <a:gd name="connsiteY16" fmla="*/ 4931914 h 5143500"/>
              <a:gd name="connsiteX17" fmla="*/ 391553 w 6327996"/>
              <a:gd name="connsiteY17" fmla="*/ 4915895 h 5143500"/>
              <a:gd name="connsiteX18" fmla="*/ 415733 w 6327996"/>
              <a:gd name="connsiteY18" fmla="*/ 4899694 h 5143500"/>
              <a:gd name="connsiteX19" fmla="*/ 439781 w 6327996"/>
              <a:gd name="connsiteY19" fmla="*/ 4883312 h 5143500"/>
              <a:gd name="connsiteX20" fmla="*/ 463696 w 6327996"/>
              <a:gd name="connsiteY20" fmla="*/ 4866751 h 5143500"/>
              <a:gd name="connsiteX21" fmla="*/ 487477 w 6327996"/>
              <a:gd name="connsiteY21" fmla="*/ 4850011 h 5143500"/>
              <a:gd name="connsiteX22" fmla="*/ 511122 w 6327996"/>
              <a:gd name="connsiteY22" fmla="*/ 4833093 h 5143500"/>
              <a:gd name="connsiteX23" fmla="*/ 534632 w 6327996"/>
              <a:gd name="connsiteY23" fmla="*/ 4815999 h 5143500"/>
              <a:gd name="connsiteX24" fmla="*/ 558004 w 6327996"/>
              <a:gd name="connsiteY24" fmla="*/ 4798728 h 5143500"/>
              <a:gd name="connsiteX25" fmla="*/ 581239 w 6327996"/>
              <a:gd name="connsiteY25" fmla="*/ 4781282 h 5143500"/>
              <a:gd name="connsiteX26" fmla="*/ 604335 w 6327996"/>
              <a:gd name="connsiteY26" fmla="*/ 4763663 h 5143500"/>
              <a:gd name="connsiteX27" fmla="*/ 627291 w 6327996"/>
              <a:gd name="connsiteY27" fmla="*/ 4745870 h 5143500"/>
              <a:gd name="connsiteX28" fmla="*/ 650105 w 6327996"/>
              <a:gd name="connsiteY28" fmla="*/ 4727906 h 5143500"/>
              <a:gd name="connsiteX29" fmla="*/ 672779 w 6327996"/>
              <a:gd name="connsiteY29" fmla="*/ 4709770 h 5143500"/>
              <a:gd name="connsiteX30" fmla="*/ 695309 w 6327996"/>
              <a:gd name="connsiteY30" fmla="*/ 4691464 h 5143500"/>
              <a:gd name="connsiteX31" fmla="*/ 717695 w 6327996"/>
              <a:gd name="connsiteY31" fmla="*/ 4672989 h 5143500"/>
              <a:gd name="connsiteX32" fmla="*/ 739936 w 6327996"/>
              <a:gd name="connsiteY32" fmla="*/ 4654347 h 5143500"/>
              <a:gd name="connsiteX33" fmla="*/ 762032 w 6327996"/>
              <a:gd name="connsiteY33" fmla="*/ 4635536 h 5143500"/>
              <a:gd name="connsiteX34" fmla="*/ 783981 w 6327996"/>
              <a:gd name="connsiteY34" fmla="*/ 4616560 h 5143500"/>
              <a:gd name="connsiteX35" fmla="*/ 805782 w 6327996"/>
              <a:gd name="connsiteY35" fmla="*/ 4597419 h 5143500"/>
              <a:gd name="connsiteX36" fmla="*/ 827435 w 6327996"/>
              <a:gd name="connsiteY36" fmla="*/ 4578113 h 5143500"/>
              <a:gd name="connsiteX37" fmla="*/ 848938 w 6327996"/>
              <a:gd name="connsiteY37" fmla="*/ 4558644 h 5143500"/>
              <a:gd name="connsiteX38" fmla="*/ 870290 w 6327996"/>
              <a:gd name="connsiteY38" fmla="*/ 4539013 h 5143500"/>
              <a:gd name="connsiteX39" fmla="*/ 891491 w 6327996"/>
              <a:gd name="connsiteY39" fmla="*/ 4519220 h 5143500"/>
              <a:gd name="connsiteX40" fmla="*/ 912539 w 6327996"/>
              <a:gd name="connsiteY40" fmla="*/ 4499267 h 5143500"/>
              <a:gd name="connsiteX41" fmla="*/ 933433 w 6327996"/>
              <a:gd name="connsiteY41" fmla="*/ 4479155 h 5143500"/>
              <a:gd name="connsiteX42" fmla="*/ 954174 w 6327996"/>
              <a:gd name="connsiteY42" fmla="*/ 4458884 h 5143500"/>
              <a:gd name="connsiteX43" fmla="*/ 974758 w 6327996"/>
              <a:gd name="connsiteY43" fmla="*/ 4438456 h 5143500"/>
              <a:gd name="connsiteX44" fmla="*/ 995187 w 6327996"/>
              <a:gd name="connsiteY44" fmla="*/ 4417872 h 5143500"/>
              <a:gd name="connsiteX45" fmla="*/ 1015457 w 6327996"/>
              <a:gd name="connsiteY45" fmla="*/ 4397131 h 5143500"/>
              <a:gd name="connsiteX46" fmla="*/ 1035569 w 6327996"/>
              <a:gd name="connsiteY46" fmla="*/ 4376237 h 5143500"/>
              <a:gd name="connsiteX47" fmla="*/ 1055522 w 6327996"/>
              <a:gd name="connsiteY47" fmla="*/ 4355189 h 5143500"/>
              <a:gd name="connsiteX48" fmla="*/ 1075315 w 6327996"/>
              <a:gd name="connsiteY48" fmla="*/ 4333988 h 5143500"/>
              <a:gd name="connsiteX49" fmla="*/ 1094946 w 6327996"/>
              <a:gd name="connsiteY49" fmla="*/ 4312636 h 5143500"/>
              <a:gd name="connsiteX50" fmla="*/ 1114415 w 6327996"/>
              <a:gd name="connsiteY50" fmla="*/ 4291133 h 5143500"/>
              <a:gd name="connsiteX51" fmla="*/ 1133721 w 6327996"/>
              <a:gd name="connsiteY51" fmla="*/ 4269480 h 5143500"/>
              <a:gd name="connsiteX52" fmla="*/ 1152862 w 6327996"/>
              <a:gd name="connsiteY52" fmla="*/ 4247679 h 5143500"/>
              <a:gd name="connsiteX53" fmla="*/ 1171838 w 6327996"/>
              <a:gd name="connsiteY53" fmla="*/ 4225730 h 5143500"/>
              <a:gd name="connsiteX54" fmla="*/ 1190649 w 6327996"/>
              <a:gd name="connsiteY54" fmla="*/ 4203634 h 5143500"/>
              <a:gd name="connsiteX55" fmla="*/ 1209291 w 6327996"/>
              <a:gd name="connsiteY55" fmla="*/ 4181393 h 5143500"/>
              <a:gd name="connsiteX56" fmla="*/ 1227766 w 6327996"/>
              <a:gd name="connsiteY56" fmla="*/ 4159006 h 5143500"/>
              <a:gd name="connsiteX57" fmla="*/ 1246072 w 6327996"/>
              <a:gd name="connsiteY57" fmla="*/ 4136476 h 5143500"/>
              <a:gd name="connsiteX58" fmla="*/ 1264208 w 6327996"/>
              <a:gd name="connsiteY58" fmla="*/ 4113803 h 5143500"/>
              <a:gd name="connsiteX59" fmla="*/ 1282172 w 6327996"/>
              <a:gd name="connsiteY59" fmla="*/ 4090988 h 5143500"/>
              <a:gd name="connsiteX60" fmla="*/ 1299965 w 6327996"/>
              <a:gd name="connsiteY60" fmla="*/ 4068033 h 5143500"/>
              <a:gd name="connsiteX61" fmla="*/ 1317584 w 6327996"/>
              <a:gd name="connsiteY61" fmla="*/ 4044937 h 5143500"/>
              <a:gd name="connsiteX62" fmla="*/ 1335030 w 6327996"/>
              <a:gd name="connsiteY62" fmla="*/ 4021702 h 5143500"/>
              <a:gd name="connsiteX63" fmla="*/ 1352301 w 6327996"/>
              <a:gd name="connsiteY63" fmla="*/ 3998330 h 5143500"/>
              <a:gd name="connsiteX64" fmla="*/ 1369395 w 6327996"/>
              <a:gd name="connsiteY64" fmla="*/ 3974820 h 5143500"/>
              <a:gd name="connsiteX65" fmla="*/ 1386313 w 6327996"/>
              <a:gd name="connsiteY65" fmla="*/ 3951174 h 5143500"/>
              <a:gd name="connsiteX66" fmla="*/ 1403053 w 6327996"/>
              <a:gd name="connsiteY66" fmla="*/ 3927394 h 5143500"/>
              <a:gd name="connsiteX67" fmla="*/ 1419615 w 6327996"/>
              <a:gd name="connsiteY67" fmla="*/ 3903479 h 5143500"/>
              <a:gd name="connsiteX68" fmla="*/ 1435996 w 6327996"/>
              <a:gd name="connsiteY68" fmla="*/ 3879431 h 5143500"/>
              <a:gd name="connsiteX69" fmla="*/ 1452197 w 6327996"/>
              <a:gd name="connsiteY69" fmla="*/ 3855250 h 5143500"/>
              <a:gd name="connsiteX70" fmla="*/ 1468216 w 6327996"/>
              <a:gd name="connsiteY70" fmla="*/ 3830939 h 5143500"/>
              <a:gd name="connsiteX71" fmla="*/ 1484052 w 6327996"/>
              <a:gd name="connsiteY71" fmla="*/ 3806498 h 5143500"/>
              <a:gd name="connsiteX72" fmla="*/ 1499705 w 6327996"/>
              <a:gd name="connsiteY72" fmla="*/ 3781927 h 5143500"/>
              <a:gd name="connsiteX73" fmla="*/ 1515172 w 6327996"/>
              <a:gd name="connsiteY73" fmla="*/ 3757228 h 5143500"/>
              <a:gd name="connsiteX74" fmla="*/ 1530455 w 6327996"/>
              <a:gd name="connsiteY74" fmla="*/ 3732401 h 5143500"/>
              <a:gd name="connsiteX75" fmla="*/ 1545551 w 6327996"/>
              <a:gd name="connsiteY75" fmla="*/ 3707449 h 5143500"/>
              <a:gd name="connsiteX76" fmla="*/ 1560459 w 6327996"/>
              <a:gd name="connsiteY76" fmla="*/ 3682371 h 5143500"/>
              <a:gd name="connsiteX77" fmla="*/ 1575179 w 6327996"/>
              <a:gd name="connsiteY77" fmla="*/ 3657169 h 5143500"/>
              <a:gd name="connsiteX78" fmla="*/ 1589708 w 6327996"/>
              <a:gd name="connsiteY78" fmla="*/ 3631843 h 5143500"/>
              <a:gd name="connsiteX79" fmla="*/ 1604048 w 6327996"/>
              <a:gd name="connsiteY79" fmla="*/ 3606395 h 5143500"/>
              <a:gd name="connsiteX80" fmla="*/ 1618196 w 6327996"/>
              <a:gd name="connsiteY80" fmla="*/ 3580825 h 5143500"/>
              <a:gd name="connsiteX81" fmla="*/ 1632152 w 6327996"/>
              <a:gd name="connsiteY81" fmla="*/ 3555135 h 5143500"/>
              <a:gd name="connsiteX82" fmla="*/ 1645915 w 6327996"/>
              <a:gd name="connsiteY82" fmla="*/ 3529325 h 5143500"/>
              <a:gd name="connsiteX83" fmla="*/ 1659482 w 6327996"/>
              <a:gd name="connsiteY83" fmla="*/ 3503396 h 5143500"/>
              <a:gd name="connsiteX84" fmla="*/ 1672855 w 6327996"/>
              <a:gd name="connsiteY84" fmla="*/ 3477351 h 5143500"/>
              <a:gd name="connsiteX85" fmla="*/ 1686031 w 6327996"/>
              <a:gd name="connsiteY85" fmla="*/ 3451188 h 5143500"/>
              <a:gd name="connsiteX86" fmla="*/ 1699010 w 6327996"/>
              <a:gd name="connsiteY86" fmla="*/ 3424910 h 5143500"/>
              <a:gd name="connsiteX87" fmla="*/ 1711791 w 6327996"/>
              <a:gd name="connsiteY87" fmla="*/ 3398518 h 5143500"/>
              <a:gd name="connsiteX88" fmla="*/ 1724372 w 6327996"/>
              <a:gd name="connsiteY88" fmla="*/ 3372011 h 5143500"/>
              <a:gd name="connsiteX89" fmla="*/ 1736754 w 6327996"/>
              <a:gd name="connsiteY89" fmla="*/ 3345392 h 5143500"/>
              <a:gd name="connsiteX90" fmla="*/ 1748934 w 6327996"/>
              <a:gd name="connsiteY90" fmla="*/ 3318661 h 5143500"/>
              <a:gd name="connsiteX91" fmla="*/ 1760912 w 6327996"/>
              <a:gd name="connsiteY91" fmla="*/ 3291819 h 5143500"/>
              <a:gd name="connsiteX92" fmla="*/ 1772687 w 6327996"/>
              <a:gd name="connsiteY92" fmla="*/ 3264868 h 5143500"/>
              <a:gd name="connsiteX93" fmla="*/ 1784258 w 6327996"/>
              <a:gd name="connsiteY93" fmla="*/ 3237807 h 5143500"/>
              <a:gd name="connsiteX94" fmla="*/ 1795623 w 6327996"/>
              <a:gd name="connsiteY94" fmla="*/ 3210639 h 5143500"/>
              <a:gd name="connsiteX95" fmla="*/ 1806783 w 6327996"/>
              <a:gd name="connsiteY95" fmla="*/ 3183365 h 5143500"/>
              <a:gd name="connsiteX96" fmla="*/ 1817736 w 6327996"/>
              <a:gd name="connsiteY96" fmla="*/ 3155984 h 5143500"/>
              <a:gd name="connsiteX97" fmla="*/ 1828480 w 6327996"/>
              <a:gd name="connsiteY97" fmla="*/ 3128498 h 5143500"/>
              <a:gd name="connsiteX98" fmla="*/ 1839016 w 6327996"/>
              <a:gd name="connsiteY98" fmla="*/ 3100908 h 5143500"/>
              <a:gd name="connsiteX99" fmla="*/ 1849342 w 6327996"/>
              <a:gd name="connsiteY99" fmla="*/ 3073215 h 5143500"/>
              <a:gd name="connsiteX100" fmla="*/ 1859457 w 6327996"/>
              <a:gd name="connsiteY100" fmla="*/ 3045421 h 5143500"/>
              <a:gd name="connsiteX101" fmla="*/ 1869360 w 6327996"/>
              <a:gd name="connsiteY101" fmla="*/ 3017525 h 5143500"/>
              <a:gd name="connsiteX102" fmla="*/ 1879050 w 6327996"/>
              <a:gd name="connsiteY102" fmla="*/ 2989528 h 5143500"/>
              <a:gd name="connsiteX103" fmla="*/ 1888527 w 6327996"/>
              <a:gd name="connsiteY103" fmla="*/ 2961433 h 5143500"/>
              <a:gd name="connsiteX104" fmla="*/ 1897788 w 6327996"/>
              <a:gd name="connsiteY104" fmla="*/ 2933240 h 5143500"/>
              <a:gd name="connsiteX105" fmla="*/ 1906834 w 6327996"/>
              <a:gd name="connsiteY105" fmla="*/ 2904950 h 5143500"/>
              <a:gd name="connsiteX106" fmla="*/ 1915663 w 6327996"/>
              <a:gd name="connsiteY106" fmla="*/ 2876564 h 5143500"/>
              <a:gd name="connsiteX107" fmla="*/ 1924275 w 6327996"/>
              <a:gd name="connsiteY107" fmla="*/ 2848081 h 5143500"/>
              <a:gd name="connsiteX108" fmla="*/ 1932667 w 6327996"/>
              <a:gd name="connsiteY108" fmla="*/ 2819506 h 5143500"/>
              <a:gd name="connsiteX109" fmla="*/ 1940840 w 6327996"/>
              <a:gd name="connsiteY109" fmla="*/ 2790836 h 5143500"/>
              <a:gd name="connsiteX110" fmla="*/ 1948792 w 6327996"/>
              <a:gd name="connsiteY110" fmla="*/ 2762075 h 5143500"/>
              <a:gd name="connsiteX111" fmla="*/ 1956524 w 6327996"/>
              <a:gd name="connsiteY111" fmla="*/ 2733222 h 5143500"/>
              <a:gd name="connsiteX112" fmla="*/ 1964032 w 6327996"/>
              <a:gd name="connsiteY112" fmla="*/ 2704279 h 5143500"/>
              <a:gd name="connsiteX113" fmla="*/ 1971317 w 6327996"/>
              <a:gd name="connsiteY113" fmla="*/ 2675246 h 5143500"/>
              <a:gd name="connsiteX114" fmla="*/ 1978377 w 6327996"/>
              <a:gd name="connsiteY114" fmla="*/ 2646125 h 5143500"/>
              <a:gd name="connsiteX115" fmla="*/ 1985212 w 6327996"/>
              <a:gd name="connsiteY115" fmla="*/ 2616917 h 5143500"/>
              <a:gd name="connsiteX116" fmla="*/ 1991820 w 6327996"/>
              <a:gd name="connsiteY116" fmla="*/ 2587622 h 5143500"/>
              <a:gd name="connsiteX117" fmla="*/ 1998201 w 6327996"/>
              <a:gd name="connsiteY117" fmla="*/ 2558241 h 5143500"/>
              <a:gd name="connsiteX118" fmla="*/ 2004353 w 6327996"/>
              <a:gd name="connsiteY118" fmla="*/ 2528776 h 5143500"/>
              <a:gd name="connsiteX119" fmla="*/ 2010276 w 6327996"/>
              <a:gd name="connsiteY119" fmla="*/ 2499227 h 5143500"/>
              <a:gd name="connsiteX120" fmla="*/ 2015969 w 6327996"/>
              <a:gd name="connsiteY120" fmla="*/ 2469596 h 5143500"/>
              <a:gd name="connsiteX121" fmla="*/ 2021431 w 6327996"/>
              <a:gd name="connsiteY121" fmla="*/ 2439884 h 5143500"/>
              <a:gd name="connsiteX122" fmla="*/ 2026660 w 6327996"/>
              <a:gd name="connsiteY122" fmla="*/ 2410090 h 5143500"/>
              <a:gd name="connsiteX123" fmla="*/ 2031656 w 6327996"/>
              <a:gd name="connsiteY123" fmla="*/ 2380217 h 5143500"/>
              <a:gd name="connsiteX124" fmla="*/ 2036418 w 6327996"/>
              <a:gd name="connsiteY124" fmla="*/ 2350266 h 5143500"/>
              <a:gd name="connsiteX125" fmla="*/ 2040944 w 6327996"/>
              <a:gd name="connsiteY125" fmla="*/ 2320236 h 5143500"/>
              <a:gd name="connsiteX126" fmla="*/ 2045235 w 6327996"/>
              <a:gd name="connsiteY126" fmla="*/ 2290130 h 5143500"/>
              <a:gd name="connsiteX127" fmla="*/ 2049288 w 6327996"/>
              <a:gd name="connsiteY127" fmla="*/ 2259948 h 5143500"/>
              <a:gd name="connsiteX128" fmla="*/ 2053103 w 6327996"/>
              <a:gd name="connsiteY128" fmla="*/ 2229692 h 5143500"/>
              <a:gd name="connsiteX129" fmla="*/ 2056679 w 6327996"/>
              <a:gd name="connsiteY129" fmla="*/ 2199361 h 5143500"/>
              <a:gd name="connsiteX130" fmla="*/ 2060015 w 6327996"/>
              <a:gd name="connsiteY130" fmla="*/ 2168957 h 5143500"/>
              <a:gd name="connsiteX131" fmla="*/ 2063110 w 6327996"/>
              <a:gd name="connsiteY131" fmla="*/ 2138482 h 5143500"/>
              <a:gd name="connsiteX132" fmla="*/ 2065962 w 6327996"/>
              <a:gd name="connsiteY132" fmla="*/ 2107936 h 5143500"/>
              <a:gd name="connsiteX133" fmla="*/ 2068572 w 6327996"/>
              <a:gd name="connsiteY133" fmla="*/ 2077320 h 5143500"/>
              <a:gd name="connsiteX134" fmla="*/ 2070938 w 6327996"/>
              <a:gd name="connsiteY134" fmla="*/ 2046635 h 5143500"/>
              <a:gd name="connsiteX135" fmla="*/ 2073060 w 6327996"/>
              <a:gd name="connsiteY135" fmla="*/ 2015881 h 5143500"/>
              <a:gd name="connsiteX136" fmla="*/ 2074935 w 6327996"/>
              <a:gd name="connsiteY136" fmla="*/ 1985062 h 5143500"/>
              <a:gd name="connsiteX137" fmla="*/ 2076563 w 6327996"/>
              <a:gd name="connsiteY137" fmla="*/ 1954175 h 5143500"/>
              <a:gd name="connsiteX138" fmla="*/ 2077943 w 6327996"/>
              <a:gd name="connsiteY138" fmla="*/ 1923224 h 5143500"/>
              <a:gd name="connsiteX139" fmla="*/ 2079075 w 6327996"/>
              <a:gd name="connsiteY139" fmla="*/ 1892208 h 5143500"/>
              <a:gd name="connsiteX140" fmla="*/ 2079957 w 6327996"/>
              <a:gd name="connsiteY140" fmla="*/ 1861130 h 5143500"/>
              <a:gd name="connsiteX141" fmla="*/ 2080588 w 6327996"/>
              <a:gd name="connsiteY141" fmla="*/ 1829989 h 5143500"/>
              <a:gd name="connsiteX142" fmla="*/ 2080967 w 6327996"/>
              <a:gd name="connsiteY142" fmla="*/ 1798787 h 5143500"/>
              <a:gd name="connsiteX143" fmla="*/ 2081094 w 6327996"/>
              <a:gd name="connsiteY143" fmla="*/ 1767525 h 5143500"/>
              <a:gd name="connsiteX144" fmla="*/ 2080967 w 6327996"/>
              <a:gd name="connsiteY144" fmla="*/ 1736263 h 5143500"/>
              <a:gd name="connsiteX145" fmla="*/ 2080588 w 6327996"/>
              <a:gd name="connsiteY145" fmla="*/ 1705061 h 5143500"/>
              <a:gd name="connsiteX146" fmla="*/ 2079957 w 6327996"/>
              <a:gd name="connsiteY146" fmla="*/ 1673920 h 5143500"/>
              <a:gd name="connsiteX147" fmla="*/ 2079075 w 6327996"/>
              <a:gd name="connsiteY147" fmla="*/ 1642842 h 5143500"/>
              <a:gd name="connsiteX148" fmla="*/ 2077943 w 6327996"/>
              <a:gd name="connsiteY148" fmla="*/ 1611826 h 5143500"/>
              <a:gd name="connsiteX149" fmla="*/ 2076563 w 6327996"/>
              <a:gd name="connsiteY149" fmla="*/ 1580875 h 5143500"/>
              <a:gd name="connsiteX150" fmla="*/ 2074935 w 6327996"/>
              <a:gd name="connsiteY150" fmla="*/ 1549988 h 5143500"/>
              <a:gd name="connsiteX151" fmla="*/ 2073060 w 6327996"/>
              <a:gd name="connsiteY151" fmla="*/ 1519168 h 5143500"/>
              <a:gd name="connsiteX152" fmla="*/ 2070938 w 6327996"/>
              <a:gd name="connsiteY152" fmla="*/ 1488415 h 5143500"/>
              <a:gd name="connsiteX153" fmla="*/ 2068572 w 6327996"/>
              <a:gd name="connsiteY153" fmla="*/ 1457730 h 5143500"/>
              <a:gd name="connsiteX154" fmla="*/ 2065962 w 6327996"/>
              <a:gd name="connsiteY154" fmla="*/ 1427113 h 5143500"/>
              <a:gd name="connsiteX155" fmla="*/ 2063110 w 6327996"/>
              <a:gd name="connsiteY155" fmla="*/ 1396567 h 5143500"/>
              <a:gd name="connsiteX156" fmla="*/ 2060015 w 6327996"/>
              <a:gd name="connsiteY156" fmla="*/ 1366092 h 5143500"/>
              <a:gd name="connsiteX157" fmla="*/ 2056679 w 6327996"/>
              <a:gd name="connsiteY157" fmla="*/ 1335688 h 5143500"/>
              <a:gd name="connsiteX158" fmla="*/ 2053103 w 6327996"/>
              <a:gd name="connsiteY158" fmla="*/ 1305358 h 5143500"/>
              <a:gd name="connsiteX159" fmla="*/ 2049288 w 6327996"/>
              <a:gd name="connsiteY159" fmla="*/ 1275101 h 5143500"/>
              <a:gd name="connsiteX160" fmla="*/ 2045235 w 6327996"/>
              <a:gd name="connsiteY160" fmla="*/ 1244919 h 5143500"/>
              <a:gd name="connsiteX161" fmla="*/ 2040944 w 6327996"/>
              <a:gd name="connsiteY161" fmla="*/ 1214813 h 5143500"/>
              <a:gd name="connsiteX162" fmla="*/ 2036418 w 6327996"/>
              <a:gd name="connsiteY162" fmla="*/ 1184783 h 5143500"/>
              <a:gd name="connsiteX163" fmla="*/ 2031656 w 6327996"/>
              <a:gd name="connsiteY163" fmla="*/ 1154832 h 5143500"/>
              <a:gd name="connsiteX164" fmla="*/ 2026660 w 6327996"/>
              <a:gd name="connsiteY164" fmla="*/ 1124958 h 5143500"/>
              <a:gd name="connsiteX165" fmla="*/ 2021431 w 6327996"/>
              <a:gd name="connsiteY165" fmla="*/ 1095165 h 5143500"/>
              <a:gd name="connsiteX166" fmla="*/ 2015969 w 6327996"/>
              <a:gd name="connsiteY166" fmla="*/ 1065453 h 5143500"/>
              <a:gd name="connsiteX167" fmla="*/ 2010276 w 6327996"/>
              <a:gd name="connsiteY167" fmla="*/ 1035821 h 5143500"/>
              <a:gd name="connsiteX168" fmla="*/ 2004353 w 6327996"/>
              <a:gd name="connsiteY168" fmla="*/ 1006273 h 5143500"/>
              <a:gd name="connsiteX169" fmla="*/ 1998201 w 6327996"/>
              <a:gd name="connsiteY169" fmla="*/ 976808 h 5143500"/>
              <a:gd name="connsiteX170" fmla="*/ 1991820 w 6327996"/>
              <a:gd name="connsiteY170" fmla="*/ 947427 h 5143500"/>
              <a:gd name="connsiteX171" fmla="*/ 1985212 w 6327996"/>
              <a:gd name="connsiteY171" fmla="*/ 918132 h 5143500"/>
              <a:gd name="connsiteX172" fmla="*/ 1978377 w 6327996"/>
              <a:gd name="connsiteY172" fmla="*/ 888923 h 5143500"/>
              <a:gd name="connsiteX173" fmla="*/ 1971317 w 6327996"/>
              <a:gd name="connsiteY173" fmla="*/ 859802 h 5143500"/>
              <a:gd name="connsiteX174" fmla="*/ 1964032 w 6327996"/>
              <a:gd name="connsiteY174" fmla="*/ 830770 h 5143500"/>
              <a:gd name="connsiteX175" fmla="*/ 1956524 w 6327996"/>
              <a:gd name="connsiteY175" fmla="*/ 801827 h 5143500"/>
              <a:gd name="connsiteX176" fmla="*/ 1948792 w 6327996"/>
              <a:gd name="connsiteY176" fmla="*/ 772973 h 5143500"/>
              <a:gd name="connsiteX177" fmla="*/ 1940840 w 6327996"/>
              <a:gd name="connsiteY177" fmla="*/ 744212 h 5143500"/>
              <a:gd name="connsiteX178" fmla="*/ 1932667 w 6327996"/>
              <a:gd name="connsiteY178" fmla="*/ 715542 h 5143500"/>
              <a:gd name="connsiteX179" fmla="*/ 1924275 w 6327996"/>
              <a:gd name="connsiteY179" fmla="*/ 686967 h 5143500"/>
              <a:gd name="connsiteX180" fmla="*/ 1915663 w 6327996"/>
              <a:gd name="connsiteY180" fmla="*/ 658484 h 5143500"/>
              <a:gd name="connsiteX181" fmla="*/ 1906834 w 6327996"/>
              <a:gd name="connsiteY181" fmla="*/ 630098 h 5143500"/>
              <a:gd name="connsiteX182" fmla="*/ 1897788 w 6327996"/>
              <a:gd name="connsiteY182" fmla="*/ 601808 h 5143500"/>
              <a:gd name="connsiteX183" fmla="*/ 1888527 w 6327996"/>
              <a:gd name="connsiteY183" fmla="*/ 573614 h 5143500"/>
              <a:gd name="connsiteX184" fmla="*/ 1879050 w 6327996"/>
              <a:gd name="connsiteY184" fmla="*/ 545519 h 5143500"/>
              <a:gd name="connsiteX185" fmla="*/ 1869360 w 6327996"/>
              <a:gd name="connsiteY185" fmla="*/ 517523 h 5143500"/>
              <a:gd name="connsiteX186" fmla="*/ 1859457 w 6327996"/>
              <a:gd name="connsiteY186" fmla="*/ 489627 h 5143500"/>
              <a:gd name="connsiteX187" fmla="*/ 1849342 w 6327996"/>
              <a:gd name="connsiteY187" fmla="*/ 461833 h 5143500"/>
              <a:gd name="connsiteX188" fmla="*/ 1839016 w 6327996"/>
              <a:gd name="connsiteY188" fmla="*/ 434140 h 5143500"/>
              <a:gd name="connsiteX189" fmla="*/ 1828480 w 6327996"/>
              <a:gd name="connsiteY189" fmla="*/ 406550 h 5143500"/>
              <a:gd name="connsiteX190" fmla="*/ 1817736 w 6327996"/>
              <a:gd name="connsiteY190" fmla="*/ 379064 h 5143500"/>
              <a:gd name="connsiteX191" fmla="*/ 1806783 w 6327996"/>
              <a:gd name="connsiteY191" fmla="*/ 351683 h 5143500"/>
              <a:gd name="connsiteX192" fmla="*/ 1795623 w 6327996"/>
              <a:gd name="connsiteY192" fmla="*/ 324408 h 5143500"/>
              <a:gd name="connsiteX193" fmla="*/ 1784258 w 6327996"/>
              <a:gd name="connsiteY193" fmla="*/ 297240 h 5143500"/>
              <a:gd name="connsiteX194" fmla="*/ 1772687 w 6327996"/>
              <a:gd name="connsiteY194" fmla="*/ 270179 h 5143500"/>
              <a:gd name="connsiteX195" fmla="*/ 1760912 w 6327996"/>
              <a:gd name="connsiteY195" fmla="*/ 243228 h 5143500"/>
              <a:gd name="connsiteX196" fmla="*/ 1748934 w 6327996"/>
              <a:gd name="connsiteY196" fmla="*/ 216386 h 5143500"/>
              <a:gd name="connsiteX197" fmla="*/ 1736754 w 6327996"/>
              <a:gd name="connsiteY197" fmla="*/ 189655 h 5143500"/>
              <a:gd name="connsiteX198" fmla="*/ 1724372 w 6327996"/>
              <a:gd name="connsiteY198" fmla="*/ 163036 h 5143500"/>
              <a:gd name="connsiteX199" fmla="*/ 1711791 w 6327996"/>
              <a:gd name="connsiteY199" fmla="*/ 136530 h 5143500"/>
              <a:gd name="connsiteX200" fmla="*/ 1699010 w 6327996"/>
              <a:gd name="connsiteY200" fmla="*/ 110137 h 5143500"/>
              <a:gd name="connsiteX201" fmla="*/ 1686031 w 6327996"/>
              <a:gd name="connsiteY201" fmla="*/ 83859 h 5143500"/>
              <a:gd name="connsiteX202" fmla="*/ 1672855 w 6327996"/>
              <a:gd name="connsiteY202" fmla="*/ 57696 h 5143500"/>
              <a:gd name="connsiteX203" fmla="*/ 1659482 w 6327996"/>
              <a:gd name="connsiteY203" fmla="*/ 31651 h 5143500"/>
              <a:gd name="connsiteX204" fmla="*/ 1645915 w 6327996"/>
              <a:gd name="connsiteY204" fmla="*/ 5722 h 5143500"/>
              <a:gd name="connsiteX205" fmla="*/ 1642864 w 6327996"/>
              <a:gd name="connsiteY205" fmla="*/ 1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6327996" h="5143500">
                <a:moveTo>
                  <a:pt x="1642864" y="1"/>
                </a:moveTo>
                <a:lnTo>
                  <a:pt x="6327996" y="0"/>
                </a:lnTo>
                <a:lnTo>
                  <a:pt x="6327996" y="5143500"/>
                </a:lnTo>
                <a:lnTo>
                  <a:pt x="0" y="5143429"/>
                </a:lnTo>
                <a:lnTo>
                  <a:pt x="39699" y="5123180"/>
                </a:lnTo>
                <a:lnTo>
                  <a:pt x="91437" y="5095850"/>
                </a:lnTo>
                <a:lnTo>
                  <a:pt x="117127" y="5081894"/>
                </a:lnTo>
                <a:lnTo>
                  <a:pt x="142697" y="5067746"/>
                </a:lnTo>
                <a:lnTo>
                  <a:pt x="168145" y="5053407"/>
                </a:lnTo>
                <a:lnTo>
                  <a:pt x="193471" y="5038876"/>
                </a:lnTo>
                <a:lnTo>
                  <a:pt x="218673" y="5024157"/>
                </a:lnTo>
                <a:lnTo>
                  <a:pt x="243751" y="5009248"/>
                </a:lnTo>
                <a:lnTo>
                  <a:pt x="268704" y="4994153"/>
                </a:lnTo>
                <a:lnTo>
                  <a:pt x="293530" y="4978871"/>
                </a:lnTo>
                <a:lnTo>
                  <a:pt x="318229" y="4963403"/>
                </a:lnTo>
                <a:lnTo>
                  <a:pt x="342800" y="4947750"/>
                </a:lnTo>
                <a:lnTo>
                  <a:pt x="367242" y="4931914"/>
                </a:lnTo>
                <a:lnTo>
                  <a:pt x="391553" y="4915895"/>
                </a:lnTo>
                <a:lnTo>
                  <a:pt x="415733" y="4899694"/>
                </a:lnTo>
                <a:lnTo>
                  <a:pt x="439781" y="4883312"/>
                </a:lnTo>
                <a:lnTo>
                  <a:pt x="463696" y="4866751"/>
                </a:lnTo>
                <a:lnTo>
                  <a:pt x="487477" y="4850011"/>
                </a:lnTo>
                <a:lnTo>
                  <a:pt x="511122" y="4833093"/>
                </a:lnTo>
                <a:lnTo>
                  <a:pt x="534632" y="4815999"/>
                </a:lnTo>
                <a:lnTo>
                  <a:pt x="558004" y="4798728"/>
                </a:lnTo>
                <a:lnTo>
                  <a:pt x="581239" y="4781282"/>
                </a:lnTo>
                <a:lnTo>
                  <a:pt x="604335" y="4763663"/>
                </a:lnTo>
                <a:lnTo>
                  <a:pt x="627291" y="4745870"/>
                </a:lnTo>
                <a:lnTo>
                  <a:pt x="650105" y="4727906"/>
                </a:lnTo>
                <a:lnTo>
                  <a:pt x="672779" y="4709770"/>
                </a:lnTo>
                <a:lnTo>
                  <a:pt x="695309" y="4691464"/>
                </a:lnTo>
                <a:lnTo>
                  <a:pt x="717695" y="4672989"/>
                </a:lnTo>
                <a:lnTo>
                  <a:pt x="739936" y="4654347"/>
                </a:lnTo>
                <a:lnTo>
                  <a:pt x="762032" y="4635536"/>
                </a:lnTo>
                <a:lnTo>
                  <a:pt x="783981" y="4616560"/>
                </a:lnTo>
                <a:lnTo>
                  <a:pt x="805782" y="4597419"/>
                </a:lnTo>
                <a:lnTo>
                  <a:pt x="827435" y="4578113"/>
                </a:lnTo>
                <a:lnTo>
                  <a:pt x="848938" y="4558644"/>
                </a:lnTo>
                <a:lnTo>
                  <a:pt x="870290" y="4539013"/>
                </a:lnTo>
                <a:lnTo>
                  <a:pt x="891491" y="4519220"/>
                </a:lnTo>
                <a:lnTo>
                  <a:pt x="912539" y="4499267"/>
                </a:lnTo>
                <a:lnTo>
                  <a:pt x="933433" y="4479155"/>
                </a:lnTo>
                <a:lnTo>
                  <a:pt x="954174" y="4458884"/>
                </a:lnTo>
                <a:lnTo>
                  <a:pt x="974758" y="4438456"/>
                </a:lnTo>
                <a:lnTo>
                  <a:pt x="995187" y="4417872"/>
                </a:lnTo>
                <a:lnTo>
                  <a:pt x="1015457" y="4397131"/>
                </a:lnTo>
                <a:lnTo>
                  <a:pt x="1035569" y="4376237"/>
                </a:lnTo>
                <a:lnTo>
                  <a:pt x="1055522" y="4355189"/>
                </a:lnTo>
                <a:lnTo>
                  <a:pt x="1075315" y="4333988"/>
                </a:lnTo>
                <a:lnTo>
                  <a:pt x="1094946" y="4312636"/>
                </a:lnTo>
                <a:lnTo>
                  <a:pt x="1114415" y="4291133"/>
                </a:lnTo>
                <a:lnTo>
                  <a:pt x="1133721" y="4269480"/>
                </a:lnTo>
                <a:lnTo>
                  <a:pt x="1152862" y="4247679"/>
                </a:lnTo>
                <a:lnTo>
                  <a:pt x="1171838" y="4225730"/>
                </a:lnTo>
                <a:lnTo>
                  <a:pt x="1190649" y="4203634"/>
                </a:lnTo>
                <a:lnTo>
                  <a:pt x="1209291" y="4181393"/>
                </a:lnTo>
                <a:lnTo>
                  <a:pt x="1227766" y="4159006"/>
                </a:lnTo>
                <a:lnTo>
                  <a:pt x="1246072" y="4136476"/>
                </a:lnTo>
                <a:lnTo>
                  <a:pt x="1264208" y="4113803"/>
                </a:lnTo>
                <a:lnTo>
                  <a:pt x="1282172" y="4090988"/>
                </a:lnTo>
                <a:lnTo>
                  <a:pt x="1299965" y="4068033"/>
                </a:lnTo>
                <a:lnTo>
                  <a:pt x="1317584" y="4044937"/>
                </a:lnTo>
                <a:lnTo>
                  <a:pt x="1335030" y="4021702"/>
                </a:lnTo>
                <a:lnTo>
                  <a:pt x="1352301" y="3998330"/>
                </a:lnTo>
                <a:lnTo>
                  <a:pt x="1369395" y="3974820"/>
                </a:lnTo>
                <a:lnTo>
                  <a:pt x="1386313" y="3951174"/>
                </a:lnTo>
                <a:lnTo>
                  <a:pt x="1403053" y="3927394"/>
                </a:lnTo>
                <a:lnTo>
                  <a:pt x="1419615" y="3903479"/>
                </a:lnTo>
                <a:lnTo>
                  <a:pt x="1435996" y="3879431"/>
                </a:lnTo>
                <a:lnTo>
                  <a:pt x="1452197" y="3855250"/>
                </a:lnTo>
                <a:lnTo>
                  <a:pt x="1468216" y="3830939"/>
                </a:lnTo>
                <a:lnTo>
                  <a:pt x="1484052" y="3806498"/>
                </a:lnTo>
                <a:lnTo>
                  <a:pt x="1499705" y="3781927"/>
                </a:lnTo>
                <a:lnTo>
                  <a:pt x="1515172" y="3757228"/>
                </a:lnTo>
                <a:lnTo>
                  <a:pt x="1530455" y="3732401"/>
                </a:lnTo>
                <a:lnTo>
                  <a:pt x="1545551" y="3707449"/>
                </a:lnTo>
                <a:lnTo>
                  <a:pt x="1560459" y="3682371"/>
                </a:lnTo>
                <a:lnTo>
                  <a:pt x="1575179" y="3657169"/>
                </a:lnTo>
                <a:lnTo>
                  <a:pt x="1589708" y="3631843"/>
                </a:lnTo>
                <a:lnTo>
                  <a:pt x="1604048" y="3606395"/>
                </a:lnTo>
                <a:lnTo>
                  <a:pt x="1618196" y="3580825"/>
                </a:lnTo>
                <a:lnTo>
                  <a:pt x="1632152" y="3555135"/>
                </a:lnTo>
                <a:lnTo>
                  <a:pt x="1645915" y="3529325"/>
                </a:lnTo>
                <a:lnTo>
                  <a:pt x="1659482" y="3503396"/>
                </a:lnTo>
                <a:lnTo>
                  <a:pt x="1672855" y="3477351"/>
                </a:lnTo>
                <a:lnTo>
                  <a:pt x="1686031" y="3451188"/>
                </a:lnTo>
                <a:lnTo>
                  <a:pt x="1699010" y="3424910"/>
                </a:lnTo>
                <a:lnTo>
                  <a:pt x="1711791" y="3398518"/>
                </a:lnTo>
                <a:lnTo>
                  <a:pt x="1724372" y="3372011"/>
                </a:lnTo>
                <a:lnTo>
                  <a:pt x="1736754" y="3345392"/>
                </a:lnTo>
                <a:lnTo>
                  <a:pt x="1748934" y="3318661"/>
                </a:lnTo>
                <a:lnTo>
                  <a:pt x="1760912" y="3291819"/>
                </a:lnTo>
                <a:lnTo>
                  <a:pt x="1772687" y="3264868"/>
                </a:lnTo>
                <a:lnTo>
                  <a:pt x="1784258" y="3237807"/>
                </a:lnTo>
                <a:lnTo>
                  <a:pt x="1795623" y="3210639"/>
                </a:lnTo>
                <a:lnTo>
                  <a:pt x="1806783" y="3183365"/>
                </a:lnTo>
                <a:lnTo>
                  <a:pt x="1817736" y="3155984"/>
                </a:lnTo>
                <a:lnTo>
                  <a:pt x="1828480" y="3128498"/>
                </a:lnTo>
                <a:lnTo>
                  <a:pt x="1839016" y="3100908"/>
                </a:lnTo>
                <a:lnTo>
                  <a:pt x="1849342" y="3073215"/>
                </a:lnTo>
                <a:lnTo>
                  <a:pt x="1859457" y="3045421"/>
                </a:lnTo>
                <a:lnTo>
                  <a:pt x="1869360" y="3017525"/>
                </a:lnTo>
                <a:lnTo>
                  <a:pt x="1879050" y="2989528"/>
                </a:lnTo>
                <a:lnTo>
                  <a:pt x="1888527" y="2961433"/>
                </a:lnTo>
                <a:lnTo>
                  <a:pt x="1897788" y="2933240"/>
                </a:lnTo>
                <a:lnTo>
                  <a:pt x="1906834" y="2904950"/>
                </a:lnTo>
                <a:lnTo>
                  <a:pt x="1915663" y="2876564"/>
                </a:lnTo>
                <a:lnTo>
                  <a:pt x="1924275" y="2848081"/>
                </a:lnTo>
                <a:lnTo>
                  <a:pt x="1932667" y="2819506"/>
                </a:lnTo>
                <a:lnTo>
                  <a:pt x="1940840" y="2790836"/>
                </a:lnTo>
                <a:lnTo>
                  <a:pt x="1948792" y="2762075"/>
                </a:lnTo>
                <a:lnTo>
                  <a:pt x="1956524" y="2733222"/>
                </a:lnTo>
                <a:lnTo>
                  <a:pt x="1964032" y="2704279"/>
                </a:lnTo>
                <a:lnTo>
                  <a:pt x="1971317" y="2675246"/>
                </a:lnTo>
                <a:lnTo>
                  <a:pt x="1978377" y="2646125"/>
                </a:lnTo>
                <a:lnTo>
                  <a:pt x="1985212" y="2616917"/>
                </a:lnTo>
                <a:lnTo>
                  <a:pt x="1991820" y="2587622"/>
                </a:lnTo>
                <a:lnTo>
                  <a:pt x="1998201" y="2558241"/>
                </a:lnTo>
                <a:lnTo>
                  <a:pt x="2004353" y="2528776"/>
                </a:lnTo>
                <a:lnTo>
                  <a:pt x="2010276" y="2499227"/>
                </a:lnTo>
                <a:lnTo>
                  <a:pt x="2015969" y="2469596"/>
                </a:lnTo>
                <a:lnTo>
                  <a:pt x="2021431" y="2439884"/>
                </a:lnTo>
                <a:lnTo>
                  <a:pt x="2026660" y="2410090"/>
                </a:lnTo>
                <a:lnTo>
                  <a:pt x="2031656" y="2380217"/>
                </a:lnTo>
                <a:lnTo>
                  <a:pt x="2036418" y="2350266"/>
                </a:lnTo>
                <a:lnTo>
                  <a:pt x="2040944" y="2320236"/>
                </a:lnTo>
                <a:lnTo>
                  <a:pt x="2045235" y="2290130"/>
                </a:lnTo>
                <a:lnTo>
                  <a:pt x="2049288" y="2259948"/>
                </a:lnTo>
                <a:lnTo>
                  <a:pt x="2053103" y="2229692"/>
                </a:lnTo>
                <a:lnTo>
                  <a:pt x="2056679" y="2199361"/>
                </a:lnTo>
                <a:lnTo>
                  <a:pt x="2060015" y="2168957"/>
                </a:lnTo>
                <a:lnTo>
                  <a:pt x="2063110" y="2138482"/>
                </a:lnTo>
                <a:lnTo>
                  <a:pt x="2065962" y="2107936"/>
                </a:lnTo>
                <a:lnTo>
                  <a:pt x="2068572" y="2077320"/>
                </a:lnTo>
                <a:lnTo>
                  <a:pt x="2070938" y="2046635"/>
                </a:lnTo>
                <a:lnTo>
                  <a:pt x="2073060" y="2015881"/>
                </a:lnTo>
                <a:lnTo>
                  <a:pt x="2074935" y="1985062"/>
                </a:lnTo>
                <a:cubicBezTo>
                  <a:pt x="2075478" y="1974766"/>
                  <a:pt x="2076020" y="1964471"/>
                  <a:pt x="2076563" y="1954175"/>
                </a:cubicBezTo>
                <a:lnTo>
                  <a:pt x="2077943" y="1923224"/>
                </a:lnTo>
                <a:cubicBezTo>
                  <a:pt x="2078320" y="1912885"/>
                  <a:pt x="2078698" y="1902547"/>
                  <a:pt x="2079075" y="1892208"/>
                </a:cubicBezTo>
                <a:lnTo>
                  <a:pt x="2079957" y="1861130"/>
                </a:lnTo>
                <a:cubicBezTo>
                  <a:pt x="2080167" y="1850750"/>
                  <a:pt x="2080378" y="1840369"/>
                  <a:pt x="2080588" y="1829989"/>
                </a:cubicBezTo>
                <a:cubicBezTo>
                  <a:pt x="2080714" y="1819588"/>
                  <a:pt x="2080841" y="1809188"/>
                  <a:pt x="2080967" y="1798787"/>
                </a:cubicBezTo>
                <a:cubicBezTo>
                  <a:pt x="2081009" y="1788366"/>
                  <a:pt x="2081052" y="1777946"/>
                  <a:pt x="2081094" y="1767525"/>
                </a:cubicBezTo>
                <a:cubicBezTo>
                  <a:pt x="2081052" y="1757104"/>
                  <a:pt x="2081009" y="1746684"/>
                  <a:pt x="2080967" y="1736263"/>
                </a:cubicBezTo>
                <a:cubicBezTo>
                  <a:pt x="2080841" y="1725862"/>
                  <a:pt x="2080714" y="1715462"/>
                  <a:pt x="2080588" y="1705061"/>
                </a:cubicBezTo>
                <a:cubicBezTo>
                  <a:pt x="2080378" y="1694681"/>
                  <a:pt x="2080167" y="1684300"/>
                  <a:pt x="2079957" y="1673920"/>
                </a:cubicBezTo>
                <a:lnTo>
                  <a:pt x="2079075" y="1642842"/>
                </a:lnTo>
                <a:cubicBezTo>
                  <a:pt x="2078698" y="1632503"/>
                  <a:pt x="2078320" y="1622165"/>
                  <a:pt x="2077943" y="1611826"/>
                </a:cubicBezTo>
                <a:lnTo>
                  <a:pt x="2076563" y="1580875"/>
                </a:lnTo>
                <a:cubicBezTo>
                  <a:pt x="2076020" y="1570579"/>
                  <a:pt x="2075478" y="1560284"/>
                  <a:pt x="2074935" y="1549988"/>
                </a:cubicBezTo>
                <a:lnTo>
                  <a:pt x="2073060" y="1519168"/>
                </a:lnTo>
                <a:lnTo>
                  <a:pt x="2070938" y="1488415"/>
                </a:lnTo>
                <a:lnTo>
                  <a:pt x="2068572" y="1457730"/>
                </a:lnTo>
                <a:lnTo>
                  <a:pt x="2065962" y="1427113"/>
                </a:lnTo>
                <a:lnTo>
                  <a:pt x="2063110" y="1396567"/>
                </a:lnTo>
                <a:lnTo>
                  <a:pt x="2060015" y="1366092"/>
                </a:lnTo>
                <a:lnTo>
                  <a:pt x="2056679" y="1335688"/>
                </a:lnTo>
                <a:lnTo>
                  <a:pt x="2053103" y="1305358"/>
                </a:lnTo>
                <a:lnTo>
                  <a:pt x="2049288" y="1275101"/>
                </a:lnTo>
                <a:lnTo>
                  <a:pt x="2045235" y="1244919"/>
                </a:lnTo>
                <a:lnTo>
                  <a:pt x="2040944" y="1214813"/>
                </a:lnTo>
                <a:lnTo>
                  <a:pt x="2036418" y="1184783"/>
                </a:lnTo>
                <a:lnTo>
                  <a:pt x="2031656" y="1154832"/>
                </a:lnTo>
                <a:lnTo>
                  <a:pt x="2026660" y="1124958"/>
                </a:lnTo>
                <a:lnTo>
                  <a:pt x="2021431" y="1095165"/>
                </a:lnTo>
                <a:lnTo>
                  <a:pt x="2015969" y="1065453"/>
                </a:lnTo>
                <a:lnTo>
                  <a:pt x="2010276" y="1035821"/>
                </a:lnTo>
                <a:lnTo>
                  <a:pt x="2004353" y="1006273"/>
                </a:lnTo>
                <a:lnTo>
                  <a:pt x="1998201" y="976808"/>
                </a:lnTo>
                <a:lnTo>
                  <a:pt x="1991820" y="947427"/>
                </a:lnTo>
                <a:lnTo>
                  <a:pt x="1985212" y="918132"/>
                </a:lnTo>
                <a:lnTo>
                  <a:pt x="1978377" y="888923"/>
                </a:lnTo>
                <a:lnTo>
                  <a:pt x="1971317" y="859802"/>
                </a:lnTo>
                <a:lnTo>
                  <a:pt x="1964032" y="830770"/>
                </a:lnTo>
                <a:lnTo>
                  <a:pt x="1956524" y="801827"/>
                </a:lnTo>
                <a:lnTo>
                  <a:pt x="1948792" y="772973"/>
                </a:lnTo>
                <a:lnTo>
                  <a:pt x="1940840" y="744212"/>
                </a:lnTo>
                <a:lnTo>
                  <a:pt x="1932667" y="715542"/>
                </a:lnTo>
                <a:lnTo>
                  <a:pt x="1924275" y="686967"/>
                </a:lnTo>
                <a:lnTo>
                  <a:pt x="1915663" y="658484"/>
                </a:lnTo>
                <a:lnTo>
                  <a:pt x="1906834" y="630098"/>
                </a:lnTo>
                <a:lnTo>
                  <a:pt x="1897788" y="601808"/>
                </a:lnTo>
                <a:lnTo>
                  <a:pt x="1888527" y="573614"/>
                </a:lnTo>
                <a:lnTo>
                  <a:pt x="1879050" y="545519"/>
                </a:lnTo>
                <a:lnTo>
                  <a:pt x="1869360" y="517523"/>
                </a:lnTo>
                <a:lnTo>
                  <a:pt x="1859457" y="489627"/>
                </a:lnTo>
                <a:lnTo>
                  <a:pt x="1849342" y="461833"/>
                </a:lnTo>
                <a:lnTo>
                  <a:pt x="1839016" y="434140"/>
                </a:lnTo>
                <a:lnTo>
                  <a:pt x="1828480" y="406550"/>
                </a:lnTo>
                <a:lnTo>
                  <a:pt x="1817736" y="379064"/>
                </a:lnTo>
                <a:lnTo>
                  <a:pt x="1806783" y="351683"/>
                </a:lnTo>
                <a:lnTo>
                  <a:pt x="1795623" y="324408"/>
                </a:lnTo>
                <a:lnTo>
                  <a:pt x="1784258" y="297240"/>
                </a:lnTo>
                <a:lnTo>
                  <a:pt x="1772687" y="270179"/>
                </a:lnTo>
                <a:lnTo>
                  <a:pt x="1760912" y="243228"/>
                </a:lnTo>
                <a:lnTo>
                  <a:pt x="1748934" y="216386"/>
                </a:lnTo>
                <a:lnTo>
                  <a:pt x="1736754" y="189655"/>
                </a:lnTo>
                <a:lnTo>
                  <a:pt x="1724372" y="163036"/>
                </a:lnTo>
                <a:lnTo>
                  <a:pt x="1711791" y="136530"/>
                </a:lnTo>
                <a:lnTo>
                  <a:pt x="1699010" y="110137"/>
                </a:lnTo>
                <a:lnTo>
                  <a:pt x="1686031" y="83859"/>
                </a:lnTo>
                <a:lnTo>
                  <a:pt x="1672855" y="57696"/>
                </a:lnTo>
                <a:lnTo>
                  <a:pt x="1659482" y="31651"/>
                </a:lnTo>
                <a:lnTo>
                  <a:pt x="1645915" y="5722"/>
                </a:lnTo>
                <a:lnTo>
                  <a:pt x="1642864" y="1"/>
                </a:lnTo>
                <a:close/>
              </a:path>
            </a:pathLst>
          </a:custGeom>
          <a:solidFill>
            <a:schemeClr val="bg1">
              <a:lumMod val="95000"/>
            </a:schemeClr>
          </a:solidFill>
        </p:spPr>
        <p:txBody>
          <a:bodyPr wrap="square" anchor="ctr">
            <a:noAutofit/>
          </a:bodyPr>
          <a:lstStyle>
            <a:lvl1pPr marL="0" indent="0" algn="ctr">
              <a:buFont typeface="Arial" panose="020B0604020202020204" pitchFamily="34" charset="0"/>
              <a:buNone/>
              <a:defRPr sz="1333"/>
            </a:lvl1pPr>
          </a:lstStyle>
          <a:p>
            <a:r>
              <a:rPr lang="en-US"/>
              <a:t>Click icon to add picture</a:t>
            </a:r>
            <a:endParaRPr lang="en-GB"/>
          </a:p>
        </p:txBody>
      </p:sp>
      <p:sp>
        <p:nvSpPr>
          <p:cNvPr id="7" name="Titel 6">
            <a:extLst>
              <a:ext uri="{FF2B5EF4-FFF2-40B4-BE49-F238E27FC236}">
                <a16:creationId xmlns:a16="http://schemas.microsoft.com/office/drawing/2014/main" id="{C8FD3B31-8EE6-4A4B-8140-B0225A227FCB}"/>
              </a:ext>
            </a:extLst>
          </p:cNvPr>
          <p:cNvSpPr>
            <a:spLocks noGrp="1"/>
          </p:cNvSpPr>
          <p:nvPr>
            <p:ph type="title"/>
          </p:nvPr>
        </p:nvSpPr>
        <p:spPr>
          <a:xfrm>
            <a:off x="654058" y="366185"/>
            <a:ext cx="5345932" cy="1133331"/>
          </a:xfrm>
        </p:spPr>
        <p:txBody>
          <a:bodyPr/>
          <a:lstStyle/>
          <a:p>
            <a:r>
              <a:rPr lang="en-US"/>
              <a:t>Click to edit Master title style</a:t>
            </a:r>
            <a:endParaRPr lang="en-GB"/>
          </a:p>
        </p:txBody>
      </p:sp>
      <p:sp>
        <p:nvSpPr>
          <p:cNvPr id="13" name="Tijdelijke aanduiding voor inhoud 6">
            <a:extLst>
              <a:ext uri="{FF2B5EF4-FFF2-40B4-BE49-F238E27FC236}">
                <a16:creationId xmlns:a16="http://schemas.microsoft.com/office/drawing/2014/main" id="{0ED2CD87-CC8D-4337-8930-2D3D407C2665}"/>
              </a:ext>
            </a:extLst>
          </p:cNvPr>
          <p:cNvSpPr>
            <a:spLocks noGrp="1"/>
          </p:cNvSpPr>
          <p:nvPr>
            <p:ph sz="quarter" idx="15"/>
          </p:nvPr>
        </p:nvSpPr>
        <p:spPr>
          <a:xfrm>
            <a:off x="654050" y="1604434"/>
            <a:ext cx="5345932" cy="44174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jdelijke aanduiding voor dianummer 9">
            <a:extLst>
              <a:ext uri="{FF2B5EF4-FFF2-40B4-BE49-F238E27FC236}">
                <a16:creationId xmlns:a16="http://schemas.microsoft.com/office/drawing/2014/main" id="{6B6EE604-437F-49E1-A56F-01689510787E}"/>
              </a:ext>
            </a:extLst>
          </p:cNvPr>
          <p:cNvSpPr>
            <a:spLocks noGrp="1"/>
          </p:cNvSpPr>
          <p:nvPr>
            <p:ph type="sldNum" sz="quarter" idx="16"/>
          </p:nvPr>
        </p:nvSpPr>
        <p:spPr/>
        <p:txBody>
          <a:bodyPr/>
          <a:lstStyle>
            <a:lvl1pPr>
              <a:defRPr>
                <a:solidFill>
                  <a:schemeClr val="bg1"/>
                </a:solidFill>
              </a:defRPr>
            </a:lvl1pPr>
          </a:lstStyle>
          <a:p>
            <a:fld id="{B6F15528-21DE-4FAA-801E-634DDDAF4B2B}" type="slidenum">
              <a:rPr lang="nl-BE" smtClean="0"/>
              <a:pPr/>
              <a:t>‹nr.›</a:t>
            </a:fld>
            <a:endParaRPr lang="nl-BE"/>
          </a:p>
        </p:txBody>
      </p:sp>
      <p:sp>
        <p:nvSpPr>
          <p:cNvPr id="6" name="Rechthoek 5">
            <a:extLst>
              <a:ext uri="{FF2B5EF4-FFF2-40B4-BE49-F238E27FC236}">
                <a16:creationId xmlns:a16="http://schemas.microsoft.com/office/drawing/2014/main" id="{A8485FF2-ECFD-4BA8-B042-8C4135083EF8}"/>
              </a:ext>
            </a:extLst>
          </p:cNvPr>
          <p:cNvSpPr/>
          <p:nvPr userDrawn="1"/>
        </p:nvSpPr>
        <p:spPr>
          <a:xfrm>
            <a:off x="12426898" y="42680"/>
            <a:ext cx="3933005" cy="516515"/>
          </a:xfrm>
          <a:prstGeom prst="rect">
            <a:avLst/>
          </a:prstGeom>
          <a:noFill/>
          <a:ln w="25400" cap="flat" cmpd="sng" algn="ctr">
            <a:noFill/>
            <a:prstDash val="solid"/>
          </a:ln>
          <a:effectLst/>
        </p:spPr>
        <p:txBody>
          <a:bodyPr lIns="240000" rIns="240000" rtlCol="0" anchor="t"/>
          <a:lstStyle/>
          <a:p>
            <a:pPr marL="0" marR="0" lvl="0" indent="0" defTabSz="1219170" eaLnBrk="1" fontAlgn="auto" latinLnBrk="0" hangingPunct="1">
              <a:lnSpc>
                <a:spcPct val="80000"/>
              </a:lnSpc>
              <a:spcBef>
                <a:spcPts val="0"/>
              </a:spcBef>
              <a:spcAft>
                <a:spcPts val="0"/>
              </a:spcAft>
              <a:buClrTx/>
              <a:buSzTx/>
              <a:buFontTx/>
              <a:buNone/>
              <a:tabLst/>
              <a:defRPr/>
            </a:pPr>
            <a:r>
              <a:rPr lang="en-US" sz="1867" b="0" i="0" kern="1200" noProof="0">
                <a:solidFill>
                  <a:schemeClr val="tx1"/>
                </a:solidFill>
                <a:latin typeface="+mn-lt"/>
                <a:ea typeface="+mn-ea"/>
                <a:cs typeface="+mn-cs"/>
              </a:rPr>
              <a:t>Crop images</a:t>
            </a:r>
            <a:endParaRPr lang="nl-NL" sz="1867" b="0" i="0" u="sng" kern="1200" noProof="0">
              <a:solidFill>
                <a:schemeClr val="tx1"/>
              </a:solidFill>
              <a:latin typeface="+mn-lt"/>
              <a:ea typeface="+mn-ea"/>
              <a:cs typeface="+mn-cs"/>
            </a:endParaRPr>
          </a:p>
        </p:txBody>
      </p:sp>
      <p:cxnSp>
        <p:nvCxnSpPr>
          <p:cNvPr id="8" name="Rechte verbindingslijn 7">
            <a:extLst>
              <a:ext uri="{FF2B5EF4-FFF2-40B4-BE49-F238E27FC236}">
                <a16:creationId xmlns:a16="http://schemas.microsoft.com/office/drawing/2014/main" id="{060C7A62-2B1A-4B83-951E-0FD3DD2555B9}"/>
              </a:ext>
            </a:extLst>
          </p:cNvPr>
          <p:cNvCxnSpPr/>
          <p:nvPr userDrawn="1"/>
        </p:nvCxnSpPr>
        <p:spPr>
          <a:xfrm>
            <a:off x="12658012" y="415228"/>
            <a:ext cx="3462619" cy="0"/>
          </a:xfrm>
          <a:prstGeom prst="line">
            <a:avLst/>
          </a:prstGeom>
          <a:noFill/>
          <a:ln w="9525" cap="flat" cmpd="sng" algn="ctr">
            <a:solidFill>
              <a:schemeClr val="accent1"/>
            </a:solidFill>
            <a:prstDash val="solid"/>
          </a:ln>
          <a:effectLst/>
        </p:spPr>
      </p:cxnSp>
      <p:sp>
        <p:nvSpPr>
          <p:cNvPr id="11" name="Tekstvak 10">
            <a:extLst>
              <a:ext uri="{FF2B5EF4-FFF2-40B4-BE49-F238E27FC236}">
                <a16:creationId xmlns:a16="http://schemas.microsoft.com/office/drawing/2014/main" id="{B6BE5583-DA0B-4768-B44C-EAA73DB5FF06}"/>
              </a:ext>
            </a:extLst>
          </p:cNvPr>
          <p:cNvSpPr txBox="1"/>
          <p:nvPr userDrawn="1"/>
        </p:nvSpPr>
        <p:spPr>
          <a:xfrm>
            <a:off x="12658009" y="549201"/>
            <a:ext cx="3484841" cy="260208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Your inserted images will automatically be cropped into the picture fram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If you want to position the image differently:</a:t>
            </a:r>
            <a:br>
              <a:rPr kumimoji="0" lang="en-US" sz="1467" b="0" i="0"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br>
            <a:endParaRPr kumimoji="0" lang="en-US" sz="1467" b="0" i="0"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Click on the photo;</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Picture format;</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Crop:</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67" b="0" i="0"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You will now see the entire photo that you can drag and drop to fit better into the photo frame.</a:t>
            </a:r>
            <a:endParaRPr kumimoji="0" lang="nl-NL" sz="1467" b="0" i="0"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endParaRPr>
          </a:p>
        </p:txBody>
      </p:sp>
      <p:grpSp>
        <p:nvGrpSpPr>
          <p:cNvPr id="12" name="Groep 11">
            <a:extLst>
              <a:ext uri="{FF2B5EF4-FFF2-40B4-BE49-F238E27FC236}">
                <a16:creationId xmlns:a16="http://schemas.microsoft.com/office/drawing/2014/main" id="{EF27028D-F76E-4B79-8716-E27D2DC38006}"/>
              </a:ext>
            </a:extLst>
          </p:cNvPr>
          <p:cNvGrpSpPr/>
          <p:nvPr userDrawn="1"/>
        </p:nvGrpSpPr>
        <p:grpSpPr>
          <a:xfrm>
            <a:off x="13196019" y="1928942"/>
            <a:ext cx="400188" cy="386141"/>
            <a:chOff x="10348324" y="2576017"/>
            <a:chExt cx="425229" cy="410304"/>
          </a:xfrm>
        </p:grpSpPr>
        <p:grpSp>
          <p:nvGrpSpPr>
            <p:cNvPr id="14" name="Groep 13">
              <a:extLst>
                <a:ext uri="{FF2B5EF4-FFF2-40B4-BE49-F238E27FC236}">
                  <a16:creationId xmlns:a16="http://schemas.microsoft.com/office/drawing/2014/main" id="{7EF29C9F-2763-4D62-9CDB-2FB750483B54}"/>
                </a:ext>
              </a:extLst>
            </p:cNvPr>
            <p:cNvGrpSpPr/>
            <p:nvPr/>
          </p:nvGrpSpPr>
          <p:grpSpPr>
            <a:xfrm>
              <a:off x="10449553" y="2576666"/>
              <a:ext cx="324000" cy="324000"/>
              <a:chOff x="9554817" y="2887281"/>
              <a:chExt cx="324000" cy="324000"/>
            </a:xfrm>
          </p:grpSpPr>
          <p:cxnSp>
            <p:nvCxnSpPr>
              <p:cNvPr id="19" name="Straight Connector 4">
                <a:extLst>
                  <a:ext uri="{FF2B5EF4-FFF2-40B4-BE49-F238E27FC236}">
                    <a16:creationId xmlns:a16="http://schemas.microsoft.com/office/drawing/2014/main" id="{BB08E136-2BC6-4D8D-890C-CFF5FD855281}"/>
                  </a:ext>
                </a:extLst>
              </p:cNvPr>
              <p:cNvCxnSpPr/>
              <p:nvPr/>
            </p:nvCxnSpPr>
            <p:spPr>
              <a:xfrm>
                <a:off x="9554817" y="2887281"/>
                <a:ext cx="0" cy="324000"/>
              </a:xfrm>
              <a:prstGeom prst="line">
                <a:avLst/>
              </a:prstGeom>
              <a:ln w="12700"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3">
                <a:extLst>
                  <a:ext uri="{FF2B5EF4-FFF2-40B4-BE49-F238E27FC236}">
                    <a16:creationId xmlns:a16="http://schemas.microsoft.com/office/drawing/2014/main" id="{F6FADC29-BF4C-4E39-8CA8-294970FC34B6}"/>
                  </a:ext>
                </a:extLst>
              </p:cNvPr>
              <p:cNvCxnSpPr>
                <a:cxnSpLocks/>
              </p:cNvCxnSpPr>
              <p:nvPr/>
            </p:nvCxnSpPr>
            <p:spPr>
              <a:xfrm>
                <a:off x="9554817" y="3211281"/>
                <a:ext cx="324000" cy="0"/>
              </a:xfrm>
              <a:prstGeom prst="line">
                <a:avLst/>
              </a:prstGeom>
              <a:ln w="12700"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5" name="Groep 14">
              <a:extLst>
                <a:ext uri="{FF2B5EF4-FFF2-40B4-BE49-F238E27FC236}">
                  <a16:creationId xmlns:a16="http://schemas.microsoft.com/office/drawing/2014/main" id="{569F7D44-CBEC-43AA-BA94-900266E0214D}"/>
                </a:ext>
              </a:extLst>
            </p:cNvPr>
            <p:cNvGrpSpPr/>
            <p:nvPr/>
          </p:nvGrpSpPr>
          <p:grpSpPr>
            <a:xfrm rot="10800000">
              <a:off x="10348324" y="2662321"/>
              <a:ext cx="324000" cy="324000"/>
              <a:chOff x="9554817" y="2887281"/>
              <a:chExt cx="324000" cy="324000"/>
            </a:xfrm>
          </p:grpSpPr>
          <p:cxnSp>
            <p:nvCxnSpPr>
              <p:cNvPr id="17" name="Straight Connector 4">
                <a:extLst>
                  <a:ext uri="{FF2B5EF4-FFF2-40B4-BE49-F238E27FC236}">
                    <a16:creationId xmlns:a16="http://schemas.microsoft.com/office/drawing/2014/main" id="{8359F359-75AD-4911-B123-84E9C5FFCAF8}"/>
                  </a:ext>
                </a:extLst>
              </p:cNvPr>
              <p:cNvCxnSpPr/>
              <p:nvPr/>
            </p:nvCxnSpPr>
            <p:spPr>
              <a:xfrm>
                <a:off x="9554817" y="2887281"/>
                <a:ext cx="0" cy="324000"/>
              </a:xfrm>
              <a:prstGeom prst="line">
                <a:avLst/>
              </a:prstGeom>
              <a:ln w="12700"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3">
                <a:extLst>
                  <a:ext uri="{FF2B5EF4-FFF2-40B4-BE49-F238E27FC236}">
                    <a16:creationId xmlns:a16="http://schemas.microsoft.com/office/drawing/2014/main" id="{BB24FE49-B9D0-4001-A67F-AC44970AB0D4}"/>
                  </a:ext>
                </a:extLst>
              </p:cNvPr>
              <p:cNvCxnSpPr>
                <a:cxnSpLocks/>
              </p:cNvCxnSpPr>
              <p:nvPr/>
            </p:nvCxnSpPr>
            <p:spPr>
              <a:xfrm>
                <a:off x="9554817" y="3211281"/>
                <a:ext cx="324000" cy="0"/>
              </a:xfrm>
              <a:prstGeom prst="line">
                <a:avLst/>
              </a:prstGeom>
              <a:ln w="12700"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16" name="Straight Connector 13">
              <a:extLst>
                <a:ext uri="{FF2B5EF4-FFF2-40B4-BE49-F238E27FC236}">
                  <a16:creationId xmlns:a16="http://schemas.microsoft.com/office/drawing/2014/main" id="{D0946EB1-4836-406F-BFA7-4A55CE9692AD}"/>
                </a:ext>
              </a:extLst>
            </p:cNvPr>
            <p:cNvCxnSpPr>
              <a:cxnSpLocks/>
            </p:cNvCxnSpPr>
            <p:nvPr/>
          </p:nvCxnSpPr>
          <p:spPr>
            <a:xfrm flipH="1">
              <a:off x="10452817" y="2576017"/>
              <a:ext cx="298757" cy="325343"/>
            </a:xfrm>
            <a:prstGeom prst="line">
              <a:avLst/>
            </a:prstGeom>
            <a:ln w="12700"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814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 1">
    <p:spTree>
      <p:nvGrpSpPr>
        <p:cNvPr id="1" name=""/>
        <p:cNvGrpSpPr/>
        <p:nvPr/>
      </p:nvGrpSpPr>
      <p:grpSpPr>
        <a:xfrm>
          <a:off x="0" y="0"/>
          <a:ext cx="0" cy="0"/>
          <a:chOff x="0" y="0"/>
          <a:chExt cx="0" cy="0"/>
        </a:xfrm>
      </p:grpSpPr>
      <p:sp>
        <p:nvSpPr>
          <p:cNvPr id="7" name="Tijdelijke aanduiding voor inhoud 6">
            <a:extLst>
              <a:ext uri="{FF2B5EF4-FFF2-40B4-BE49-F238E27FC236}">
                <a16:creationId xmlns:a16="http://schemas.microsoft.com/office/drawing/2014/main" id="{AFEB8B63-1578-48C6-8747-25AE8DA60CE4}"/>
              </a:ext>
            </a:extLst>
          </p:cNvPr>
          <p:cNvSpPr>
            <a:spLocks noGrp="1"/>
          </p:cNvSpPr>
          <p:nvPr>
            <p:ph sz="quarter" idx="13"/>
          </p:nvPr>
        </p:nvSpPr>
        <p:spPr>
          <a:xfrm>
            <a:off x="654051" y="1604434"/>
            <a:ext cx="10871200" cy="44174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jdelijke aanduiding voor dianummer 1">
            <a:extLst>
              <a:ext uri="{FF2B5EF4-FFF2-40B4-BE49-F238E27FC236}">
                <a16:creationId xmlns:a16="http://schemas.microsoft.com/office/drawing/2014/main" id="{15FF5020-D8F6-4090-B6CF-F2B4BC4F8C24}"/>
              </a:ext>
            </a:extLst>
          </p:cNvPr>
          <p:cNvSpPr>
            <a:spLocks noGrp="1"/>
          </p:cNvSpPr>
          <p:nvPr>
            <p:ph type="sldNum" sz="quarter" idx="12"/>
          </p:nvPr>
        </p:nvSpPr>
        <p:spPr/>
        <p:txBody>
          <a:bodyPr/>
          <a:lstStyle/>
          <a:p>
            <a:fld id="{B6F15528-21DE-4FAA-801E-634DDDAF4B2B}" type="slidenum">
              <a:rPr lang="nl-BE" smtClean="0"/>
              <a:t>‹nr.›</a:t>
            </a:fld>
            <a:endParaRPr lang="nl-BE"/>
          </a:p>
        </p:txBody>
      </p:sp>
      <p:sp>
        <p:nvSpPr>
          <p:cNvPr id="5" name="Titel 4">
            <a:extLst>
              <a:ext uri="{FF2B5EF4-FFF2-40B4-BE49-F238E27FC236}">
                <a16:creationId xmlns:a16="http://schemas.microsoft.com/office/drawing/2014/main" id="{6F576D46-B8D5-4B23-A74F-F2982D71CA60}"/>
              </a:ext>
            </a:extLst>
          </p:cNvPr>
          <p:cNvSpPr>
            <a:spLocks noGrp="1"/>
          </p:cNvSpPr>
          <p:nvPr>
            <p:ph type="title"/>
          </p:nvPr>
        </p:nvSpPr>
        <p:spPr/>
        <p:txBody>
          <a:bodyPr/>
          <a:lstStyle/>
          <a:p>
            <a:r>
              <a:rPr lang="en-US"/>
              <a:t>Click to edit Master title style</a:t>
            </a:r>
            <a:endParaRPr lang="en-GB"/>
          </a:p>
        </p:txBody>
      </p:sp>
      <p:grpSp>
        <p:nvGrpSpPr>
          <p:cNvPr id="4" name="Groep 3">
            <a:extLst>
              <a:ext uri="{FF2B5EF4-FFF2-40B4-BE49-F238E27FC236}">
                <a16:creationId xmlns:a16="http://schemas.microsoft.com/office/drawing/2014/main" id="{681CE671-182E-4C7E-B436-608F9C966152}"/>
              </a:ext>
            </a:extLst>
          </p:cNvPr>
          <p:cNvGrpSpPr/>
          <p:nvPr userDrawn="1"/>
        </p:nvGrpSpPr>
        <p:grpSpPr>
          <a:xfrm>
            <a:off x="10709964" y="4887957"/>
            <a:ext cx="1481691" cy="1133331"/>
            <a:chOff x="8032473" y="3665968"/>
            <a:chExt cx="1111268" cy="849998"/>
          </a:xfrm>
        </p:grpSpPr>
        <p:grpSp>
          <p:nvGrpSpPr>
            <p:cNvPr id="10" name="Groep 9">
              <a:extLst>
                <a:ext uri="{FF2B5EF4-FFF2-40B4-BE49-F238E27FC236}">
                  <a16:creationId xmlns:a16="http://schemas.microsoft.com/office/drawing/2014/main" id="{753C6DC9-2CF8-4BED-8C1D-87E572E04B49}"/>
                </a:ext>
              </a:extLst>
            </p:cNvPr>
            <p:cNvGrpSpPr/>
            <p:nvPr userDrawn="1"/>
          </p:nvGrpSpPr>
          <p:grpSpPr>
            <a:xfrm>
              <a:off x="8032473" y="3665968"/>
              <a:ext cx="1111268" cy="849998"/>
              <a:chOff x="7412608" y="3191837"/>
              <a:chExt cx="1731136" cy="1324129"/>
            </a:xfrm>
          </p:grpSpPr>
          <p:sp>
            <p:nvSpPr>
              <p:cNvPr id="11" name="object 5">
                <a:extLst>
                  <a:ext uri="{FF2B5EF4-FFF2-40B4-BE49-F238E27FC236}">
                    <a16:creationId xmlns:a16="http://schemas.microsoft.com/office/drawing/2014/main" id="{23D1CBF8-2320-4BB1-9B91-20529B4C06E5}"/>
                  </a:ext>
                </a:extLst>
              </p:cNvPr>
              <p:cNvSpPr/>
              <p:nvPr userDrawn="1"/>
            </p:nvSpPr>
            <p:spPr>
              <a:xfrm>
                <a:off x="7412608" y="3191837"/>
                <a:ext cx="1324129" cy="1324129"/>
              </a:xfrm>
              <a:custGeom>
                <a:avLst/>
                <a:gdLst/>
                <a:ahLst/>
                <a:cxnLst/>
                <a:rect l="l" t="t" r="r" b="b"/>
                <a:pathLst>
                  <a:path w="2911475" h="2911475">
                    <a:moveTo>
                      <a:pt x="1455453" y="0"/>
                    </a:moveTo>
                    <a:lnTo>
                      <a:pt x="1407409" y="777"/>
                    </a:lnTo>
                    <a:lnTo>
                      <a:pt x="1359756" y="3095"/>
                    </a:lnTo>
                    <a:lnTo>
                      <a:pt x="1312515" y="6929"/>
                    </a:lnTo>
                    <a:lnTo>
                      <a:pt x="1265712" y="12255"/>
                    </a:lnTo>
                    <a:lnTo>
                      <a:pt x="1219369" y="19049"/>
                    </a:lnTo>
                    <a:lnTo>
                      <a:pt x="1173512" y="27287"/>
                    </a:lnTo>
                    <a:lnTo>
                      <a:pt x="1128164" y="36945"/>
                    </a:lnTo>
                    <a:lnTo>
                      <a:pt x="1083350" y="47999"/>
                    </a:lnTo>
                    <a:lnTo>
                      <a:pt x="1039092" y="60425"/>
                    </a:lnTo>
                    <a:lnTo>
                      <a:pt x="995415" y="74199"/>
                    </a:lnTo>
                    <a:lnTo>
                      <a:pt x="952343" y="89298"/>
                    </a:lnTo>
                    <a:lnTo>
                      <a:pt x="909901" y="105696"/>
                    </a:lnTo>
                    <a:lnTo>
                      <a:pt x="868111" y="123371"/>
                    </a:lnTo>
                    <a:lnTo>
                      <a:pt x="826998" y="142298"/>
                    </a:lnTo>
                    <a:lnTo>
                      <a:pt x="786586" y="162454"/>
                    </a:lnTo>
                    <a:lnTo>
                      <a:pt x="746899" y="183813"/>
                    </a:lnTo>
                    <a:lnTo>
                      <a:pt x="707961" y="206354"/>
                    </a:lnTo>
                    <a:lnTo>
                      <a:pt x="669795" y="230050"/>
                    </a:lnTo>
                    <a:lnTo>
                      <a:pt x="632427" y="254879"/>
                    </a:lnTo>
                    <a:lnTo>
                      <a:pt x="595879" y="280816"/>
                    </a:lnTo>
                    <a:lnTo>
                      <a:pt x="560176" y="307838"/>
                    </a:lnTo>
                    <a:lnTo>
                      <a:pt x="525341" y="335920"/>
                    </a:lnTo>
                    <a:lnTo>
                      <a:pt x="491400" y="365039"/>
                    </a:lnTo>
                    <a:lnTo>
                      <a:pt x="458375" y="395170"/>
                    </a:lnTo>
                    <a:lnTo>
                      <a:pt x="426290" y="426290"/>
                    </a:lnTo>
                    <a:lnTo>
                      <a:pt x="395170" y="458375"/>
                    </a:lnTo>
                    <a:lnTo>
                      <a:pt x="365039" y="491400"/>
                    </a:lnTo>
                    <a:lnTo>
                      <a:pt x="335920" y="525341"/>
                    </a:lnTo>
                    <a:lnTo>
                      <a:pt x="307838" y="560176"/>
                    </a:lnTo>
                    <a:lnTo>
                      <a:pt x="280816" y="595879"/>
                    </a:lnTo>
                    <a:lnTo>
                      <a:pt x="254879" y="632427"/>
                    </a:lnTo>
                    <a:lnTo>
                      <a:pt x="230050" y="669795"/>
                    </a:lnTo>
                    <a:lnTo>
                      <a:pt x="206354" y="707961"/>
                    </a:lnTo>
                    <a:lnTo>
                      <a:pt x="183813" y="746899"/>
                    </a:lnTo>
                    <a:lnTo>
                      <a:pt x="162454" y="786586"/>
                    </a:lnTo>
                    <a:lnTo>
                      <a:pt x="142298" y="826998"/>
                    </a:lnTo>
                    <a:lnTo>
                      <a:pt x="123371" y="868111"/>
                    </a:lnTo>
                    <a:lnTo>
                      <a:pt x="105696" y="909901"/>
                    </a:lnTo>
                    <a:lnTo>
                      <a:pt x="89298" y="952343"/>
                    </a:lnTo>
                    <a:lnTo>
                      <a:pt x="74199" y="995415"/>
                    </a:lnTo>
                    <a:lnTo>
                      <a:pt x="60425" y="1039092"/>
                    </a:lnTo>
                    <a:lnTo>
                      <a:pt x="47999" y="1083350"/>
                    </a:lnTo>
                    <a:lnTo>
                      <a:pt x="36945" y="1128164"/>
                    </a:lnTo>
                    <a:lnTo>
                      <a:pt x="27287" y="1173512"/>
                    </a:lnTo>
                    <a:lnTo>
                      <a:pt x="19049" y="1219369"/>
                    </a:lnTo>
                    <a:lnTo>
                      <a:pt x="12255" y="1265712"/>
                    </a:lnTo>
                    <a:lnTo>
                      <a:pt x="6929" y="1312515"/>
                    </a:lnTo>
                    <a:lnTo>
                      <a:pt x="3095" y="1359756"/>
                    </a:lnTo>
                    <a:lnTo>
                      <a:pt x="777" y="1407409"/>
                    </a:lnTo>
                    <a:lnTo>
                      <a:pt x="0" y="1455453"/>
                    </a:lnTo>
                    <a:lnTo>
                      <a:pt x="777" y="1503496"/>
                    </a:lnTo>
                    <a:lnTo>
                      <a:pt x="3095" y="1551149"/>
                    </a:lnTo>
                    <a:lnTo>
                      <a:pt x="6929" y="1598390"/>
                    </a:lnTo>
                    <a:lnTo>
                      <a:pt x="12255" y="1645193"/>
                    </a:lnTo>
                    <a:lnTo>
                      <a:pt x="19049" y="1691536"/>
                    </a:lnTo>
                    <a:lnTo>
                      <a:pt x="27287" y="1737393"/>
                    </a:lnTo>
                    <a:lnTo>
                      <a:pt x="36945" y="1782741"/>
                    </a:lnTo>
                    <a:lnTo>
                      <a:pt x="47999" y="1827556"/>
                    </a:lnTo>
                    <a:lnTo>
                      <a:pt x="60425" y="1871813"/>
                    </a:lnTo>
                    <a:lnTo>
                      <a:pt x="74199" y="1915490"/>
                    </a:lnTo>
                    <a:lnTo>
                      <a:pt x="89298" y="1958562"/>
                    </a:lnTo>
                    <a:lnTo>
                      <a:pt x="105696" y="2001004"/>
                    </a:lnTo>
                    <a:lnTo>
                      <a:pt x="123371" y="2042794"/>
                    </a:lnTo>
                    <a:lnTo>
                      <a:pt x="142298" y="2083907"/>
                    </a:lnTo>
                    <a:lnTo>
                      <a:pt x="162454" y="2124319"/>
                    </a:lnTo>
                    <a:lnTo>
                      <a:pt x="183813" y="2164006"/>
                    </a:lnTo>
                    <a:lnTo>
                      <a:pt x="206354" y="2202944"/>
                    </a:lnTo>
                    <a:lnTo>
                      <a:pt x="230050" y="2241110"/>
                    </a:lnTo>
                    <a:lnTo>
                      <a:pt x="254879" y="2278478"/>
                    </a:lnTo>
                    <a:lnTo>
                      <a:pt x="280816" y="2315026"/>
                    </a:lnTo>
                    <a:lnTo>
                      <a:pt x="307838" y="2350729"/>
                    </a:lnTo>
                    <a:lnTo>
                      <a:pt x="335920" y="2385564"/>
                    </a:lnTo>
                    <a:lnTo>
                      <a:pt x="365039" y="2419505"/>
                    </a:lnTo>
                    <a:lnTo>
                      <a:pt x="395170" y="2452530"/>
                    </a:lnTo>
                    <a:lnTo>
                      <a:pt x="426290" y="2484615"/>
                    </a:lnTo>
                    <a:lnTo>
                      <a:pt x="458375" y="2515735"/>
                    </a:lnTo>
                    <a:lnTo>
                      <a:pt x="491400" y="2545866"/>
                    </a:lnTo>
                    <a:lnTo>
                      <a:pt x="525341" y="2574985"/>
                    </a:lnTo>
                    <a:lnTo>
                      <a:pt x="560176" y="2603067"/>
                    </a:lnTo>
                    <a:lnTo>
                      <a:pt x="595879" y="2630089"/>
                    </a:lnTo>
                    <a:lnTo>
                      <a:pt x="632427" y="2656026"/>
                    </a:lnTo>
                    <a:lnTo>
                      <a:pt x="669795" y="2680855"/>
                    </a:lnTo>
                    <a:lnTo>
                      <a:pt x="707961" y="2704552"/>
                    </a:lnTo>
                    <a:lnTo>
                      <a:pt x="746899" y="2727092"/>
                    </a:lnTo>
                    <a:lnTo>
                      <a:pt x="786586" y="2748451"/>
                    </a:lnTo>
                    <a:lnTo>
                      <a:pt x="826998" y="2768607"/>
                    </a:lnTo>
                    <a:lnTo>
                      <a:pt x="868111" y="2787534"/>
                    </a:lnTo>
                    <a:lnTo>
                      <a:pt x="909901" y="2805209"/>
                    </a:lnTo>
                    <a:lnTo>
                      <a:pt x="952343" y="2821608"/>
                    </a:lnTo>
                    <a:lnTo>
                      <a:pt x="995415" y="2836706"/>
                    </a:lnTo>
                    <a:lnTo>
                      <a:pt x="1039092" y="2850480"/>
                    </a:lnTo>
                    <a:lnTo>
                      <a:pt x="1083350" y="2862907"/>
                    </a:lnTo>
                    <a:lnTo>
                      <a:pt x="1128164" y="2873961"/>
                    </a:lnTo>
                    <a:lnTo>
                      <a:pt x="1173512" y="2883618"/>
                    </a:lnTo>
                    <a:lnTo>
                      <a:pt x="1219369" y="2891856"/>
                    </a:lnTo>
                    <a:lnTo>
                      <a:pt x="1265712" y="2898650"/>
                    </a:lnTo>
                    <a:lnTo>
                      <a:pt x="1312515" y="2903976"/>
                    </a:lnTo>
                    <a:lnTo>
                      <a:pt x="1359756" y="2907810"/>
                    </a:lnTo>
                    <a:lnTo>
                      <a:pt x="1407409" y="2910128"/>
                    </a:lnTo>
                    <a:lnTo>
                      <a:pt x="1455453" y="2910906"/>
                    </a:lnTo>
                    <a:lnTo>
                      <a:pt x="1503496" y="2910128"/>
                    </a:lnTo>
                    <a:lnTo>
                      <a:pt x="1551149" y="2907810"/>
                    </a:lnTo>
                    <a:lnTo>
                      <a:pt x="1598390" y="2903976"/>
                    </a:lnTo>
                    <a:lnTo>
                      <a:pt x="1645193" y="2898650"/>
                    </a:lnTo>
                    <a:lnTo>
                      <a:pt x="1691536" y="2891856"/>
                    </a:lnTo>
                    <a:lnTo>
                      <a:pt x="1737393" y="2883618"/>
                    </a:lnTo>
                    <a:lnTo>
                      <a:pt x="1782741" y="2873961"/>
                    </a:lnTo>
                    <a:lnTo>
                      <a:pt x="1827556" y="2862907"/>
                    </a:lnTo>
                    <a:lnTo>
                      <a:pt x="1871813" y="2850480"/>
                    </a:lnTo>
                    <a:lnTo>
                      <a:pt x="1915490" y="2836706"/>
                    </a:lnTo>
                    <a:lnTo>
                      <a:pt x="1958562" y="2821608"/>
                    </a:lnTo>
                    <a:lnTo>
                      <a:pt x="2001004" y="2805209"/>
                    </a:lnTo>
                    <a:lnTo>
                      <a:pt x="2042794" y="2787534"/>
                    </a:lnTo>
                    <a:lnTo>
                      <a:pt x="2083907" y="2768607"/>
                    </a:lnTo>
                    <a:lnTo>
                      <a:pt x="2124319" y="2748451"/>
                    </a:lnTo>
                    <a:lnTo>
                      <a:pt x="2164006" y="2727092"/>
                    </a:lnTo>
                    <a:lnTo>
                      <a:pt x="2202944" y="2704552"/>
                    </a:lnTo>
                    <a:lnTo>
                      <a:pt x="2241110" y="2680855"/>
                    </a:lnTo>
                    <a:lnTo>
                      <a:pt x="2278478" y="2656026"/>
                    </a:lnTo>
                    <a:lnTo>
                      <a:pt x="2315026" y="2630089"/>
                    </a:lnTo>
                    <a:lnTo>
                      <a:pt x="2350729" y="2603067"/>
                    </a:lnTo>
                    <a:lnTo>
                      <a:pt x="2385564" y="2574985"/>
                    </a:lnTo>
                    <a:lnTo>
                      <a:pt x="2419505" y="2545866"/>
                    </a:lnTo>
                    <a:lnTo>
                      <a:pt x="2452530" y="2515735"/>
                    </a:lnTo>
                    <a:lnTo>
                      <a:pt x="2484615" y="2484615"/>
                    </a:lnTo>
                    <a:lnTo>
                      <a:pt x="2515735" y="2452530"/>
                    </a:lnTo>
                    <a:lnTo>
                      <a:pt x="2545866" y="2419505"/>
                    </a:lnTo>
                    <a:lnTo>
                      <a:pt x="2574985" y="2385564"/>
                    </a:lnTo>
                    <a:lnTo>
                      <a:pt x="2603067" y="2350729"/>
                    </a:lnTo>
                    <a:lnTo>
                      <a:pt x="2630089" y="2315026"/>
                    </a:lnTo>
                    <a:lnTo>
                      <a:pt x="2656026" y="2278478"/>
                    </a:lnTo>
                    <a:lnTo>
                      <a:pt x="2680855" y="2241110"/>
                    </a:lnTo>
                    <a:lnTo>
                      <a:pt x="2704552" y="2202944"/>
                    </a:lnTo>
                    <a:lnTo>
                      <a:pt x="2727092" y="2164006"/>
                    </a:lnTo>
                    <a:lnTo>
                      <a:pt x="2748451" y="2124319"/>
                    </a:lnTo>
                    <a:lnTo>
                      <a:pt x="2768607" y="2083907"/>
                    </a:lnTo>
                    <a:lnTo>
                      <a:pt x="2787534" y="2042794"/>
                    </a:lnTo>
                    <a:lnTo>
                      <a:pt x="2805209" y="2001004"/>
                    </a:lnTo>
                    <a:lnTo>
                      <a:pt x="2821608" y="1958562"/>
                    </a:lnTo>
                    <a:lnTo>
                      <a:pt x="2836706" y="1915490"/>
                    </a:lnTo>
                    <a:lnTo>
                      <a:pt x="2850480" y="1871813"/>
                    </a:lnTo>
                    <a:lnTo>
                      <a:pt x="2862907" y="1827556"/>
                    </a:lnTo>
                    <a:lnTo>
                      <a:pt x="2873961" y="1782741"/>
                    </a:lnTo>
                    <a:lnTo>
                      <a:pt x="2883618" y="1737393"/>
                    </a:lnTo>
                    <a:lnTo>
                      <a:pt x="2891856" y="1691536"/>
                    </a:lnTo>
                    <a:lnTo>
                      <a:pt x="2898650" y="1645193"/>
                    </a:lnTo>
                    <a:lnTo>
                      <a:pt x="2903976" y="1598390"/>
                    </a:lnTo>
                    <a:lnTo>
                      <a:pt x="2907810" y="1551149"/>
                    </a:lnTo>
                    <a:lnTo>
                      <a:pt x="2910128" y="1503496"/>
                    </a:lnTo>
                    <a:lnTo>
                      <a:pt x="2910906" y="1455453"/>
                    </a:lnTo>
                    <a:lnTo>
                      <a:pt x="2910128" y="1407409"/>
                    </a:lnTo>
                    <a:lnTo>
                      <a:pt x="2907810" y="1359756"/>
                    </a:lnTo>
                    <a:lnTo>
                      <a:pt x="2903976" y="1312515"/>
                    </a:lnTo>
                    <a:lnTo>
                      <a:pt x="2898650" y="1265712"/>
                    </a:lnTo>
                    <a:lnTo>
                      <a:pt x="2891856" y="1219369"/>
                    </a:lnTo>
                    <a:lnTo>
                      <a:pt x="2883618" y="1173512"/>
                    </a:lnTo>
                    <a:lnTo>
                      <a:pt x="2873961" y="1128164"/>
                    </a:lnTo>
                    <a:lnTo>
                      <a:pt x="2862907" y="1083350"/>
                    </a:lnTo>
                    <a:lnTo>
                      <a:pt x="2850480" y="1039092"/>
                    </a:lnTo>
                    <a:lnTo>
                      <a:pt x="2836706" y="995415"/>
                    </a:lnTo>
                    <a:lnTo>
                      <a:pt x="2821608" y="952343"/>
                    </a:lnTo>
                    <a:lnTo>
                      <a:pt x="2805209" y="909901"/>
                    </a:lnTo>
                    <a:lnTo>
                      <a:pt x="2787534" y="868111"/>
                    </a:lnTo>
                    <a:lnTo>
                      <a:pt x="2768607" y="826998"/>
                    </a:lnTo>
                    <a:lnTo>
                      <a:pt x="2748451" y="786586"/>
                    </a:lnTo>
                    <a:lnTo>
                      <a:pt x="2727092" y="746899"/>
                    </a:lnTo>
                    <a:lnTo>
                      <a:pt x="2704552" y="707961"/>
                    </a:lnTo>
                    <a:lnTo>
                      <a:pt x="2680855" y="669795"/>
                    </a:lnTo>
                    <a:lnTo>
                      <a:pt x="2656026" y="632427"/>
                    </a:lnTo>
                    <a:lnTo>
                      <a:pt x="2630089" y="595879"/>
                    </a:lnTo>
                    <a:lnTo>
                      <a:pt x="2603067" y="560176"/>
                    </a:lnTo>
                    <a:lnTo>
                      <a:pt x="2574985" y="525341"/>
                    </a:lnTo>
                    <a:lnTo>
                      <a:pt x="2545866" y="491400"/>
                    </a:lnTo>
                    <a:lnTo>
                      <a:pt x="2515735" y="458375"/>
                    </a:lnTo>
                    <a:lnTo>
                      <a:pt x="2484615" y="426290"/>
                    </a:lnTo>
                    <a:lnTo>
                      <a:pt x="2452530" y="395170"/>
                    </a:lnTo>
                    <a:lnTo>
                      <a:pt x="2419505" y="365039"/>
                    </a:lnTo>
                    <a:lnTo>
                      <a:pt x="2385564" y="335920"/>
                    </a:lnTo>
                    <a:lnTo>
                      <a:pt x="2350729" y="307838"/>
                    </a:lnTo>
                    <a:lnTo>
                      <a:pt x="2315026" y="280816"/>
                    </a:lnTo>
                    <a:lnTo>
                      <a:pt x="2278478" y="254879"/>
                    </a:lnTo>
                    <a:lnTo>
                      <a:pt x="2241110" y="230050"/>
                    </a:lnTo>
                    <a:lnTo>
                      <a:pt x="2202944" y="206354"/>
                    </a:lnTo>
                    <a:lnTo>
                      <a:pt x="2164006" y="183813"/>
                    </a:lnTo>
                    <a:lnTo>
                      <a:pt x="2124319" y="162454"/>
                    </a:lnTo>
                    <a:lnTo>
                      <a:pt x="2083907" y="142298"/>
                    </a:lnTo>
                    <a:lnTo>
                      <a:pt x="2042794" y="123371"/>
                    </a:lnTo>
                    <a:lnTo>
                      <a:pt x="2001004" y="105696"/>
                    </a:lnTo>
                    <a:lnTo>
                      <a:pt x="1958562" y="89298"/>
                    </a:lnTo>
                    <a:lnTo>
                      <a:pt x="1915490" y="74199"/>
                    </a:lnTo>
                    <a:lnTo>
                      <a:pt x="1871813" y="60425"/>
                    </a:lnTo>
                    <a:lnTo>
                      <a:pt x="1827556" y="47999"/>
                    </a:lnTo>
                    <a:lnTo>
                      <a:pt x="1782741" y="36945"/>
                    </a:lnTo>
                    <a:lnTo>
                      <a:pt x="1737393" y="27287"/>
                    </a:lnTo>
                    <a:lnTo>
                      <a:pt x="1691536" y="19049"/>
                    </a:lnTo>
                    <a:lnTo>
                      <a:pt x="1645193" y="12255"/>
                    </a:lnTo>
                    <a:lnTo>
                      <a:pt x="1598390" y="6929"/>
                    </a:lnTo>
                    <a:lnTo>
                      <a:pt x="1551149" y="3095"/>
                    </a:lnTo>
                    <a:lnTo>
                      <a:pt x="1503496" y="777"/>
                    </a:lnTo>
                    <a:lnTo>
                      <a:pt x="1455453" y="0"/>
                    </a:lnTo>
                    <a:close/>
                  </a:path>
                </a:pathLst>
              </a:custGeom>
              <a:noFill/>
              <a:ln w="28575">
                <a:solidFill>
                  <a:schemeClr val="accent2"/>
                </a:solidFill>
              </a:ln>
            </p:spPr>
            <p:txBody>
              <a:bodyPr wrap="square" lIns="0" tIns="0" rIns="0" bIns="0" rtlCol="0"/>
              <a:lstStyle/>
              <a:p>
                <a:endParaRPr lang="en-GB" sz="496" noProof="0"/>
              </a:p>
            </p:txBody>
          </p:sp>
          <p:sp>
            <p:nvSpPr>
              <p:cNvPr id="12" name="object 6">
                <a:extLst>
                  <a:ext uri="{FF2B5EF4-FFF2-40B4-BE49-F238E27FC236}">
                    <a16:creationId xmlns:a16="http://schemas.microsoft.com/office/drawing/2014/main" id="{DECCF026-13C9-4007-947B-AC00B855FCB3}"/>
                  </a:ext>
                </a:extLst>
              </p:cNvPr>
              <p:cNvSpPr/>
              <p:nvPr userDrawn="1"/>
            </p:nvSpPr>
            <p:spPr>
              <a:xfrm>
                <a:off x="8399806" y="3191837"/>
                <a:ext cx="743938" cy="1324129"/>
              </a:xfrm>
              <a:custGeom>
                <a:avLst/>
                <a:gdLst/>
                <a:ahLst/>
                <a:cxnLst/>
                <a:rect l="l" t="t" r="r" b="b"/>
                <a:pathLst>
                  <a:path w="1635759" h="2911475">
                    <a:moveTo>
                      <a:pt x="1455453" y="0"/>
                    </a:moveTo>
                    <a:lnTo>
                      <a:pt x="1407409" y="777"/>
                    </a:lnTo>
                    <a:lnTo>
                      <a:pt x="1359756" y="3095"/>
                    </a:lnTo>
                    <a:lnTo>
                      <a:pt x="1312515" y="6929"/>
                    </a:lnTo>
                    <a:lnTo>
                      <a:pt x="1265712" y="12255"/>
                    </a:lnTo>
                    <a:lnTo>
                      <a:pt x="1219369" y="19049"/>
                    </a:lnTo>
                    <a:lnTo>
                      <a:pt x="1173512" y="27287"/>
                    </a:lnTo>
                    <a:lnTo>
                      <a:pt x="1128164" y="36945"/>
                    </a:lnTo>
                    <a:lnTo>
                      <a:pt x="1083350" y="47999"/>
                    </a:lnTo>
                    <a:lnTo>
                      <a:pt x="1039092" y="60425"/>
                    </a:lnTo>
                    <a:lnTo>
                      <a:pt x="995415" y="74199"/>
                    </a:lnTo>
                    <a:lnTo>
                      <a:pt x="952343" y="89298"/>
                    </a:lnTo>
                    <a:lnTo>
                      <a:pt x="909901" y="105696"/>
                    </a:lnTo>
                    <a:lnTo>
                      <a:pt x="868111" y="123371"/>
                    </a:lnTo>
                    <a:lnTo>
                      <a:pt x="826998" y="142298"/>
                    </a:lnTo>
                    <a:lnTo>
                      <a:pt x="786586" y="162454"/>
                    </a:lnTo>
                    <a:lnTo>
                      <a:pt x="746899" y="183813"/>
                    </a:lnTo>
                    <a:lnTo>
                      <a:pt x="707961" y="206354"/>
                    </a:lnTo>
                    <a:lnTo>
                      <a:pt x="669795" y="230050"/>
                    </a:lnTo>
                    <a:lnTo>
                      <a:pt x="632427" y="254879"/>
                    </a:lnTo>
                    <a:lnTo>
                      <a:pt x="595879" y="280816"/>
                    </a:lnTo>
                    <a:lnTo>
                      <a:pt x="560176" y="307838"/>
                    </a:lnTo>
                    <a:lnTo>
                      <a:pt x="525341" y="335920"/>
                    </a:lnTo>
                    <a:lnTo>
                      <a:pt x="491400" y="365039"/>
                    </a:lnTo>
                    <a:lnTo>
                      <a:pt x="458375" y="395170"/>
                    </a:lnTo>
                    <a:lnTo>
                      <a:pt x="426290" y="426290"/>
                    </a:lnTo>
                    <a:lnTo>
                      <a:pt x="395170" y="458375"/>
                    </a:lnTo>
                    <a:lnTo>
                      <a:pt x="365039" y="491400"/>
                    </a:lnTo>
                    <a:lnTo>
                      <a:pt x="335920" y="525341"/>
                    </a:lnTo>
                    <a:lnTo>
                      <a:pt x="307838" y="560176"/>
                    </a:lnTo>
                    <a:lnTo>
                      <a:pt x="280816" y="595879"/>
                    </a:lnTo>
                    <a:lnTo>
                      <a:pt x="254879" y="632427"/>
                    </a:lnTo>
                    <a:lnTo>
                      <a:pt x="230050" y="669795"/>
                    </a:lnTo>
                    <a:lnTo>
                      <a:pt x="206354" y="707961"/>
                    </a:lnTo>
                    <a:lnTo>
                      <a:pt x="183813" y="746899"/>
                    </a:lnTo>
                    <a:lnTo>
                      <a:pt x="162454" y="786586"/>
                    </a:lnTo>
                    <a:lnTo>
                      <a:pt x="142298" y="826998"/>
                    </a:lnTo>
                    <a:lnTo>
                      <a:pt x="123371" y="868111"/>
                    </a:lnTo>
                    <a:lnTo>
                      <a:pt x="105696" y="909901"/>
                    </a:lnTo>
                    <a:lnTo>
                      <a:pt x="89298" y="952343"/>
                    </a:lnTo>
                    <a:lnTo>
                      <a:pt x="74199" y="995415"/>
                    </a:lnTo>
                    <a:lnTo>
                      <a:pt x="60425" y="1039092"/>
                    </a:lnTo>
                    <a:lnTo>
                      <a:pt x="47999" y="1083350"/>
                    </a:lnTo>
                    <a:lnTo>
                      <a:pt x="36945" y="1128164"/>
                    </a:lnTo>
                    <a:lnTo>
                      <a:pt x="27287" y="1173512"/>
                    </a:lnTo>
                    <a:lnTo>
                      <a:pt x="19049" y="1219369"/>
                    </a:lnTo>
                    <a:lnTo>
                      <a:pt x="12255" y="1265712"/>
                    </a:lnTo>
                    <a:lnTo>
                      <a:pt x="6929" y="1312515"/>
                    </a:lnTo>
                    <a:lnTo>
                      <a:pt x="3095" y="1359756"/>
                    </a:lnTo>
                    <a:lnTo>
                      <a:pt x="777" y="1407409"/>
                    </a:lnTo>
                    <a:lnTo>
                      <a:pt x="0" y="1455453"/>
                    </a:lnTo>
                    <a:lnTo>
                      <a:pt x="777" y="1503496"/>
                    </a:lnTo>
                    <a:lnTo>
                      <a:pt x="3095" y="1551149"/>
                    </a:lnTo>
                    <a:lnTo>
                      <a:pt x="6929" y="1598390"/>
                    </a:lnTo>
                    <a:lnTo>
                      <a:pt x="12255" y="1645193"/>
                    </a:lnTo>
                    <a:lnTo>
                      <a:pt x="19049" y="1691536"/>
                    </a:lnTo>
                    <a:lnTo>
                      <a:pt x="27287" y="1737393"/>
                    </a:lnTo>
                    <a:lnTo>
                      <a:pt x="36945" y="1782741"/>
                    </a:lnTo>
                    <a:lnTo>
                      <a:pt x="47999" y="1827556"/>
                    </a:lnTo>
                    <a:lnTo>
                      <a:pt x="60425" y="1871813"/>
                    </a:lnTo>
                    <a:lnTo>
                      <a:pt x="74199" y="1915490"/>
                    </a:lnTo>
                    <a:lnTo>
                      <a:pt x="89298" y="1958562"/>
                    </a:lnTo>
                    <a:lnTo>
                      <a:pt x="105696" y="2001004"/>
                    </a:lnTo>
                    <a:lnTo>
                      <a:pt x="123371" y="2042794"/>
                    </a:lnTo>
                    <a:lnTo>
                      <a:pt x="142298" y="2083907"/>
                    </a:lnTo>
                    <a:lnTo>
                      <a:pt x="162454" y="2124319"/>
                    </a:lnTo>
                    <a:lnTo>
                      <a:pt x="183813" y="2164006"/>
                    </a:lnTo>
                    <a:lnTo>
                      <a:pt x="206354" y="2202944"/>
                    </a:lnTo>
                    <a:lnTo>
                      <a:pt x="230050" y="2241110"/>
                    </a:lnTo>
                    <a:lnTo>
                      <a:pt x="254879" y="2278478"/>
                    </a:lnTo>
                    <a:lnTo>
                      <a:pt x="280816" y="2315026"/>
                    </a:lnTo>
                    <a:lnTo>
                      <a:pt x="307838" y="2350729"/>
                    </a:lnTo>
                    <a:lnTo>
                      <a:pt x="335920" y="2385564"/>
                    </a:lnTo>
                    <a:lnTo>
                      <a:pt x="365039" y="2419505"/>
                    </a:lnTo>
                    <a:lnTo>
                      <a:pt x="395170" y="2452530"/>
                    </a:lnTo>
                    <a:lnTo>
                      <a:pt x="426290" y="2484615"/>
                    </a:lnTo>
                    <a:lnTo>
                      <a:pt x="458375" y="2515735"/>
                    </a:lnTo>
                    <a:lnTo>
                      <a:pt x="491400" y="2545866"/>
                    </a:lnTo>
                    <a:lnTo>
                      <a:pt x="525341" y="2574985"/>
                    </a:lnTo>
                    <a:lnTo>
                      <a:pt x="560176" y="2603067"/>
                    </a:lnTo>
                    <a:lnTo>
                      <a:pt x="595879" y="2630089"/>
                    </a:lnTo>
                    <a:lnTo>
                      <a:pt x="632427" y="2656026"/>
                    </a:lnTo>
                    <a:lnTo>
                      <a:pt x="669795" y="2680855"/>
                    </a:lnTo>
                    <a:lnTo>
                      <a:pt x="707961" y="2704552"/>
                    </a:lnTo>
                    <a:lnTo>
                      <a:pt x="746899" y="2727092"/>
                    </a:lnTo>
                    <a:lnTo>
                      <a:pt x="786586" y="2748451"/>
                    </a:lnTo>
                    <a:lnTo>
                      <a:pt x="826998" y="2768607"/>
                    </a:lnTo>
                    <a:lnTo>
                      <a:pt x="868111" y="2787534"/>
                    </a:lnTo>
                    <a:lnTo>
                      <a:pt x="909901" y="2805209"/>
                    </a:lnTo>
                    <a:lnTo>
                      <a:pt x="952343" y="2821608"/>
                    </a:lnTo>
                    <a:lnTo>
                      <a:pt x="995415" y="2836706"/>
                    </a:lnTo>
                    <a:lnTo>
                      <a:pt x="1039092" y="2850480"/>
                    </a:lnTo>
                    <a:lnTo>
                      <a:pt x="1083350" y="2862907"/>
                    </a:lnTo>
                    <a:lnTo>
                      <a:pt x="1128164" y="2873961"/>
                    </a:lnTo>
                    <a:lnTo>
                      <a:pt x="1173512" y="2883618"/>
                    </a:lnTo>
                    <a:lnTo>
                      <a:pt x="1219369" y="2891856"/>
                    </a:lnTo>
                    <a:lnTo>
                      <a:pt x="1265712" y="2898650"/>
                    </a:lnTo>
                    <a:lnTo>
                      <a:pt x="1312515" y="2903976"/>
                    </a:lnTo>
                    <a:lnTo>
                      <a:pt x="1359756" y="2907810"/>
                    </a:lnTo>
                    <a:lnTo>
                      <a:pt x="1407409" y="2910128"/>
                    </a:lnTo>
                    <a:lnTo>
                      <a:pt x="1455453" y="2910906"/>
                    </a:lnTo>
                    <a:lnTo>
                      <a:pt x="1503496" y="2910128"/>
                    </a:lnTo>
                    <a:lnTo>
                      <a:pt x="1551149" y="2907810"/>
                    </a:lnTo>
                    <a:lnTo>
                      <a:pt x="1598390" y="2903976"/>
                    </a:lnTo>
                    <a:lnTo>
                      <a:pt x="1635533" y="2899749"/>
                    </a:lnTo>
                    <a:lnTo>
                      <a:pt x="1635533" y="11156"/>
                    </a:lnTo>
                    <a:lnTo>
                      <a:pt x="1598390" y="6929"/>
                    </a:lnTo>
                    <a:lnTo>
                      <a:pt x="1551149" y="3095"/>
                    </a:lnTo>
                    <a:lnTo>
                      <a:pt x="1503496" y="777"/>
                    </a:lnTo>
                    <a:lnTo>
                      <a:pt x="1455453" y="0"/>
                    </a:lnTo>
                    <a:close/>
                  </a:path>
                </a:pathLst>
              </a:custGeom>
              <a:solidFill>
                <a:srgbClr val="05A535"/>
              </a:solidFill>
            </p:spPr>
            <p:txBody>
              <a:bodyPr wrap="square" lIns="0" tIns="0" rIns="0" bIns="0" rtlCol="0"/>
              <a:lstStyle/>
              <a:p>
                <a:endParaRPr lang="en-GB" sz="496" noProof="0"/>
              </a:p>
            </p:txBody>
          </p:sp>
        </p:grpSp>
        <p:sp>
          <p:nvSpPr>
            <p:cNvPr id="19" name="Vrije vorm: vorm 18">
              <a:extLst>
                <a:ext uri="{FF2B5EF4-FFF2-40B4-BE49-F238E27FC236}">
                  <a16:creationId xmlns:a16="http://schemas.microsoft.com/office/drawing/2014/main" id="{A026E270-3AD6-46DB-ADA4-0C60D186F659}"/>
                </a:ext>
              </a:extLst>
            </p:cNvPr>
            <p:cNvSpPr/>
            <p:nvPr userDrawn="1"/>
          </p:nvSpPr>
          <p:spPr>
            <a:xfrm>
              <a:off x="8774411" y="3807883"/>
              <a:ext cx="108060" cy="566167"/>
            </a:xfrm>
            <a:custGeom>
              <a:avLst/>
              <a:gdLst>
                <a:gd name="connsiteX0" fmla="*/ 0 w 108060"/>
                <a:gd name="connsiteY0" fmla="*/ 0 h 566167"/>
                <a:gd name="connsiteX1" fmla="*/ 1488 w 108060"/>
                <a:gd name="connsiteY1" fmla="*/ 1630 h 566167"/>
                <a:gd name="connsiteX2" fmla="*/ 9989 w 108060"/>
                <a:gd name="connsiteY2" fmla="*/ 11539 h 566167"/>
                <a:gd name="connsiteX3" fmla="*/ 18188 w 108060"/>
                <a:gd name="connsiteY3" fmla="*/ 21709 h 566167"/>
                <a:gd name="connsiteX4" fmla="*/ 26077 w 108060"/>
                <a:gd name="connsiteY4" fmla="*/ 32133 h 566167"/>
                <a:gd name="connsiteX5" fmla="*/ 33649 w 108060"/>
                <a:gd name="connsiteY5" fmla="*/ 42803 h 566167"/>
                <a:gd name="connsiteX6" fmla="*/ 40898 w 108060"/>
                <a:gd name="connsiteY6" fmla="*/ 53713 h 566167"/>
                <a:gd name="connsiteX7" fmla="*/ 47816 w 108060"/>
                <a:gd name="connsiteY7" fmla="*/ 64855 h 566167"/>
                <a:gd name="connsiteX8" fmla="*/ 54396 w 108060"/>
                <a:gd name="connsiteY8" fmla="*/ 76223 h 566167"/>
                <a:gd name="connsiteX9" fmla="*/ 60632 w 108060"/>
                <a:gd name="connsiteY9" fmla="*/ 87809 h 566167"/>
                <a:gd name="connsiteX10" fmla="*/ 66516 w 108060"/>
                <a:gd name="connsiteY10" fmla="*/ 99607 h 566167"/>
                <a:gd name="connsiteX11" fmla="*/ 72042 w 108060"/>
                <a:gd name="connsiteY11" fmla="*/ 111610 h 566167"/>
                <a:gd name="connsiteX12" fmla="*/ 77203 w 108060"/>
                <a:gd name="connsiteY12" fmla="*/ 123811 h 566167"/>
                <a:gd name="connsiteX13" fmla="*/ 81990 w 108060"/>
                <a:gd name="connsiteY13" fmla="*/ 136201 h 566167"/>
                <a:gd name="connsiteX14" fmla="*/ 86398 w 108060"/>
                <a:gd name="connsiteY14" fmla="*/ 148776 h 566167"/>
                <a:gd name="connsiteX15" fmla="*/ 90419 w 108060"/>
                <a:gd name="connsiteY15" fmla="*/ 161528 h 566167"/>
                <a:gd name="connsiteX16" fmla="*/ 94047 w 108060"/>
                <a:gd name="connsiteY16" fmla="*/ 174449 h 566167"/>
                <a:gd name="connsiteX17" fmla="*/ 97275 w 108060"/>
                <a:gd name="connsiteY17" fmla="*/ 187532 h 566167"/>
                <a:gd name="connsiteX18" fmla="*/ 100094 w 108060"/>
                <a:gd name="connsiteY18" fmla="*/ 200771 h 566167"/>
                <a:gd name="connsiteX19" fmla="*/ 102499 w 108060"/>
                <a:gd name="connsiteY19" fmla="*/ 214159 h 566167"/>
                <a:gd name="connsiteX20" fmla="*/ 104482 w 108060"/>
                <a:gd name="connsiteY20" fmla="*/ 227689 h 566167"/>
                <a:gd name="connsiteX21" fmla="*/ 106037 w 108060"/>
                <a:gd name="connsiteY21" fmla="*/ 241353 h 566167"/>
                <a:gd name="connsiteX22" fmla="*/ 107156 w 108060"/>
                <a:gd name="connsiteY22" fmla="*/ 255145 h 566167"/>
                <a:gd name="connsiteX23" fmla="*/ 107833 w 108060"/>
                <a:gd name="connsiteY23" fmla="*/ 269057 h 566167"/>
                <a:gd name="connsiteX24" fmla="*/ 108060 w 108060"/>
                <a:gd name="connsiteY24" fmla="*/ 283083 h 566167"/>
                <a:gd name="connsiteX25" fmla="*/ 107833 w 108060"/>
                <a:gd name="connsiteY25" fmla="*/ 297109 h 566167"/>
                <a:gd name="connsiteX26" fmla="*/ 107156 w 108060"/>
                <a:gd name="connsiteY26" fmla="*/ 311021 h 566167"/>
                <a:gd name="connsiteX27" fmla="*/ 106037 w 108060"/>
                <a:gd name="connsiteY27" fmla="*/ 324814 h 566167"/>
                <a:gd name="connsiteX28" fmla="*/ 104482 w 108060"/>
                <a:gd name="connsiteY28" fmla="*/ 338477 h 566167"/>
                <a:gd name="connsiteX29" fmla="*/ 102499 w 108060"/>
                <a:gd name="connsiteY29" fmla="*/ 352007 h 566167"/>
                <a:gd name="connsiteX30" fmla="*/ 100094 w 108060"/>
                <a:gd name="connsiteY30" fmla="*/ 365395 h 566167"/>
                <a:gd name="connsiteX31" fmla="*/ 97275 w 108060"/>
                <a:gd name="connsiteY31" fmla="*/ 378634 h 566167"/>
                <a:gd name="connsiteX32" fmla="*/ 94047 w 108060"/>
                <a:gd name="connsiteY32" fmla="*/ 391718 h 566167"/>
                <a:gd name="connsiteX33" fmla="*/ 90419 w 108060"/>
                <a:gd name="connsiteY33" fmla="*/ 404638 h 566167"/>
                <a:gd name="connsiteX34" fmla="*/ 86398 w 108060"/>
                <a:gd name="connsiteY34" fmla="*/ 417390 h 566167"/>
                <a:gd name="connsiteX35" fmla="*/ 81990 w 108060"/>
                <a:gd name="connsiteY35" fmla="*/ 429965 h 566167"/>
                <a:gd name="connsiteX36" fmla="*/ 77203 w 108060"/>
                <a:gd name="connsiteY36" fmla="*/ 442356 h 566167"/>
                <a:gd name="connsiteX37" fmla="*/ 72042 w 108060"/>
                <a:gd name="connsiteY37" fmla="*/ 454556 h 566167"/>
                <a:gd name="connsiteX38" fmla="*/ 66516 w 108060"/>
                <a:gd name="connsiteY38" fmla="*/ 466559 h 566167"/>
                <a:gd name="connsiteX39" fmla="*/ 60632 w 108060"/>
                <a:gd name="connsiteY39" fmla="*/ 478357 h 566167"/>
                <a:gd name="connsiteX40" fmla="*/ 54396 w 108060"/>
                <a:gd name="connsiteY40" fmla="*/ 489944 h 566167"/>
                <a:gd name="connsiteX41" fmla="*/ 47816 w 108060"/>
                <a:gd name="connsiteY41" fmla="*/ 501312 h 566167"/>
                <a:gd name="connsiteX42" fmla="*/ 40898 w 108060"/>
                <a:gd name="connsiteY42" fmla="*/ 512454 h 566167"/>
                <a:gd name="connsiteX43" fmla="*/ 33649 w 108060"/>
                <a:gd name="connsiteY43" fmla="*/ 523363 h 566167"/>
                <a:gd name="connsiteX44" fmla="*/ 26077 w 108060"/>
                <a:gd name="connsiteY44" fmla="*/ 534033 h 566167"/>
                <a:gd name="connsiteX45" fmla="*/ 18188 w 108060"/>
                <a:gd name="connsiteY45" fmla="*/ 544457 h 566167"/>
                <a:gd name="connsiteX46" fmla="*/ 9989 w 108060"/>
                <a:gd name="connsiteY46" fmla="*/ 554627 h 566167"/>
                <a:gd name="connsiteX47" fmla="*/ 1488 w 108060"/>
                <a:gd name="connsiteY47" fmla="*/ 564536 h 566167"/>
                <a:gd name="connsiteX48" fmla="*/ 0 w 108060"/>
                <a:gd name="connsiteY48" fmla="*/ 566167 h 566167"/>
                <a:gd name="connsiteX0" fmla="*/ 1587 w 109647"/>
                <a:gd name="connsiteY0" fmla="*/ 0 h 566167"/>
                <a:gd name="connsiteX1" fmla="*/ 3075 w 109647"/>
                <a:gd name="connsiteY1" fmla="*/ 1630 h 566167"/>
                <a:gd name="connsiteX2" fmla="*/ 11576 w 109647"/>
                <a:gd name="connsiteY2" fmla="*/ 11539 h 566167"/>
                <a:gd name="connsiteX3" fmla="*/ 19775 w 109647"/>
                <a:gd name="connsiteY3" fmla="*/ 21709 h 566167"/>
                <a:gd name="connsiteX4" fmla="*/ 27664 w 109647"/>
                <a:gd name="connsiteY4" fmla="*/ 32133 h 566167"/>
                <a:gd name="connsiteX5" fmla="*/ 35236 w 109647"/>
                <a:gd name="connsiteY5" fmla="*/ 42803 h 566167"/>
                <a:gd name="connsiteX6" fmla="*/ 42485 w 109647"/>
                <a:gd name="connsiteY6" fmla="*/ 53713 h 566167"/>
                <a:gd name="connsiteX7" fmla="*/ 49403 w 109647"/>
                <a:gd name="connsiteY7" fmla="*/ 64855 h 566167"/>
                <a:gd name="connsiteX8" fmla="*/ 55983 w 109647"/>
                <a:gd name="connsiteY8" fmla="*/ 76223 h 566167"/>
                <a:gd name="connsiteX9" fmla="*/ 62219 w 109647"/>
                <a:gd name="connsiteY9" fmla="*/ 87809 h 566167"/>
                <a:gd name="connsiteX10" fmla="*/ 68103 w 109647"/>
                <a:gd name="connsiteY10" fmla="*/ 99607 h 566167"/>
                <a:gd name="connsiteX11" fmla="*/ 73629 w 109647"/>
                <a:gd name="connsiteY11" fmla="*/ 111610 h 566167"/>
                <a:gd name="connsiteX12" fmla="*/ 78790 w 109647"/>
                <a:gd name="connsiteY12" fmla="*/ 123811 h 566167"/>
                <a:gd name="connsiteX13" fmla="*/ 83577 w 109647"/>
                <a:gd name="connsiteY13" fmla="*/ 136201 h 566167"/>
                <a:gd name="connsiteX14" fmla="*/ 87985 w 109647"/>
                <a:gd name="connsiteY14" fmla="*/ 148776 h 566167"/>
                <a:gd name="connsiteX15" fmla="*/ 92006 w 109647"/>
                <a:gd name="connsiteY15" fmla="*/ 161528 h 566167"/>
                <a:gd name="connsiteX16" fmla="*/ 95634 w 109647"/>
                <a:gd name="connsiteY16" fmla="*/ 174449 h 566167"/>
                <a:gd name="connsiteX17" fmla="*/ 98862 w 109647"/>
                <a:gd name="connsiteY17" fmla="*/ 187532 h 566167"/>
                <a:gd name="connsiteX18" fmla="*/ 101681 w 109647"/>
                <a:gd name="connsiteY18" fmla="*/ 200771 h 566167"/>
                <a:gd name="connsiteX19" fmla="*/ 104086 w 109647"/>
                <a:gd name="connsiteY19" fmla="*/ 214159 h 566167"/>
                <a:gd name="connsiteX20" fmla="*/ 106069 w 109647"/>
                <a:gd name="connsiteY20" fmla="*/ 227689 h 566167"/>
                <a:gd name="connsiteX21" fmla="*/ 107624 w 109647"/>
                <a:gd name="connsiteY21" fmla="*/ 241353 h 566167"/>
                <a:gd name="connsiteX22" fmla="*/ 108743 w 109647"/>
                <a:gd name="connsiteY22" fmla="*/ 255145 h 566167"/>
                <a:gd name="connsiteX23" fmla="*/ 109420 w 109647"/>
                <a:gd name="connsiteY23" fmla="*/ 269057 h 566167"/>
                <a:gd name="connsiteX24" fmla="*/ 109647 w 109647"/>
                <a:gd name="connsiteY24" fmla="*/ 283083 h 566167"/>
                <a:gd name="connsiteX25" fmla="*/ 109420 w 109647"/>
                <a:gd name="connsiteY25" fmla="*/ 297109 h 566167"/>
                <a:gd name="connsiteX26" fmla="*/ 108743 w 109647"/>
                <a:gd name="connsiteY26" fmla="*/ 311021 h 566167"/>
                <a:gd name="connsiteX27" fmla="*/ 107624 w 109647"/>
                <a:gd name="connsiteY27" fmla="*/ 324814 h 566167"/>
                <a:gd name="connsiteX28" fmla="*/ 106069 w 109647"/>
                <a:gd name="connsiteY28" fmla="*/ 338477 h 566167"/>
                <a:gd name="connsiteX29" fmla="*/ 104086 w 109647"/>
                <a:gd name="connsiteY29" fmla="*/ 352007 h 566167"/>
                <a:gd name="connsiteX30" fmla="*/ 101681 w 109647"/>
                <a:gd name="connsiteY30" fmla="*/ 365395 h 566167"/>
                <a:gd name="connsiteX31" fmla="*/ 98862 w 109647"/>
                <a:gd name="connsiteY31" fmla="*/ 378634 h 566167"/>
                <a:gd name="connsiteX32" fmla="*/ 95634 w 109647"/>
                <a:gd name="connsiteY32" fmla="*/ 391718 h 566167"/>
                <a:gd name="connsiteX33" fmla="*/ 92006 w 109647"/>
                <a:gd name="connsiteY33" fmla="*/ 404638 h 566167"/>
                <a:gd name="connsiteX34" fmla="*/ 87985 w 109647"/>
                <a:gd name="connsiteY34" fmla="*/ 417390 h 566167"/>
                <a:gd name="connsiteX35" fmla="*/ 83577 w 109647"/>
                <a:gd name="connsiteY35" fmla="*/ 429965 h 566167"/>
                <a:gd name="connsiteX36" fmla="*/ 78790 w 109647"/>
                <a:gd name="connsiteY36" fmla="*/ 442356 h 566167"/>
                <a:gd name="connsiteX37" fmla="*/ 73629 w 109647"/>
                <a:gd name="connsiteY37" fmla="*/ 454556 h 566167"/>
                <a:gd name="connsiteX38" fmla="*/ 68103 w 109647"/>
                <a:gd name="connsiteY38" fmla="*/ 466559 h 566167"/>
                <a:gd name="connsiteX39" fmla="*/ 62219 w 109647"/>
                <a:gd name="connsiteY39" fmla="*/ 478357 h 566167"/>
                <a:gd name="connsiteX40" fmla="*/ 55983 w 109647"/>
                <a:gd name="connsiteY40" fmla="*/ 489944 h 566167"/>
                <a:gd name="connsiteX41" fmla="*/ 49403 w 109647"/>
                <a:gd name="connsiteY41" fmla="*/ 501312 h 566167"/>
                <a:gd name="connsiteX42" fmla="*/ 42485 w 109647"/>
                <a:gd name="connsiteY42" fmla="*/ 512454 h 566167"/>
                <a:gd name="connsiteX43" fmla="*/ 35236 w 109647"/>
                <a:gd name="connsiteY43" fmla="*/ 523363 h 566167"/>
                <a:gd name="connsiteX44" fmla="*/ 27664 w 109647"/>
                <a:gd name="connsiteY44" fmla="*/ 534033 h 566167"/>
                <a:gd name="connsiteX45" fmla="*/ 19775 w 109647"/>
                <a:gd name="connsiteY45" fmla="*/ 544457 h 566167"/>
                <a:gd name="connsiteX46" fmla="*/ 11576 w 109647"/>
                <a:gd name="connsiteY46" fmla="*/ 554627 h 566167"/>
                <a:gd name="connsiteX47" fmla="*/ 3075 w 109647"/>
                <a:gd name="connsiteY47" fmla="*/ 564536 h 566167"/>
                <a:gd name="connsiteX48" fmla="*/ 1587 w 109647"/>
                <a:gd name="connsiteY48" fmla="*/ 566167 h 566167"/>
                <a:gd name="connsiteX49" fmla="*/ 0 w 109647"/>
                <a:gd name="connsiteY49" fmla="*/ 257955 h 566167"/>
                <a:gd name="connsiteX50" fmla="*/ 1587 w 109647"/>
                <a:gd name="connsiteY50" fmla="*/ 0 h 566167"/>
                <a:gd name="connsiteX0" fmla="*/ 0 w 109647"/>
                <a:gd name="connsiteY0" fmla="*/ 257955 h 566167"/>
                <a:gd name="connsiteX1" fmla="*/ 1587 w 109647"/>
                <a:gd name="connsiteY1" fmla="*/ 0 h 566167"/>
                <a:gd name="connsiteX2" fmla="*/ 3075 w 109647"/>
                <a:gd name="connsiteY2" fmla="*/ 1630 h 566167"/>
                <a:gd name="connsiteX3" fmla="*/ 11576 w 109647"/>
                <a:gd name="connsiteY3" fmla="*/ 11539 h 566167"/>
                <a:gd name="connsiteX4" fmla="*/ 19775 w 109647"/>
                <a:gd name="connsiteY4" fmla="*/ 21709 h 566167"/>
                <a:gd name="connsiteX5" fmla="*/ 27664 w 109647"/>
                <a:gd name="connsiteY5" fmla="*/ 32133 h 566167"/>
                <a:gd name="connsiteX6" fmla="*/ 35236 w 109647"/>
                <a:gd name="connsiteY6" fmla="*/ 42803 h 566167"/>
                <a:gd name="connsiteX7" fmla="*/ 42485 w 109647"/>
                <a:gd name="connsiteY7" fmla="*/ 53713 h 566167"/>
                <a:gd name="connsiteX8" fmla="*/ 49403 w 109647"/>
                <a:gd name="connsiteY8" fmla="*/ 64855 h 566167"/>
                <a:gd name="connsiteX9" fmla="*/ 55983 w 109647"/>
                <a:gd name="connsiteY9" fmla="*/ 76223 h 566167"/>
                <a:gd name="connsiteX10" fmla="*/ 62219 w 109647"/>
                <a:gd name="connsiteY10" fmla="*/ 87809 h 566167"/>
                <a:gd name="connsiteX11" fmla="*/ 68103 w 109647"/>
                <a:gd name="connsiteY11" fmla="*/ 99607 h 566167"/>
                <a:gd name="connsiteX12" fmla="*/ 73629 w 109647"/>
                <a:gd name="connsiteY12" fmla="*/ 111610 h 566167"/>
                <a:gd name="connsiteX13" fmla="*/ 78790 w 109647"/>
                <a:gd name="connsiteY13" fmla="*/ 123811 h 566167"/>
                <a:gd name="connsiteX14" fmla="*/ 83577 w 109647"/>
                <a:gd name="connsiteY14" fmla="*/ 136201 h 566167"/>
                <a:gd name="connsiteX15" fmla="*/ 87985 w 109647"/>
                <a:gd name="connsiteY15" fmla="*/ 148776 h 566167"/>
                <a:gd name="connsiteX16" fmla="*/ 92006 w 109647"/>
                <a:gd name="connsiteY16" fmla="*/ 161528 h 566167"/>
                <a:gd name="connsiteX17" fmla="*/ 95634 w 109647"/>
                <a:gd name="connsiteY17" fmla="*/ 174449 h 566167"/>
                <a:gd name="connsiteX18" fmla="*/ 98862 w 109647"/>
                <a:gd name="connsiteY18" fmla="*/ 187532 h 566167"/>
                <a:gd name="connsiteX19" fmla="*/ 101681 w 109647"/>
                <a:gd name="connsiteY19" fmla="*/ 200771 h 566167"/>
                <a:gd name="connsiteX20" fmla="*/ 104086 w 109647"/>
                <a:gd name="connsiteY20" fmla="*/ 214159 h 566167"/>
                <a:gd name="connsiteX21" fmla="*/ 106069 w 109647"/>
                <a:gd name="connsiteY21" fmla="*/ 227689 h 566167"/>
                <a:gd name="connsiteX22" fmla="*/ 107624 w 109647"/>
                <a:gd name="connsiteY22" fmla="*/ 241353 h 566167"/>
                <a:gd name="connsiteX23" fmla="*/ 108743 w 109647"/>
                <a:gd name="connsiteY23" fmla="*/ 255145 h 566167"/>
                <a:gd name="connsiteX24" fmla="*/ 109420 w 109647"/>
                <a:gd name="connsiteY24" fmla="*/ 269057 h 566167"/>
                <a:gd name="connsiteX25" fmla="*/ 109647 w 109647"/>
                <a:gd name="connsiteY25" fmla="*/ 283083 h 566167"/>
                <a:gd name="connsiteX26" fmla="*/ 109420 w 109647"/>
                <a:gd name="connsiteY26" fmla="*/ 297109 h 566167"/>
                <a:gd name="connsiteX27" fmla="*/ 108743 w 109647"/>
                <a:gd name="connsiteY27" fmla="*/ 311021 h 566167"/>
                <a:gd name="connsiteX28" fmla="*/ 107624 w 109647"/>
                <a:gd name="connsiteY28" fmla="*/ 324814 h 566167"/>
                <a:gd name="connsiteX29" fmla="*/ 106069 w 109647"/>
                <a:gd name="connsiteY29" fmla="*/ 338477 h 566167"/>
                <a:gd name="connsiteX30" fmla="*/ 104086 w 109647"/>
                <a:gd name="connsiteY30" fmla="*/ 352007 h 566167"/>
                <a:gd name="connsiteX31" fmla="*/ 101681 w 109647"/>
                <a:gd name="connsiteY31" fmla="*/ 365395 h 566167"/>
                <a:gd name="connsiteX32" fmla="*/ 98862 w 109647"/>
                <a:gd name="connsiteY32" fmla="*/ 378634 h 566167"/>
                <a:gd name="connsiteX33" fmla="*/ 95634 w 109647"/>
                <a:gd name="connsiteY33" fmla="*/ 391718 h 566167"/>
                <a:gd name="connsiteX34" fmla="*/ 92006 w 109647"/>
                <a:gd name="connsiteY34" fmla="*/ 404638 h 566167"/>
                <a:gd name="connsiteX35" fmla="*/ 87985 w 109647"/>
                <a:gd name="connsiteY35" fmla="*/ 417390 h 566167"/>
                <a:gd name="connsiteX36" fmla="*/ 83577 w 109647"/>
                <a:gd name="connsiteY36" fmla="*/ 429965 h 566167"/>
                <a:gd name="connsiteX37" fmla="*/ 78790 w 109647"/>
                <a:gd name="connsiteY37" fmla="*/ 442356 h 566167"/>
                <a:gd name="connsiteX38" fmla="*/ 73629 w 109647"/>
                <a:gd name="connsiteY38" fmla="*/ 454556 h 566167"/>
                <a:gd name="connsiteX39" fmla="*/ 68103 w 109647"/>
                <a:gd name="connsiteY39" fmla="*/ 466559 h 566167"/>
                <a:gd name="connsiteX40" fmla="*/ 62219 w 109647"/>
                <a:gd name="connsiteY40" fmla="*/ 478357 h 566167"/>
                <a:gd name="connsiteX41" fmla="*/ 55983 w 109647"/>
                <a:gd name="connsiteY41" fmla="*/ 489944 h 566167"/>
                <a:gd name="connsiteX42" fmla="*/ 49403 w 109647"/>
                <a:gd name="connsiteY42" fmla="*/ 501312 h 566167"/>
                <a:gd name="connsiteX43" fmla="*/ 42485 w 109647"/>
                <a:gd name="connsiteY43" fmla="*/ 512454 h 566167"/>
                <a:gd name="connsiteX44" fmla="*/ 35236 w 109647"/>
                <a:gd name="connsiteY44" fmla="*/ 523363 h 566167"/>
                <a:gd name="connsiteX45" fmla="*/ 27664 w 109647"/>
                <a:gd name="connsiteY45" fmla="*/ 534033 h 566167"/>
                <a:gd name="connsiteX46" fmla="*/ 19775 w 109647"/>
                <a:gd name="connsiteY46" fmla="*/ 544457 h 566167"/>
                <a:gd name="connsiteX47" fmla="*/ 11576 w 109647"/>
                <a:gd name="connsiteY47" fmla="*/ 554627 h 566167"/>
                <a:gd name="connsiteX48" fmla="*/ 3075 w 109647"/>
                <a:gd name="connsiteY48" fmla="*/ 564536 h 566167"/>
                <a:gd name="connsiteX49" fmla="*/ 1587 w 109647"/>
                <a:gd name="connsiteY49" fmla="*/ 566167 h 566167"/>
                <a:gd name="connsiteX50" fmla="*/ 91440 w 109647"/>
                <a:gd name="connsiteY50" fmla="*/ 349395 h 566167"/>
                <a:gd name="connsiteX0" fmla="*/ 0 w 109647"/>
                <a:gd name="connsiteY0" fmla="*/ 257955 h 566167"/>
                <a:gd name="connsiteX1" fmla="*/ 1587 w 109647"/>
                <a:gd name="connsiteY1" fmla="*/ 0 h 566167"/>
                <a:gd name="connsiteX2" fmla="*/ 3075 w 109647"/>
                <a:gd name="connsiteY2" fmla="*/ 1630 h 566167"/>
                <a:gd name="connsiteX3" fmla="*/ 11576 w 109647"/>
                <a:gd name="connsiteY3" fmla="*/ 11539 h 566167"/>
                <a:gd name="connsiteX4" fmla="*/ 19775 w 109647"/>
                <a:gd name="connsiteY4" fmla="*/ 21709 h 566167"/>
                <a:gd name="connsiteX5" fmla="*/ 27664 w 109647"/>
                <a:gd name="connsiteY5" fmla="*/ 32133 h 566167"/>
                <a:gd name="connsiteX6" fmla="*/ 35236 w 109647"/>
                <a:gd name="connsiteY6" fmla="*/ 42803 h 566167"/>
                <a:gd name="connsiteX7" fmla="*/ 42485 w 109647"/>
                <a:gd name="connsiteY7" fmla="*/ 53713 h 566167"/>
                <a:gd name="connsiteX8" fmla="*/ 49403 w 109647"/>
                <a:gd name="connsiteY8" fmla="*/ 64855 h 566167"/>
                <a:gd name="connsiteX9" fmla="*/ 55983 w 109647"/>
                <a:gd name="connsiteY9" fmla="*/ 76223 h 566167"/>
                <a:gd name="connsiteX10" fmla="*/ 62219 w 109647"/>
                <a:gd name="connsiteY10" fmla="*/ 87809 h 566167"/>
                <a:gd name="connsiteX11" fmla="*/ 68103 w 109647"/>
                <a:gd name="connsiteY11" fmla="*/ 99607 h 566167"/>
                <a:gd name="connsiteX12" fmla="*/ 73629 w 109647"/>
                <a:gd name="connsiteY12" fmla="*/ 111610 h 566167"/>
                <a:gd name="connsiteX13" fmla="*/ 78790 w 109647"/>
                <a:gd name="connsiteY13" fmla="*/ 123811 h 566167"/>
                <a:gd name="connsiteX14" fmla="*/ 83577 w 109647"/>
                <a:gd name="connsiteY14" fmla="*/ 136201 h 566167"/>
                <a:gd name="connsiteX15" fmla="*/ 87985 w 109647"/>
                <a:gd name="connsiteY15" fmla="*/ 148776 h 566167"/>
                <a:gd name="connsiteX16" fmla="*/ 92006 w 109647"/>
                <a:gd name="connsiteY16" fmla="*/ 161528 h 566167"/>
                <a:gd name="connsiteX17" fmla="*/ 95634 w 109647"/>
                <a:gd name="connsiteY17" fmla="*/ 174449 h 566167"/>
                <a:gd name="connsiteX18" fmla="*/ 98862 w 109647"/>
                <a:gd name="connsiteY18" fmla="*/ 187532 h 566167"/>
                <a:gd name="connsiteX19" fmla="*/ 101681 w 109647"/>
                <a:gd name="connsiteY19" fmla="*/ 200771 h 566167"/>
                <a:gd name="connsiteX20" fmla="*/ 104086 w 109647"/>
                <a:gd name="connsiteY20" fmla="*/ 214159 h 566167"/>
                <a:gd name="connsiteX21" fmla="*/ 106069 w 109647"/>
                <a:gd name="connsiteY21" fmla="*/ 227689 h 566167"/>
                <a:gd name="connsiteX22" fmla="*/ 107624 w 109647"/>
                <a:gd name="connsiteY22" fmla="*/ 241353 h 566167"/>
                <a:gd name="connsiteX23" fmla="*/ 108743 w 109647"/>
                <a:gd name="connsiteY23" fmla="*/ 255145 h 566167"/>
                <a:gd name="connsiteX24" fmla="*/ 109420 w 109647"/>
                <a:gd name="connsiteY24" fmla="*/ 269057 h 566167"/>
                <a:gd name="connsiteX25" fmla="*/ 109647 w 109647"/>
                <a:gd name="connsiteY25" fmla="*/ 283083 h 566167"/>
                <a:gd name="connsiteX26" fmla="*/ 109420 w 109647"/>
                <a:gd name="connsiteY26" fmla="*/ 297109 h 566167"/>
                <a:gd name="connsiteX27" fmla="*/ 108743 w 109647"/>
                <a:gd name="connsiteY27" fmla="*/ 311021 h 566167"/>
                <a:gd name="connsiteX28" fmla="*/ 107624 w 109647"/>
                <a:gd name="connsiteY28" fmla="*/ 324814 h 566167"/>
                <a:gd name="connsiteX29" fmla="*/ 106069 w 109647"/>
                <a:gd name="connsiteY29" fmla="*/ 338477 h 566167"/>
                <a:gd name="connsiteX30" fmla="*/ 104086 w 109647"/>
                <a:gd name="connsiteY30" fmla="*/ 352007 h 566167"/>
                <a:gd name="connsiteX31" fmla="*/ 101681 w 109647"/>
                <a:gd name="connsiteY31" fmla="*/ 365395 h 566167"/>
                <a:gd name="connsiteX32" fmla="*/ 98862 w 109647"/>
                <a:gd name="connsiteY32" fmla="*/ 378634 h 566167"/>
                <a:gd name="connsiteX33" fmla="*/ 95634 w 109647"/>
                <a:gd name="connsiteY33" fmla="*/ 391718 h 566167"/>
                <a:gd name="connsiteX34" fmla="*/ 92006 w 109647"/>
                <a:gd name="connsiteY34" fmla="*/ 404638 h 566167"/>
                <a:gd name="connsiteX35" fmla="*/ 87985 w 109647"/>
                <a:gd name="connsiteY35" fmla="*/ 417390 h 566167"/>
                <a:gd name="connsiteX36" fmla="*/ 83577 w 109647"/>
                <a:gd name="connsiteY36" fmla="*/ 429965 h 566167"/>
                <a:gd name="connsiteX37" fmla="*/ 78790 w 109647"/>
                <a:gd name="connsiteY37" fmla="*/ 442356 h 566167"/>
                <a:gd name="connsiteX38" fmla="*/ 73629 w 109647"/>
                <a:gd name="connsiteY38" fmla="*/ 454556 h 566167"/>
                <a:gd name="connsiteX39" fmla="*/ 68103 w 109647"/>
                <a:gd name="connsiteY39" fmla="*/ 466559 h 566167"/>
                <a:gd name="connsiteX40" fmla="*/ 62219 w 109647"/>
                <a:gd name="connsiteY40" fmla="*/ 478357 h 566167"/>
                <a:gd name="connsiteX41" fmla="*/ 55983 w 109647"/>
                <a:gd name="connsiteY41" fmla="*/ 489944 h 566167"/>
                <a:gd name="connsiteX42" fmla="*/ 49403 w 109647"/>
                <a:gd name="connsiteY42" fmla="*/ 501312 h 566167"/>
                <a:gd name="connsiteX43" fmla="*/ 42485 w 109647"/>
                <a:gd name="connsiteY43" fmla="*/ 512454 h 566167"/>
                <a:gd name="connsiteX44" fmla="*/ 35236 w 109647"/>
                <a:gd name="connsiteY44" fmla="*/ 523363 h 566167"/>
                <a:gd name="connsiteX45" fmla="*/ 27664 w 109647"/>
                <a:gd name="connsiteY45" fmla="*/ 534033 h 566167"/>
                <a:gd name="connsiteX46" fmla="*/ 19775 w 109647"/>
                <a:gd name="connsiteY46" fmla="*/ 544457 h 566167"/>
                <a:gd name="connsiteX47" fmla="*/ 11576 w 109647"/>
                <a:gd name="connsiteY47" fmla="*/ 554627 h 566167"/>
                <a:gd name="connsiteX48" fmla="*/ 3075 w 109647"/>
                <a:gd name="connsiteY48" fmla="*/ 564536 h 566167"/>
                <a:gd name="connsiteX49" fmla="*/ 1587 w 109647"/>
                <a:gd name="connsiteY49" fmla="*/ 566167 h 566167"/>
                <a:gd name="connsiteX0" fmla="*/ 0 w 108060"/>
                <a:gd name="connsiteY0" fmla="*/ 0 h 566167"/>
                <a:gd name="connsiteX1" fmla="*/ 1488 w 108060"/>
                <a:gd name="connsiteY1" fmla="*/ 1630 h 566167"/>
                <a:gd name="connsiteX2" fmla="*/ 9989 w 108060"/>
                <a:gd name="connsiteY2" fmla="*/ 11539 h 566167"/>
                <a:gd name="connsiteX3" fmla="*/ 18188 w 108060"/>
                <a:gd name="connsiteY3" fmla="*/ 21709 h 566167"/>
                <a:gd name="connsiteX4" fmla="*/ 26077 w 108060"/>
                <a:gd name="connsiteY4" fmla="*/ 32133 h 566167"/>
                <a:gd name="connsiteX5" fmla="*/ 33649 w 108060"/>
                <a:gd name="connsiteY5" fmla="*/ 42803 h 566167"/>
                <a:gd name="connsiteX6" fmla="*/ 40898 w 108060"/>
                <a:gd name="connsiteY6" fmla="*/ 53713 h 566167"/>
                <a:gd name="connsiteX7" fmla="*/ 47816 w 108060"/>
                <a:gd name="connsiteY7" fmla="*/ 64855 h 566167"/>
                <a:gd name="connsiteX8" fmla="*/ 54396 w 108060"/>
                <a:gd name="connsiteY8" fmla="*/ 76223 h 566167"/>
                <a:gd name="connsiteX9" fmla="*/ 60632 w 108060"/>
                <a:gd name="connsiteY9" fmla="*/ 87809 h 566167"/>
                <a:gd name="connsiteX10" fmla="*/ 66516 w 108060"/>
                <a:gd name="connsiteY10" fmla="*/ 99607 h 566167"/>
                <a:gd name="connsiteX11" fmla="*/ 72042 w 108060"/>
                <a:gd name="connsiteY11" fmla="*/ 111610 h 566167"/>
                <a:gd name="connsiteX12" fmla="*/ 77203 w 108060"/>
                <a:gd name="connsiteY12" fmla="*/ 123811 h 566167"/>
                <a:gd name="connsiteX13" fmla="*/ 81990 w 108060"/>
                <a:gd name="connsiteY13" fmla="*/ 136201 h 566167"/>
                <a:gd name="connsiteX14" fmla="*/ 86398 w 108060"/>
                <a:gd name="connsiteY14" fmla="*/ 148776 h 566167"/>
                <a:gd name="connsiteX15" fmla="*/ 90419 w 108060"/>
                <a:gd name="connsiteY15" fmla="*/ 161528 h 566167"/>
                <a:gd name="connsiteX16" fmla="*/ 94047 w 108060"/>
                <a:gd name="connsiteY16" fmla="*/ 174449 h 566167"/>
                <a:gd name="connsiteX17" fmla="*/ 97275 w 108060"/>
                <a:gd name="connsiteY17" fmla="*/ 187532 h 566167"/>
                <a:gd name="connsiteX18" fmla="*/ 100094 w 108060"/>
                <a:gd name="connsiteY18" fmla="*/ 200771 h 566167"/>
                <a:gd name="connsiteX19" fmla="*/ 102499 w 108060"/>
                <a:gd name="connsiteY19" fmla="*/ 214159 h 566167"/>
                <a:gd name="connsiteX20" fmla="*/ 104482 w 108060"/>
                <a:gd name="connsiteY20" fmla="*/ 227689 h 566167"/>
                <a:gd name="connsiteX21" fmla="*/ 106037 w 108060"/>
                <a:gd name="connsiteY21" fmla="*/ 241353 h 566167"/>
                <a:gd name="connsiteX22" fmla="*/ 107156 w 108060"/>
                <a:gd name="connsiteY22" fmla="*/ 255145 h 566167"/>
                <a:gd name="connsiteX23" fmla="*/ 107833 w 108060"/>
                <a:gd name="connsiteY23" fmla="*/ 269057 h 566167"/>
                <a:gd name="connsiteX24" fmla="*/ 108060 w 108060"/>
                <a:gd name="connsiteY24" fmla="*/ 283083 h 566167"/>
                <a:gd name="connsiteX25" fmla="*/ 107833 w 108060"/>
                <a:gd name="connsiteY25" fmla="*/ 297109 h 566167"/>
                <a:gd name="connsiteX26" fmla="*/ 107156 w 108060"/>
                <a:gd name="connsiteY26" fmla="*/ 311021 h 566167"/>
                <a:gd name="connsiteX27" fmla="*/ 106037 w 108060"/>
                <a:gd name="connsiteY27" fmla="*/ 324814 h 566167"/>
                <a:gd name="connsiteX28" fmla="*/ 104482 w 108060"/>
                <a:gd name="connsiteY28" fmla="*/ 338477 h 566167"/>
                <a:gd name="connsiteX29" fmla="*/ 102499 w 108060"/>
                <a:gd name="connsiteY29" fmla="*/ 352007 h 566167"/>
                <a:gd name="connsiteX30" fmla="*/ 100094 w 108060"/>
                <a:gd name="connsiteY30" fmla="*/ 365395 h 566167"/>
                <a:gd name="connsiteX31" fmla="*/ 97275 w 108060"/>
                <a:gd name="connsiteY31" fmla="*/ 378634 h 566167"/>
                <a:gd name="connsiteX32" fmla="*/ 94047 w 108060"/>
                <a:gd name="connsiteY32" fmla="*/ 391718 h 566167"/>
                <a:gd name="connsiteX33" fmla="*/ 90419 w 108060"/>
                <a:gd name="connsiteY33" fmla="*/ 404638 h 566167"/>
                <a:gd name="connsiteX34" fmla="*/ 86398 w 108060"/>
                <a:gd name="connsiteY34" fmla="*/ 417390 h 566167"/>
                <a:gd name="connsiteX35" fmla="*/ 81990 w 108060"/>
                <a:gd name="connsiteY35" fmla="*/ 429965 h 566167"/>
                <a:gd name="connsiteX36" fmla="*/ 77203 w 108060"/>
                <a:gd name="connsiteY36" fmla="*/ 442356 h 566167"/>
                <a:gd name="connsiteX37" fmla="*/ 72042 w 108060"/>
                <a:gd name="connsiteY37" fmla="*/ 454556 h 566167"/>
                <a:gd name="connsiteX38" fmla="*/ 66516 w 108060"/>
                <a:gd name="connsiteY38" fmla="*/ 466559 h 566167"/>
                <a:gd name="connsiteX39" fmla="*/ 60632 w 108060"/>
                <a:gd name="connsiteY39" fmla="*/ 478357 h 566167"/>
                <a:gd name="connsiteX40" fmla="*/ 54396 w 108060"/>
                <a:gd name="connsiteY40" fmla="*/ 489944 h 566167"/>
                <a:gd name="connsiteX41" fmla="*/ 47816 w 108060"/>
                <a:gd name="connsiteY41" fmla="*/ 501312 h 566167"/>
                <a:gd name="connsiteX42" fmla="*/ 40898 w 108060"/>
                <a:gd name="connsiteY42" fmla="*/ 512454 h 566167"/>
                <a:gd name="connsiteX43" fmla="*/ 33649 w 108060"/>
                <a:gd name="connsiteY43" fmla="*/ 523363 h 566167"/>
                <a:gd name="connsiteX44" fmla="*/ 26077 w 108060"/>
                <a:gd name="connsiteY44" fmla="*/ 534033 h 566167"/>
                <a:gd name="connsiteX45" fmla="*/ 18188 w 108060"/>
                <a:gd name="connsiteY45" fmla="*/ 544457 h 566167"/>
                <a:gd name="connsiteX46" fmla="*/ 9989 w 108060"/>
                <a:gd name="connsiteY46" fmla="*/ 554627 h 566167"/>
                <a:gd name="connsiteX47" fmla="*/ 1488 w 108060"/>
                <a:gd name="connsiteY47" fmla="*/ 564536 h 566167"/>
                <a:gd name="connsiteX48" fmla="*/ 0 w 108060"/>
                <a:gd name="connsiteY48" fmla="*/ 566167 h 566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8060" h="566167">
                  <a:moveTo>
                    <a:pt x="0" y="0"/>
                  </a:moveTo>
                  <a:lnTo>
                    <a:pt x="1488" y="1630"/>
                  </a:lnTo>
                  <a:lnTo>
                    <a:pt x="9989" y="11539"/>
                  </a:lnTo>
                  <a:lnTo>
                    <a:pt x="18188" y="21709"/>
                  </a:lnTo>
                  <a:lnTo>
                    <a:pt x="26077" y="32133"/>
                  </a:lnTo>
                  <a:lnTo>
                    <a:pt x="33649" y="42803"/>
                  </a:lnTo>
                  <a:lnTo>
                    <a:pt x="40898" y="53713"/>
                  </a:lnTo>
                  <a:lnTo>
                    <a:pt x="47816" y="64855"/>
                  </a:lnTo>
                  <a:lnTo>
                    <a:pt x="54396" y="76223"/>
                  </a:lnTo>
                  <a:lnTo>
                    <a:pt x="60632" y="87809"/>
                  </a:lnTo>
                  <a:lnTo>
                    <a:pt x="66516" y="99607"/>
                  </a:lnTo>
                  <a:lnTo>
                    <a:pt x="72042" y="111610"/>
                  </a:lnTo>
                  <a:lnTo>
                    <a:pt x="77203" y="123811"/>
                  </a:lnTo>
                  <a:lnTo>
                    <a:pt x="81990" y="136201"/>
                  </a:lnTo>
                  <a:lnTo>
                    <a:pt x="86398" y="148776"/>
                  </a:lnTo>
                  <a:lnTo>
                    <a:pt x="90419" y="161528"/>
                  </a:lnTo>
                  <a:lnTo>
                    <a:pt x="94047" y="174449"/>
                  </a:lnTo>
                  <a:lnTo>
                    <a:pt x="97275" y="187532"/>
                  </a:lnTo>
                  <a:lnTo>
                    <a:pt x="100094" y="200771"/>
                  </a:lnTo>
                  <a:lnTo>
                    <a:pt x="102499" y="214159"/>
                  </a:lnTo>
                  <a:lnTo>
                    <a:pt x="104482" y="227689"/>
                  </a:lnTo>
                  <a:lnTo>
                    <a:pt x="106037" y="241353"/>
                  </a:lnTo>
                  <a:lnTo>
                    <a:pt x="107156" y="255145"/>
                  </a:lnTo>
                  <a:cubicBezTo>
                    <a:pt x="107382" y="259782"/>
                    <a:pt x="107607" y="264420"/>
                    <a:pt x="107833" y="269057"/>
                  </a:cubicBezTo>
                  <a:cubicBezTo>
                    <a:pt x="107909" y="273732"/>
                    <a:pt x="107984" y="278408"/>
                    <a:pt x="108060" y="283083"/>
                  </a:cubicBezTo>
                  <a:cubicBezTo>
                    <a:pt x="107984" y="287758"/>
                    <a:pt x="107909" y="292434"/>
                    <a:pt x="107833" y="297109"/>
                  </a:cubicBezTo>
                  <a:cubicBezTo>
                    <a:pt x="107607" y="301746"/>
                    <a:pt x="107382" y="306384"/>
                    <a:pt x="107156" y="311021"/>
                  </a:cubicBezTo>
                  <a:lnTo>
                    <a:pt x="106037" y="324814"/>
                  </a:lnTo>
                  <a:lnTo>
                    <a:pt x="104482" y="338477"/>
                  </a:lnTo>
                  <a:lnTo>
                    <a:pt x="102499" y="352007"/>
                  </a:lnTo>
                  <a:lnTo>
                    <a:pt x="100094" y="365395"/>
                  </a:lnTo>
                  <a:lnTo>
                    <a:pt x="97275" y="378634"/>
                  </a:lnTo>
                  <a:lnTo>
                    <a:pt x="94047" y="391718"/>
                  </a:lnTo>
                  <a:lnTo>
                    <a:pt x="90419" y="404638"/>
                  </a:lnTo>
                  <a:lnTo>
                    <a:pt x="86398" y="417390"/>
                  </a:lnTo>
                  <a:lnTo>
                    <a:pt x="81990" y="429965"/>
                  </a:lnTo>
                  <a:lnTo>
                    <a:pt x="77203" y="442356"/>
                  </a:lnTo>
                  <a:lnTo>
                    <a:pt x="72042" y="454556"/>
                  </a:lnTo>
                  <a:lnTo>
                    <a:pt x="66516" y="466559"/>
                  </a:lnTo>
                  <a:lnTo>
                    <a:pt x="60632" y="478357"/>
                  </a:lnTo>
                  <a:lnTo>
                    <a:pt x="54396" y="489944"/>
                  </a:lnTo>
                  <a:lnTo>
                    <a:pt x="47816" y="501312"/>
                  </a:lnTo>
                  <a:lnTo>
                    <a:pt x="40898" y="512454"/>
                  </a:lnTo>
                  <a:lnTo>
                    <a:pt x="33649" y="523363"/>
                  </a:lnTo>
                  <a:lnTo>
                    <a:pt x="26077" y="534033"/>
                  </a:lnTo>
                  <a:lnTo>
                    <a:pt x="18188" y="544457"/>
                  </a:lnTo>
                  <a:lnTo>
                    <a:pt x="9989" y="554627"/>
                  </a:lnTo>
                  <a:lnTo>
                    <a:pt x="1488" y="564536"/>
                  </a:lnTo>
                  <a:lnTo>
                    <a:pt x="0" y="566167"/>
                  </a:lnTo>
                </a:path>
              </a:pathLst>
            </a:custGeom>
            <a:noFill/>
            <a:ln w="28575">
              <a:solidFill>
                <a:schemeClr val="accent1">
                  <a:lumMod val="75000"/>
                  <a:alpha val="41000"/>
                </a:schemeClr>
              </a:solidFill>
            </a:ln>
          </p:spPr>
          <p:txBody>
            <a:bodyPr wrap="square" lIns="0" tIns="0" rIns="0" bIns="0" rtlCol="0"/>
            <a:lstStyle/>
            <a:p>
              <a:pPr lvl="0"/>
              <a:endParaRPr lang="en-GB" sz="496" noProof="0"/>
            </a:p>
          </p:txBody>
        </p:sp>
      </p:grpSp>
    </p:spTree>
    <p:extLst>
      <p:ext uri="{BB962C8B-B14F-4D97-AF65-F5344CB8AC3E}">
        <p14:creationId xmlns:p14="http://schemas.microsoft.com/office/powerpoint/2010/main" val="197346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2_Titeldia">
    <p:bg>
      <p:bgPr>
        <a:solidFill>
          <a:schemeClr val="accent3"/>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accent5">
                    <a:lumMod val="75000"/>
                    <a:lumOff val="25000"/>
                  </a:schemeClr>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accent5">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accent5">
                    <a:lumMod val="75000"/>
                    <a:lumOff val="25000"/>
                  </a:schemeClr>
                </a:solidFill>
              </a:defRPr>
            </a:lvl1pPr>
          </a:lstStyle>
          <a:p>
            <a:fld id="{022FBEFF-EBBF-4E87-8B40-6CCE83520150}" type="datetime1">
              <a:rPr lang="nl-BE" smtClean="0"/>
              <a:pPr/>
              <a:t>30/05/2023</a:t>
            </a:fld>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accent5">
                    <a:lumMod val="75000"/>
                    <a:lumOff val="25000"/>
                  </a:schemeClr>
                </a:solidFill>
              </a:defRPr>
            </a:lvl1pPr>
          </a:lstStyle>
          <a:p>
            <a:endParaRPr lang="nl-BE" dirty="0">
              <a:solidFill>
                <a:schemeClr val="accent5">
                  <a:lumMod val="75000"/>
                  <a:lumOff val="25000"/>
                </a:schemeClr>
              </a:solidFill>
            </a:endParaRPr>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accent5">
                    <a:lumMod val="75000"/>
                    <a:lumOff val="25000"/>
                  </a:schemeClr>
                </a:solidFill>
              </a:defRPr>
            </a:lvl1p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39100511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DA1A63F0-2124-452A-9532-8B1E39D3F140}"/>
              </a:ext>
            </a:extLst>
          </p:cNvPr>
          <p:cNvSpPr/>
          <p:nvPr userDrawn="1">
            <p:custDataLst>
              <p:tags r:id="rId1"/>
            </p:custDataLst>
          </p:nvPr>
        </p:nvSpPr>
        <p:spPr>
          <a:xfrm>
            <a:off x="0"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spcBef>
                <a:spcPts val="400"/>
              </a:spcBef>
            </a:pPr>
            <a:endParaRPr lang="en-US" sz="1200" b="0">
              <a:solidFill>
                <a:schemeClr val="tx1"/>
              </a:solidFill>
            </a:endParaRPr>
          </a:p>
        </p:txBody>
      </p:sp>
      <p:graphicFrame>
        <p:nvGraphicFramePr>
          <p:cNvPr id="3" name="Object 2" hidden="1">
            <a:extLst>
              <a:ext uri="{FF2B5EF4-FFF2-40B4-BE49-F238E27FC236}">
                <a16:creationId xmlns:a16="http://schemas.microsoft.com/office/drawing/2014/main" id="{AE13CA05-8434-4D1D-9BA9-7D5AE88FA0B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3" name="Object 2" hidden="1">
                        <a:extLst>
                          <a:ext uri="{FF2B5EF4-FFF2-40B4-BE49-F238E27FC236}">
                            <a16:creationId xmlns:a16="http://schemas.microsoft.com/office/drawing/2014/main" id="{AE13CA05-8434-4D1D-9BA9-7D5AE88FA0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bReference" hidden="1">
            <a:extLst>
              <a:ext uri="{FF2B5EF4-FFF2-40B4-BE49-F238E27FC236}">
                <a16:creationId xmlns:a16="http://schemas.microsoft.com/office/drawing/2014/main" id="{B6A4C003-8A08-49B6-AEA5-4B85E65FAE56}"/>
              </a:ext>
            </a:extLst>
          </p:cNvPr>
          <p:cNvSpPr>
            <a:spLocks/>
          </p:cNvSpPr>
          <p:nvPr/>
        </p:nvSpPr>
        <p:spPr>
          <a:xfrm>
            <a:off x="414000" y="2024062"/>
            <a:ext cx="11381174"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a:solidFill>
                  <a:srgbClr val="E2262D"/>
                </a:solidFill>
              </a:rPr>
              <a:t>!! REQUIRED – Reference area !!</a:t>
            </a:r>
          </a:p>
        </p:txBody>
      </p:sp>
      <p:pic>
        <p:nvPicPr>
          <p:cNvPr id="8" name="Afbeelding 4" descr="LOGO_LINES.eps">
            <a:extLst>
              <a:ext uri="{FF2B5EF4-FFF2-40B4-BE49-F238E27FC236}">
                <a16:creationId xmlns:a16="http://schemas.microsoft.com/office/drawing/2014/main" id="{97C022D4-54E6-4D8B-B3CB-1826E2CBB84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21205" y="2636912"/>
            <a:ext cx="8149590" cy="3589020"/>
          </a:xfrm>
          <a:prstGeom prst="rect">
            <a:avLst/>
          </a:prstGeom>
        </p:spPr>
      </p:pic>
    </p:spTree>
    <p:extLst>
      <p:ext uri="{BB962C8B-B14F-4D97-AF65-F5344CB8AC3E}">
        <p14:creationId xmlns:p14="http://schemas.microsoft.com/office/powerpoint/2010/main" val="3534794293"/>
      </p:ext>
    </p:extLst>
  </p:cSld>
  <p:clrMapOvr>
    <a:masterClrMapping/>
  </p:clrMapOvr>
  <p:extLst>
    <p:ext uri="{DCECCB84-F9BA-43D5-87BE-67443E8EF086}">
      <p15:sldGuideLst xmlns:p15="http://schemas.microsoft.com/office/powerpoint/2012/main">
        <p15:guide id="1" orient="horz" pos="346">
          <p15:clr>
            <a:srgbClr val="F26B43"/>
          </p15:clr>
        </p15:guide>
        <p15:guide id="2" orient="horz" pos="958">
          <p15:clr>
            <a:srgbClr val="F26B43"/>
          </p15:clr>
        </p15:guide>
        <p15:guide id="3" orient="horz" pos="3974">
          <p15:clr>
            <a:srgbClr val="F26B43"/>
          </p15:clr>
        </p15:guide>
        <p15:guide id="4" orient="horz" pos="4224">
          <p15:clr>
            <a:srgbClr val="A4A3A4"/>
          </p15:clr>
        </p15:guide>
        <p15:guide id="5" orient="horz" pos="4156">
          <p15:clr>
            <a:srgbClr val="A4A3A4"/>
          </p15:clr>
        </p15:guide>
        <p15:guide id="6" orient="horz" pos="3816">
          <p15:clr>
            <a:srgbClr val="A4A3A4"/>
          </p15:clr>
        </p15:guide>
        <p15:guide id="8" orient="horz" pos="255">
          <p15:clr>
            <a:srgbClr val="A4A3A4"/>
          </p15:clr>
        </p15:guide>
        <p15:guide id="9" orient="horz" pos="119">
          <p15:clr>
            <a:srgbClr val="A4A3A4"/>
          </p15:clr>
        </p15:guide>
        <p15:guide id="10" orient="horz" pos="1275">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Divider dar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4EEBD3A-999D-4094-A6F5-486F24A94BE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06" imgH="416" progId="TCLayout.ActiveDocument.1">
                  <p:embed/>
                </p:oleObj>
              </mc:Choice>
              <mc:Fallback>
                <p:oleObj name="Diapositive think-cell" r:id="rId3" imgW="406" imgH="416" progId="TCLayout.ActiveDocument.1">
                  <p:embed/>
                  <p:pic>
                    <p:nvPicPr>
                      <p:cNvPr id="4" name="Object 3" hidden="1">
                        <a:extLst>
                          <a:ext uri="{FF2B5EF4-FFF2-40B4-BE49-F238E27FC236}">
                            <a16:creationId xmlns:a16="http://schemas.microsoft.com/office/drawing/2014/main" id="{F4EEBD3A-999D-4094-A6F5-486F24A94B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object 2">
            <a:extLst>
              <a:ext uri="{FF2B5EF4-FFF2-40B4-BE49-F238E27FC236}">
                <a16:creationId xmlns:a16="http://schemas.microsoft.com/office/drawing/2014/main" id="{60BF36DF-DFF4-49D8-86D0-3EF112D36E0D}"/>
              </a:ext>
            </a:extLst>
          </p:cNvPr>
          <p:cNvSpPr/>
          <p:nvPr userDrawn="1"/>
        </p:nvSpPr>
        <p:spPr>
          <a:xfrm>
            <a:off x="4043" y="0"/>
            <a:ext cx="12187957" cy="6857969"/>
          </a:xfrm>
          <a:custGeom>
            <a:avLst/>
            <a:gdLst/>
            <a:ahLst/>
            <a:cxnLst/>
            <a:rect l="l" t="t" r="r" b="b"/>
            <a:pathLst>
              <a:path w="20099020" h="9507855">
                <a:moveTo>
                  <a:pt x="0" y="9507563"/>
                </a:moveTo>
                <a:lnTo>
                  <a:pt x="20098864" y="9507563"/>
                </a:lnTo>
                <a:lnTo>
                  <a:pt x="20098864" y="0"/>
                </a:lnTo>
                <a:lnTo>
                  <a:pt x="0" y="0"/>
                </a:lnTo>
                <a:lnTo>
                  <a:pt x="0" y="9507563"/>
                </a:lnTo>
                <a:close/>
              </a:path>
            </a:pathLst>
          </a:custGeom>
          <a:solidFill>
            <a:schemeClr val="accent1"/>
          </a:solidFill>
        </p:spPr>
        <p:txBody>
          <a:bodyPr wrap="square" lIns="0" tIns="0" rIns="0" bIns="0" rtlCol="0"/>
          <a:lstStyle/>
          <a:p>
            <a:endParaRPr lang="en-GB" sz="496" noProof="0"/>
          </a:p>
        </p:txBody>
      </p:sp>
      <p:pic>
        <p:nvPicPr>
          <p:cNvPr id="8" name="Graphic 7">
            <a:extLst>
              <a:ext uri="{FF2B5EF4-FFF2-40B4-BE49-F238E27FC236}">
                <a16:creationId xmlns:a16="http://schemas.microsoft.com/office/drawing/2014/main" id="{8C77C503-30DF-4889-9772-2683B9426B4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46031" y="6022587"/>
            <a:ext cx="1782575" cy="475975"/>
          </a:xfrm>
          <a:prstGeom prst="rect">
            <a:avLst/>
          </a:prstGeom>
        </p:spPr>
      </p:pic>
      <p:sp>
        <p:nvSpPr>
          <p:cNvPr id="23" name="Title Placeholder">
            <a:extLst>
              <a:ext uri="{FF2B5EF4-FFF2-40B4-BE49-F238E27FC236}">
                <a16:creationId xmlns:a16="http://schemas.microsoft.com/office/drawing/2014/main" id="{E8F77D0D-176B-4405-AC5C-94B5DC4EC67F}"/>
              </a:ext>
            </a:extLst>
          </p:cNvPr>
          <p:cNvSpPr>
            <a:spLocks noGrp="1"/>
          </p:cNvSpPr>
          <p:nvPr>
            <p:ph type="title" hasCustomPrompt="1"/>
          </p:nvPr>
        </p:nvSpPr>
        <p:spPr>
          <a:xfrm>
            <a:off x="3251201" y="2782687"/>
            <a:ext cx="8372928" cy="567463"/>
          </a:xfrm>
          <a:prstGeom prst="rect">
            <a:avLst/>
          </a:prstGeom>
        </p:spPr>
        <p:txBody>
          <a:bodyPr vert="horz" wrap="square" lIns="0" tIns="0" rIns="0" bIns="0" rtlCol="0" anchor="b" anchorCtr="0">
            <a:spAutoFit/>
          </a:bodyPr>
          <a:lstStyle>
            <a:lvl1pPr marL="2159000" indent="-2159000">
              <a:tabLst>
                <a:tab pos="1800000" algn="r"/>
                <a:tab pos="2160000" algn="l"/>
              </a:tabLst>
              <a:defRPr lang="de-DE" sz="4000" noProof="0" dirty="0">
                <a:solidFill>
                  <a:schemeClr val="bg1"/>
                </a:solidFill>
                <a:latin typeface="+mj-lt"/>
                <a:ea typeface="+mj-ea"/>
                <a:cs typeface="+mj-cs"/>
              </a:defRPr>
            </a:lvl1pPr>
          </a:lstStyle>
          <a:p>
            <a:pPr fontAlgn="auto">
              <a:spcAft>
                <a:spcPts val="0"/>
              </a:spcAft>
            </a:pPr>
            <a:r>
              <a:rPr lang="en-US"/>
              <a:t>tab</a:t>
            </a:r>
            <a:r>
              <a:rPr lang="en-US">
                <a:latin typeface="Arial Unicode MS"/>
              </a:rPr>
              <a:t>→ </a:t>
            </a:r>
            <a:r>
              <a:rPr lang="en-US"/>
              <a:t>	A.	Divider title</a:t>
            </a:r>
          </a:p>
        </p:txBody>
      </p:sp>
      <p:sp>
        <p:nvSpPr>
          <p:cNvPr id="26" name="RbReference" hidden="1">
            <a:extLst>
              <a:ext uri="{FF2B5EF4-FFF2-40B4-BE49-F238E27FC236}">
                <a16:creationId xmlns:a16="http://schemas.microsoft.com/office/drawing/2014/main" id="{767D2D66-1555-4C74-842D-763A9058A1E6}"/>
              </a:ext>
            </a:extLst>
          </p:cNvPr>
          <p:cNvSpPr>
            <a:spLocks/>
          </p:cNvSpPr>
          <p:nvPr userDrawn="1"/>
        </p:nvSpPr>
        <p:spPr>
          <a:xfrm>
            <a:off x="654058" y="2168525"/>
            <a:ext cx="10877543" cy="3673475"/>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0" numCol="1" spcCol="0" rtlCol="0" fromWordArt="0" anchor="t" anchorCtr="0" forceAA="0" compatLnSpc="1">
            <a:prstTxWarp prst="textNoShape">
              <a:avLst/>
            </a:prstTxWarp>
            <a:noAutofit/>
          </a:bodyPr>
          <a:lstStyle/>
          <a:p>
            <a:pPr lvl="0" algn="r"/>
            <a:r>
              <a:rPr lang="en-US" sz="1400">
                <a:solidFill>
                  <a:srgbClr val="E2262D"/>
                </a:solidFill>
              </a:rPr>
              <a:t>!! REQUIRED – Reference area !!</a:t>
            </a:r>
          </a:p>
        </p:txBody>
      </p:sp>
      <p:sp>
        <p:nvSpPr>
          <p:cNvPr id="38" name="Rechthoek 81">
            <a:extLst>
              <a:ext uri="{FF2B5EF4-FFF2-40B4-BE49-F238E27FC236}">
                <a16:creationId xmlns:a16="http://schemas.microsoft.com/office/drawing/2014/main" id="{0B8D6C4B-DF56-4340-A111-287C152CD56C}"/>
              </a:ext>
            </a:extLst>
          </p:cNvPr>
          <p:cNvSpPr/>
          <p:nvPr userDrawn="1"/>
        </p:nvSpPr>
        <p:spPr>
          <a:xfrm>
            <a:off x="-4129711" y="2812331"/>
            <a:ext cx="3933005" cy="516516"/>
          </a:xfrm>
          <a:prstGeom prst="rect">
            <a:avLst/>
          </a:prstGeom>
          <a:noFill/>
          <a:ln w="25400" cap="flat" cmpd="sng" algn="ctr">
            <a:noFill/>
            <a:prstDash val="solid"/>
          </a:ln>
          <a:effectLst/>
        </p:spPr>
        <p:txBody>
          <a:bodyPr lIns="0" tIns="0" rIns="0" bIns="0" rtlCol="0" anchor="t"/>
          <a:lstStyle/>
          <a:p>
            <a:pPr marL="0" marR="0" lvl="0" indent="0" defTabSz="1219170" eaLnBrk="1" fontAlgn="auto" latinLnBrk="0" hangingPunct="1">
              <a:lnSpc>
                <a:spcPct val="80000"/>
              </a:lnSpc>
              <a:spcBef>
                <a:spcPts val="0"/>
              </a:spcBef>
              <a:spcAft>
                <a:spcPts val="0"/>
              </a:spcAft>
              <a:buClrTx/>
              <a:buSzTx/>
              <a:buFontTx/>
              <a:buNone/>
              <a:tabLst/>
              <a:defRPr/>
            </a:pPr>
            <a:br>
              <a:rPr lang="en-BE" sz="1867" b="0" i="0" u="sng" kern="1200" noProof="0">
                <a:solidFill>
                  <a:schemeClr val="tx1"/>
                </a:solidFill>
                <a:latin typeface="+mn-lt"/>
                <a:ea typeface="+mn-ea"/>
                <a:cs typeface="+mn-cs"/>
              </a:rPr>
            </a:br>
            <a:endParaRPr lang="nl-NL" sz="1867" b="0" i="0" u="sng" kern="1200" noProof="0">
              <a:solidFill>
                <a:schemeClr val="tx1"/>
              </a:solidFill>
              <a:latin typeface="+mn-lt"/>
              <a:ea typeface="+mn-ea"/>
              <a:cs typeface="+mn-cs"/>
            </a:endParaRPr>
          </a:p>
        </p:txBody>
      </p:sp>
      <p:sp>
        <p:nvSpPr>
          <p:cNvPr id="44" name="Slide Number">
            <a:extLst>
              <a:ext uri="{FF2B5EF4-FFF2-40B4-BE49-F238E27FC236}">
                <a16:creationId xmlns:a16="http://schemas.microsoft.com/office/drawing/2014/main" id="{BC0DE560-8CB1-4D93-9D50-FB14933F1F22}"/>
              </a:ext>
            </a:extLst>
          </p:cNvPr>
          <p:cNvSpPr txBox="1">
            <a:spLocks noChangeArrowheads="1"/>
          </p:cNvSpPr>
          <p:nvPr userDrawn="1"/>
        </p:nvSpPr>
        <p:spPr bwMode="auto">
          <a:xfrm>
            <a:off x="9829801" y="6323845"/>
            <a:ext cx="1701800" cy="276999"/>
          </a:xfrm>
          <a:prstGeom prst="rect">
            <a:avLst/>
          </a:prstGeom>
        </p:spPr>
        <p:txBody>
          <a:bodyPr wrap="square" lIns="0" tIns="0" rIns="0" bIns="0">
            <a:spAutoFit/>
          </a:bodyPr>
          <a:lstStyle>
            <a:defPPr>
              <a:defRPr lang="en-US"/>
            </a:defPPr>
            <a:lvl1pPr algn="r">
              <a:defRPr>
                <a:solidFill>
                  <a:schemeClr val="tx1">
                    <a:tint val="75000"/>
                  </a:schemeClr>
                </a:solidFill>
              </a:defRPr>
            </a:lvl1pPr>
          </a:lstStyle>
          <a:p>
            <a:pPr lvl="0"/>
            <a:fld id="{7AA7B471-74A3-4F5F-8955-6C99E2375CAC}" type="slidenum">
              <a:rPr lang="en-US" noProof="1" dirty="0" smtClean="0">
                <a:solidFill>
                  <a:schemeClr val="bg1"/>
                </a:solidFill>
                <a:sym typeface="+mn-lt"/>
              </a:rPr>
              <a:pPr lvl="0"/>
              <a:t>‹nr.›</a:t>
            </a:fld>
            <a:endParaRPr lang="en-US" noProof="1">
              <a:solidFill>
                <a:schemeClr val="bg1"/>
              </a:solidFill>
              <a:sym typeface="+mn-lt"/>
            </a:endParaRPr>
          </a:p>
        </p:txBody>
      </p:sp>
      <p:sp>
        <p:nvSpPr>
          <p:cNvPr id="45" name="Tekstvak 11">
            <a:extLst>
              <a:ext uri="{FF2B5EF4-FFF2-40B4-BE49-F238E27FC236}">
                <a16:creationId xmlns:a16="http://schemas.microsoft.com/office/drawing/2014/main" id="{9F2332A2-2530-4F03-AA9D-CE3DB82757C1}"/>
              </a:ext>
            </a:extLst>
          </p:cNvPr>
          <p:cNvSpPr txBox="1"/>
          <p:nvPr userDrawn="1"/>
        </p:nvSpPr>
        <p:spPr>
          <a:xfrm>
            <a:off x="12658009" y="549201"/>
            <a:ext cx="3484841" cy="2602083"/>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Your inserted images will automatically be cropped into the picture frame.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If you want to position the image differently:</a:t>
            </a:r>
            <a:br>
              <a:rPr kumimoji="0" lang="en-US"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br>
            <a:endParaRPr kumimoji="0" lang="en-US"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Click on the photo;</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Picture format;</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Crop:</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You will now see the entire photo that you can drag and drop to fit better into the photo frame.</a:t>
            </a:r>
            <a:endPar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endParaRPr>
          </a:p>
        </p:txBody>
      </p:sp>
      <p:grpSp>
        <p:nvGrpSpPr>
          <p:cNvPr id="46" name="Groep 12">
            <a:extLst>
              <a:ext uri="{FF2B5EF4-FFF2-40B4-BE49-F238E27FC236}">
                <a16:creationId xmlns:a16="http://schemas.microsoft.com/office/drawing/2014/main" id="{794ADF86-43DF-4423-9C40-7125478C70E8}"/>
              </a:ext>
            </a:extLst>
          </p:cNvPr>
          <p:cNvGrpSpPr/>
          <p:nvPr userDrawn="1"/>
        </p:nvGrpSpPr>
        <p:grpSpPr>
          <a:xfrm>
            <a:off x="13196019" y="1928942"/>
            <a:ext cx="400188" cy="386141"/>
            <a:chOff x="10348324" y="2576017"/>
            <a:chExt cx="425229" cy="410304"/>
          </a:xfrm>
        </p:grpSpPr>
        <p:grpSp>
          <p:nvGrpSpPr>
            <p:cNvPr id="47" name="Groep 14">
              <a:extLst>
                <a:ext uri="{FF2B5EF4-FFF2-40B4-BE49-F238E27FC236}">
                  <a16:creationId xmlns:a16="http://schemas.microsoft.com/office/drawing/2014/main" id="{75DFFCF7-0ECE-4B18-9F04-D539F72B1F6A}"/>
                </a:ext>
              </a:extLst>
            </p:cNvPr>
            <p:cNvGrpSpPr/>
            <p:nvPr/>
          </p:nvGrpSpPr>
          <p:grpSpPr>
            <a:xfrm>
              <a:off x="10449553" y="2576666"/>
              <a:ext cx="324000" cy="324000"/>
              <a:chOff x="9554817" y="2887281"/>
              <a:chExt cx="324000" cy="324000"/>
            </a:xfrm>
          </p:grpSpPr>
          <p:cxnSp>
            <p:nvCxnSpPr>
              <p:cNvPr id="52" name="Straight Connector 4">
                <a:extLst>
                  <a:ext uri="{FF2B5EF4-FFF2-40B4-BE49-F238E27FC236}">
                    <a16:creationId xmlns:a16="http://schemas.microsoft.com/office/drawing/2014/main" id="{FBA25FE6-3175-40C6-BB4F-D490232FEBF4}"/>
                  </a:ext>
                </a:extLst>
              </p:cNvPr>
              <p:cNvCxnSpPr/>
              <p:nvPr/>
            </p:nvCxnSpPr>
            <p:spPr>
              <a:xfrm>
                <a:off x="9554817" y="2887281"/>
                <a:ext cx="0" cy="324000"/>
              </a:xfrm>
              <a:prstGeom prst="line">
                <a:avLst/>
              </a:prstGeom>
              <a:ln w="12700"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13">
                <a:extLst>
                  <a:ext uri="{FF2B5EF4-FFF2-40B4-BE49-F238E27FC236}">
                    <a16:creationId xmlns:a16="http://schemas.microsoft.com/office/drawing/2014/main" id="{90F5D2BA-2149-4447-8138-499A63467492}"/>
                  </a:ext>
                </a:extLst>
              </p:cNvPr>
              <p:cNvCxnSpPr>
                <a:cxnSpLocks/>
              </p:cNvCxnSpPr>
              <p:nvPr/>
            </p:nvCxnSpPr>
            <p:spPr>
              <a:xfrm>
                <a:off x="9554817" y="3211281"/>
                <a:ext cx="324000" cy="0"/>
              </a:xfrm>
              <a:prstGeom prst="line">
                <a:avLst/>
              </a:prstGeom>
              <a:ln w="12700"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48" name="Groep 15">
              <a:extLst>
                <a:ext uri="{FF2B5EF4-FFF2-40B4-BE49-F238E27FC236}">
                  <a16:creationId xmlns:a16="http://schemas.microsoft.com/office/drawing/2014/main" id="{BC3F27C5-6895-4C4A-8CA6-712948A479CB}"/>
                </a:ext>
              </a:extLst>
            </p:cNvPr>
            <p:cNvGrpSpPr/>
            <p:nvPr/>
          </p:nvGrpSpPr>
          <p:grpSpPr>
            <a:xfrm rot="10800000">
              <a:off x="10348324" y="2662321"/>
              <a:ext cx="324000" cy="324000"/>
              <a:chOff x="9554817" y="2887281"/>
              <a:chExt cx="324000" cy="324000"/>
            </a:xfrm>
          </p:grpSpPr>
          <p:cxnSp>
            <p:nvCxnSpPr>
              <p:cNvPr id="50" name="Straight Connector 4">
                <a:extLst>
                  <a:ext uri="{FF2B5EF4-FFF2-40B4-BE49-F238E27FC236}">
                    <a16:creationId xmlns:a16="http://schemas.microsoft.com/office/drawing/2014/main" id="{62B8BBD0-C6D6-45A7-83E5-046300B9379B}"/>
                  </a:ext>
                </a:extLst>
              </p:cNvPr>
              <p:cNvCxnSpPr/>
              <p:nvPr/>
            </p:nvCxnSpPr>
            <p:spPr>
              <a:xfrm>
                <a:off x="9554817" y="2887281"/>
                <a:ext cx="0" cy="324000"/>
              </a:xfrm>
              <a:prstGeom prst="line">
                <a:avLst/>
              </a:prstGeom>
              <a:ln w="12700"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13">
                <a:extLst>
                  <a:ext uri="{FF2B5EF4-FFF2-40B4-BE49-F238E27FC236}">
                    <a16:creationId xmlns:a16="http://schemas.microsoft.com/office/drawing/2014/main" id="{F041D48F-A1C3-49E3-9D8B-FF285D31FD99}"/>
                  </a:ext>
                </a:extLst>
              </p:cNvPr>
              <p:cNvCxnSpPr>
                <a:cxnSpLocks/>
              </p:cNvCxnSpPr>
              <p:nvPr/>
            </p:nvCxnSpPr>
            <p:spPr>
              <a:xfrm>
                <a:off x="9554817" y="3211281"/>
                <a:ext cx="324000" cy="0"/>
              </a:xfrm>
              <a:prstGeom prst="line">
                <a:avLst/>
              </a:prstGeom>
              <a:ln w="12700"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49" name="Straight Connector 13">
              <a:extLst>
                <a:ext uri="{FF2B5EF4-FFF2-40B4-BE49-F238E27FC236}">
                  <a16:creationId xmlns:a16="http://schemas.microsoft.com/office/drawing/2014/main" id="{D4D4E713-E9D6-47D8-8D7B-9F0C76FB4C33}"/>
                </a:ext>
              </a:extLst>
            </p:cNvPr>
            <p:cNvCxnSpPr>
              <a:cxnSpLocks/>
            </p:cNvCxnSpPr>
            <p:nvPr/>
          </p:nvCxnSpPr>
          <p:spPr>
            <a:xfrm flipH="1">
              <a:off x="10452817" y="2576017"/>
              <a:ext cx="298757" cy="325343"/>
            </a:xfrm>
            <a:prstGeom prst="line">
              <a:avLst/>
            </a:prstGeom>
            <a:ln w="12700" cap="rnd">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4" name="Tekstvak 33">
            <a:extLst>
              <a:ext uri="{FF2B5EF4-FFF2-40B4-BE49-F238E27FC236}">
                <a16:creationId xmlns:a16="http://schemas.microsoft.com/office/drawing/2014/main" id="{737CF2BC-5D6E-4484-8BE3-0F98CC5016EC}"/>
              </a:ext>
            </a:extLst>
          </p:cNvPr>
          <p:cNvSpPr txBox="1"/>
          <p:nvPr userDrawn="1"/>
        </p:nvSpPr>
        <p:spPr>
          <a:xfrm>
            <a:off x="-4129711" y="1192382"/>
            <a:ext cx="2242532" cy="483016"/>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Images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can</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be</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easily</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inserted</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by</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pressing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this</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button:</a:t>
            </a:r>
          </a:p>
        </p:txBody>
      </p:sp>
      <p:grpSp>
        <p:nvGrpSpPr>
          <p:cNvPr id="55" name="Groep 129">
            <a:extLst>
              <a:ext uri="{FF2B5EF4-FFF2-40B4-BE49-F238E27FC236}">
                <a16:creationId xmlns:a16="http://schemas.microsoft.com/office/drawing/2014/main" id="{CECAD62E-D3D4-41BD-8A47-19AEB2E1761C}"/>
              </a:ext>
            </a:extLst>
          </p:cNvPr>
          <p:cNvGrpSpPr/>
          <p:nvPr userDrawn="1"/>
        </p:nvGrpSpPr>
        <p:grpSpPr>
          <a:xfrm>
            <a:off x="-1712504" y="1287055"/>
            <a:ext cx="333839" cy="333028"/>
            <a:chOff x="-706740" y="145633"/>
            <a:chExt cx="250379" cy="249771"/>
          </a:xfrm>
        </p:grpSpPr>
        <p:sp>
          <p:nvSpPr>
            <p:cNvPr id="56" name="Rechthoek 123">
              <a:extLst>
                <a:ext uri="{FF2B5EF4-FFF2-40B4-BE49-F238E27FC236}">
                  <a16:creationId xmlns:a16="http://schemas.microsoft.com/office/drawing/2014/main" id="{39DF6829-2962-4EBA-BF56-8CB8542DD0EA}"/>
                </a:ext>
              </a:extLst>
            </p:cNvPr>
            <p:cNvSpPr/>
            <p:nvPr userDrawn="1"/>
          </p:nvSpPr>
          <p:spPr>
            <a:xfrm rot="5400000">
              <a:off x="-695663" y="134556"/>
              <a:ext cx="216024" cy="238177"/>
            </a:xfrm>
            <a:prstGeom prst="rect">
              <a:avLst/>
            </a:prstGeom>
            <a:solidFill>
              <a:schemeClr val="bg1"/>
            </a:solidFill>
            <a:ln w="15875"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i="1"/>
            </a:p>
          </p:txBody>
        </p:sp>
        <p:sp>
          <p:nvSpPr>
            <p:cNvPr id="57" name="Gelijkbenige driehoek 128">
              <a:extLst>
                <a:ext uri="{FF2B5EF4-FFF2-40B4-BE49-F238E27FC236}">
                  <a16:creationId xmlns:a16="http://schemas.microsoft.com/office/drawing/2014/main" id="{730E5DD0-2E6E-47C8-BD2F-A7A9E12F99E6}"/>
                </a:ext>
              </a:extLst>
            </p:cNvPr>
            <p:cNvSpPr/>
            <p:nvPr userDrawn="1"/>
          </p:nvSpPr>
          <p:spPr>
            <a:xfrm>
              <a:off x="-691695" y="241573"/>
              <a:ext cx="131236" cy="108025"/>
            </a:xfrm>
            <a:custGeom>
              <a:avLst/>
              <a:gdLst>
                <a:gd name="connsiteX0" fmla="*/ 0 w 165756"/>
                <a:gd name="connsiteY0" fmla="*/ 108025 h 108025"/>
                <a:gd name="connsiteX1" fmla="*/ 82878 w 165756"/>
                <a:gd name="connsiteY1" fmla="*/ 0 h 108025"/>
                <a:gd name="connsiteX2" fmla="*/ 165756 w 165756"/>
                <a:gd name="connsiteY2" fmla="*/ 108025 h 108025"/>
                <a:gd name="connsiteX3" fmla="*/ 0 w 165756"/>
                <a:gd name="connsiteY3" fmla="*/ 108025 h 108025"/>
                <a:gd name="connsiteX0" fmla="*/ 0 w 165756"/>
                <a:gd name="connsiteY0" fmla="*/ 108025 h 108025"/>
                <a:gd name="connsiteX1" fmla="*/ 82878 w 165756"/>
                <a:gd name="connsiteY1" fmla="*/ 0 h 108025"/>
                <a:gd name="connsiteX2" fmla="*/ 165756 w 165756"/>
                <a:gd name="connsiteY2" fmla="*/ 108025 h 108025"/>
                <a:gd name="connsiteX3" fmla="*/ 37140 w 165756"/>
                <a:gd name="connsiteY3" fmla="*/ 106895 h 108025"/>
                <a:gd name="connsiteX4" fmla="*/ 0 w 165756"/>
                <a:gd name="connsiteY4" fmla="*/ 108025 h 108025"/>
                <a:gd name="connsiteX0" fmla="*/ 0 w 165756"/>
                <a:gd name="connsiteY0" fmla="*/ 108025 h 108025"/>
                <a:gd name="connsiteX1" fmla="*/ 34520 w 165756"/>
                <a:gd name="connsiteY1" fmla="*/ 62354 h 108025"/>
                <a:gd name="connsiteX2" fmla="*/ 82878 w 165756"/>
                <a:gd name="connsiteY2" fmla="*/ 0 h 108025"/>
                <a:gd name="connsiteX3" fmla="*/ 165756 w 165756"/>
                <a:gd name="connsiteY3" fmla="*/ 108025 h 108025"/>
                <a:gd name="connsiteX4" fmla="*/ 37140 w 165756"/>
                <a:gd name="connsiteY4" fmla="*/ 106895 h 108025"/>
                <a:gd name="connsiteX5" fmla="*/ 0 w 165756"/>
                <a:gd name="connsiteY5" fmla="*/ 108025 h 108025"/>
                <a:gd name="connsiteX0" fmla="*/ 2620 w 131236"/>
                <a:gd name="connsiteY0" fmla="*/ 106895 h 108025"/>
                <a:gd name="connsiteX1" fmla="*/ 0 w 131236"/>
                <a:gd name="connsiteY1" fmla="*/ 62354 h 108025"/>
                <a:gd name="connsiteX2" fmla="*/ 48358 w 131236"/>
                <a:gd name="connsiteY2" fmla="*/ 0 h 108025"/>
                <a:gd name="connsiteX3" fmla="*/ 131236 w 131236"/>
                <a:gd name="connsiteY3" fmla="*/ 108025 h 108025"/>
                <a:gd name="connsiteX4" fmla="*/ 2620 w 131236"/>
                <a:gd name="connsiteY4" fmla="*/ 106895 h 108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36" h="108025">
                  <a:moveTo>
                    <a:pt x="2620" y="106895"/>
                  </a:moveTo>
                  <a:lnTo>
                    <a:pt x="0" y="62354"/>
                  </a:lnTo>
                  <a:lnTo>
                    <a:pt x="48358" y="0"/>
                  </a:lnTo>
                  <a:lnTo>
                    <a:pt x="131236" y="108025"/>
                  </a:lnTo>
                  <a:lnTo>
                    <a:pt x="2620" y="106895"/>
                  </a:lnTo>
                  <a:close/>
                </a:path>
              </a:pathLst>
            </a:cu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i="1"/>
            </a:p>
          </p:txBody>
        </p:sp>
        <p:sp>
          <p:nvSpPr>
            <p:cNvPr id="58" name="Ovaal 124">
              <a:extLst>
                <a:ext uri="{FF2B5EF4-FFF2-40B4-BE49-F238E27FC236}">
                  <a16:creationId xmlns:a16="http://schemas.microsoft.com/office/drawing/2014/main" id="{6FFC4B45-0A38-434C-BEF1-D554A3E38B32}"/>
                </a:ext>
              </a:extLst>
            </p:cNvPr>
            <p:cNvSpPr/>
            <p:nvPr userDrawn="1"/>
          </p:nvSpPr>
          <p:spPr>
            <a:xfrm>
              <a:off x="-550874" y="173162"/>
              <a:ext cx="54000" cy="54000"/>
            </a:xfrm>
            <a:prstGeom prst="ellipse">
              <a:avLst/>
            </a:prstGeom>
            <a:solidFill>
              <a:srgbClr val="FFC000"/>
            </a:solidFill>
            <a:ln w="1587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GB" sz="2400" i="1"/>
            </a:p>
          </p:txBody>
        </p:sp>
        <p:sp>
          <p:nvSpPr>
            <p:cNvPr id="59" name="Rechthoek 125">
              <a:extLst>
                <a:ext uri="{FF2B5EF4-FFF2-40B4-BE49-F238E27FC236}">
                  <a16:creationId xmlns:a16="http://schemas.microsoft.com/office/drawing/2014/main" id="{00C062D6-A4F5-410A-BA96-0D1431DDB211}"/>
                </a:ext>
              </a:extLst>
            </p:cNvPr>
            <p:cNvSpPr/>
            <p:nvPr userDrawn="1"/>
          </p:nvSpPr>
          <p:spPr>
            <a:xfrm rot="5400000">
              <a:off x="-576961" y="253117"/>
              <a:ext cx="108000" cy="133200"/>
            </a:xfrm>
            <a:prstGeom prst="rect">
              <a:avLst/>
            </a:prstGeom>
            <a:solidFill>
              <a:schemeClr val="bg1"/>
            </a:solidFill>
            <a:ln w="15875" cap="rnd">
              <a:solidFill>
                <a:schemeClr val="accent5"/>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i="1"/>
            </a:p>
          </p:txBody>
        </p:sp>
        <p:cxnSp>
          <p:nvCxnSpPr>
            <p:cNvPr id="60" name="Rechte verbindingslijn 127">
              <a:extLst>
                <a:ext uri="{FF2B5EF4-FFF2-40B4-BE49-F238E27FC236}">
                  <a16:creationId xmlns:a16="http://schemas.microsoft.com/office/drawing/2014/main" id="{DA148DB0-9160-4BD1-9203-BF68725634F6}"/>
                </a:ext>
              </a:extLst>
            </p:cNvPr>
            <p:cNvCxnSpPr/>
            <p:nvPr userDrawn="1"/>
          </p:nvCxnSpPr>
          <p:spPr>
            <a:xfrm>
              <a:off x="-540961" y="395404"/>
              <a:ext cx="36000" cy="0"/>
            </a:xfrm>
            <a:prstGeom prst="line">
              <a:avLst/>
            </a:prstGeom>
            <a:solidFill>
              <a:schemeClr val="bg1"/>
            </a:solidFill>
            <a:ln w="15875" cap="rnd">
              <a:solidFill>
                <a:schemeClr val="accent5"/>
              </a:solidFill>
              <a:round/>
            </a:ln>
          </p:spPr>
          <p:style>
            <a:lnRef idx="2">
              <a:schemeClr val="accent1">
                <a:shade val="50000"/>
              </a:schemeClr>
            </a:lnRef>
            <a:fillRef idx="1">
              <a:schemeClr val="accent1"/>
            </a:fillRef>
            <a:effectRef idx="0">
              <a:schemeClr val="accent1"/>
            </a:effectRef>
            <a:fontRef idx="minor">
              <a:schemeClr val="lt1"/>
            </a:fontRef>
          </p:style>
        </p:cxnSp>
      </p:grpSp>
      <p:sp>
        <p:nvSpPr>
          <p:cNvPr id="61" name="Tekstvak 131">
            <a:extLst>
              <a:ext uri="{FF2B5EF4-FFF2-40B4-BE49-F238E27FC236}">
                <a16:creationId xmlns:a16="http://schemas.microsoft.com/office/drawing/2014/main" id="{D94A2766-D547-49E3-A51E-5FF7253BA73E}"/>
              </a:ext>
            </a:extLst>
          </p:cNvPr>
          <p:cNvSpPr txBox="1"/>
          <p:nvPr userDrawn="1"/>
        </p:nvSpPr>
        <p:spPr>
          <a:xfrm>
            <a:off x="-4129711" y="1770507"/>
            <a:ext cx="3446777" cy="483016"/>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The image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will</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automatically</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take on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the</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correct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shape</a:t>
            </a:r>
            <a:endPar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endParaRPr>
          </a:p>
        </p:txBody>
      </p:sp>
      <p:sp>
        <p:nvSpPr>
          <p:cNvPr id="62" name="Tekstvak 132">
            <a:extLst>
              <a:ext uri="{FF2B5EF4-FFF2-40B4-BE49-F238E27FC236}">
                <a16:creationId xmlns:a16="http://schemas.microsoft.com/office/drawing/2014/main" id="{E52035B1-4F81-4C89-A282-188CAD98416B}"/>
              </a:ext>
            </a:extLst>
          </p:cNvPr>
          <p:cNvSpPr txBox="1"/>
          <p:nvPr userDrawn="1"/>
        </p:nvSpPr>
        <p:spPr>
          <a:xfrm>
            <a:off x="-4129711" y="2313136"/>
            <a:ext cx="3446777" cy="483016"/>
          </a:xfrm>
          <a:prstGeom prst="rect">
            <a:avLst/>
          </a:prstGeom>
          <a:noFill/>
        </p:spPr>
        <p:txBody>
          <a:bodyPr wrap="square" lIns="0" tIns="0" rIns="0" bIns="0" rtlCol="0" anchor="t">
            <a:noAutofit/>
          </a:bodyPr>
          <a:lstStyle>
            <a:defPPr>
              <a:defRPr lang="nl-NL"/>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To</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change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the</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image, delete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the</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existing</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one</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and</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start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all</a:t>
            </a:r>
            <a:r>
              <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rPr>
              <a:t> over </a:t>
            </a:r>
            <a:r>
              <a:rPr kumimoji="0" lang="nl-NL" sz="1467" b="0" i="1" u="none" strike="noStrike" kern="0" cap="none" spc="0" normalizeH="0" baseline="0" noProof="0" err="1">
                <a:ln>
                  <a:noFill/>
                </a:ln>
                <a:solidFill>
                  <a:schemeClr val="tx1"/>
                </a:solidFill>
                <a:effectLst/>
                <a:uLnTx/>
                <a:uFillTx/>
                <a:latin typeface="Calibri" panose="020F0502020204030204" pitchFamily="34" charset="0"/>
                <a:ea typeface="+mn-ea"/>
                <a:cs typeface="Segoe UI Light" panose="020B0502040204020203" pitchFamily="34" charset="0"/>
              </a:rPr>
              <a:t>again</a:t>
            </a:r>
            <a:endParaRPr kumimoji="0" lang="nl-NL" sz="1467" b="0" i="1" u="none" strike="noStrike" kern="0" cap="none" spc="0" normalizeH="0" baseline="0" noProof="0">
              <a:ln>
                <a:noFill/>
              </a:ln>
              <a:solidFill>
                <a:schemeClr val="tx1"/>
              </a:solidFill>
              <a:effectLst/>
              <a:uLnTx/>
              <a:uFillTx/>
              <a:latin typeface="Calibri" panose="020F0502020204030204" pitchFamily="34" charset="0"/>
              <a:ea typeface="+mn-ea"/>
              <a:cs typeface="Segoe UI Light" panose="020B0502040204020203" pitchFamily="34" charset="0"/>
            </a:endParaRPr>
          </a:p>
        </p:txBody>
      </p:sp>
      <p:sp>
        <p:nvSpPr>
          <p:cNvPr id="28" name="Rechthoek 6">
            <a:extLst>
              <a:ext uri="{FF2B5EF4-FFF2-40B4-BE49-F238E27FC236}">
                <a16:creationId xmlns:a16="http://schemas.microsoft.com/office/drawing/2014/main" id="{28DEBFFE-4626-4B47-B40E-AECD12157306}"/>
              </a:ext>
            </a:extLst>
          </p:cNvPr>
          <p:cNvSpPr/>
          <p:nvPr userDrawn="1"/>
        </p:nvSpPr>
        <p:spPr>
          <a:xfrm>
            <a:off x="0" y="5429250"/>
            <a:ext cx="12192000" cy="142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29" name="Picture 22" descr="C:\4PPS\2015\Typographics\Febeg 01\_USE\FEBEG_Q.png">
            <a:extLst>
              <a:ext uri="{FF2B5EF4-FFF2-40B4-BE49-F238E27FC236}">
                <a16:creationId xmlns:a16="http://schemas.microsoft.com/office/drawing/2014/main" id="{BA91B6E4-7AF8-4248-9E6E-8A947ACB527E}"/>
              </a:ext>
            </a:extLst>
          </p:cNvPr>
          <p:cNvPicPr>
            <a:picLocks noChangeAspect="1" noChangeArrowheads="1"/>
          </p:cNvPicPr>
          <p:nvPr userDrawn="1"/>
        </p:nvPicPr>
        <p:blipFill rotWithShape="1">
          <a:blip r:embed="rId7" cstate="print">
            <a:biLevel thresh="25000"/>
            <a:extLst>
              <a:ext uri="{28A0092B-C50C-407E-A947-70E740481C1C}">
                <a14:useLocalDpi xmlns:a14="http://schemas.microsoft.com/office/drawing/2010/main"/>
              </a:ext>
            </a:extLst>
          </a:blip>
          <a:srcRect l="90734" t="32777" b="6087"/>
          <a:stretch/>
        </p:blipFill>
        <p:spPr bwMode="auto">
          <a:xfrm>
            <a:off x="0" y="-1"/>
            <a:ext cx="2135460" cy="685800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89445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4">
          <p15:clr>
            <a:srgbClr val="FBAE40"/>
          </p15:clr>
        </p15:guide>
        <p15:guide id="2" pos="315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eldia">
    <p:bg>
      <p:bgPr>
        <a:solidFill>
          <a:srgbClr val="C62B37"/>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bg1"/>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bg1"/>
                </a:solidFill>
              </a:defRPr>
            </a:lvl1pPr>
          </a:lstStyle>
          <a:p>
            <a:fld id="{022FBEFF-EBBF-4E87-8B40-6CCE83520150}" type="datetime1">
              <a:rPr lang="nl-BE" smtClean="0"/>
              <a:t>30/05/2023</a:t>
            </a:fld>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bg1"/>
                </a:solidFill>
              </a:defRPr>
            </a:lvl1pPr>
          </a:lstStyle>
          <a:p>
            <a:endParaRPr lang="nl-BE" dirty="0"/>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bg1"/>
                </a:solidFill>
              </a:defRPr>
            </a:lvl1pPr>
          </a:lstStyle>
          <a:p>
            <a:fld id="{9BE375CD-4755-4D83-B134-E6AD5007676A}" type="slidenum">
              <a:rPr lang="nl-BE" smtClean="0"/>
              <a:pPr/>
              <a:t>‹nr.›</a:t>
            </a:fld>
            <a:endParaRPr lang="nl-BE" dirty="0"/>
          </a:p>
        </p:txBody>
      </p:sp>
      <p:grpSp>
        <p:nvGrpSpPr>
          <p:cNvPr id="7" name="Group 7"/>
          <p:cNvGrpSpPr>
            <a:grpSpLocks noChangeAspect="1"/>
          </p:cNvGrpSpPr>
          <p:nvPr userDrawn="1"/>
        </p:nvGrpSpPr>
        <p:grpSpPr bwMode="auto">
          <a:xfrm>
            <a:off x="11064875" y="6416042"/>
            <a:ext cx="600076" cy="258577"/>
            <a:chOff x="4371" y="191"/>
            <a:chExt cx="5592" cy="2723"/>
          </a:xfrm>
        </p:grpSpPr>
        <p:sp>
          <p:nvSpPr>
            <p:cNvPr id="8" name="Freeform 9"/>
            <p:cNvSpPr>
              <a:spLocks/>
            </p:cNvSpPr>
            <p:nvPr/>
          </p:nvSpPr>
          <p:spPr bwMode="auto">
            <a:xfrm>
              <a:off x="4649" y="1284"/>
              <a:ext cx="1811" cy="920"/>
            </a:xfrm>
            <a:custGeom>
              <a:avLst/>
              <a:gdLst>
                <a:gd name="T0" fmla="*/ 68 w 1811"/>
                <a:gd name="T1" fmla="*/ 0 h 920"/>
                <a:gd name="T2" fmla="*/ 611 w 1811"/>
                <a:gd name="T3" fmla="*/ 58 h 920"/>
                <a:gd name="T4" fmla="*/ 581 w 1811"/>
                <a:gd name="T5" fmla="*/ 189 h 920"/>
                <a:gd name="T6" fmla="*/ 582 w 1811"/>
                <a:gd name="T7" fmla="*/ 330 h 920"/>
                <a:gd name="T8" fmla="*/ 616 w 1811"/>
                <a:gd name="T9" fmla="*/ 454 h 920"/>
                <a:gd name="T10" fmla="*/ 686 w 1811"/>
                <a:gd name="T11" fmla="*/ 564 h 920"/>
                <a:gd name="T12" fmla="*/ 786 w 1811"/>
                <a:gd name="T13" fmla="*/ 657 h 920"/>
                <a:gd name="T14" fmla="*/ 903 w 1811"/>
                <a:gd name="T15" fmla="*/ 722 h 920"/>
                <a:gd name="T16" fmla="*/ 1032 w 1811"/>
                <a:gd name="T17" fmla="*/ 754 h 920"/>
                <a:gd name="T18" fmla="*/ 1641 w 1811"/>
                <a:gd name="T19" fmla="*/ 757 h 920"/>
                <a:gd name="T20" fmla="*/ 1657 w 1811"/>
                <a:gd name="T21" fmla="*/ 776 h 920"/>
                <a:gd name="T22" fmla="*/ 1672 w 1811"/>
                <a:gd name="T23" fmla="*/ 795 h 920"/>
                <a:gd name="T24" fmla="*/ 1689 w 1811"/>
                <a:gd name="T25" fmla="*/ 813 h 920"/>
                <a:gd name="T26" fmla="*/ 1758 w 1811"/>
                <a:gd name="T27" fmla="*/ 880 h 920"/>
                <a:gd name="T28" fmla="*/ 1102 w 1811"/>
                <a:gd name="T29" fmla="*/ 920 h 920"/>
                <a:gd name="T30" fmla="*/ 951 w 1811"/>
                <a:gd name="T31" fmla="*/ 905 h 920"/>
                <a:gd name="T32" fmla="*/ 811 w 1811"/>
                <a:gd name="T33" fmla="*/ 858 h 920"/>
                <a:gd name="T34" fmla="*/ 682 w 1811"/>
                <a:gd name="T35" fmla="*/ 780 h 920"/>
                <a:gd name="T36" fmla="*/ 569 w 1811"/>
                <a:gd name="T37" fmla="*/ 671 h 920"/>
                <a:gd name="T38" fmla="*/ 486 w 1811"/>
                <a:gd name="T39" fmla="*/ 549 h 920"/>
                <a:gd name="T40" fmla="*/ 435 w 1811"/>
                <a:gd name="T41" fmla="*/ 413 h 920"/>
                <a:gd name="T42" fmla="*/ 418 w 1811"/>
                <a:gd name="T43" fmla="*/ 263 h 920"/>
                <a:gd name="T44" fmla="*/ 426 w 1811"/>
                <a:gd name="T45" fmla="*/ 146 h 920"/>
                <a:gd name="T46" fmla="*/ 153 w 1811"/>
                <a:gd name="T47" fmla="*/ 839 h 920"/>
                <a:gd name="T48" fmla="*/ 150 w 1811"/>
                <a:gd name="T49" fmla="*/ 868 h 920"/>
                <a:gd name="T50" fmla="*/ 122 w 1811"/>
                <a:gd name="T51" fmla="*/ 905 h 920"/>
                <a:gd name="T52" fmla="*/ 77 w 1811"/>
                <a:gd name="T53" fmla="*/ 920 h 920"/>
                <a:gd name="T54" fmla="*/ 33 w 1811"/>
                <a:gd name="T55" fmla="*/ 905 h 920"/>
                <a:gd name="T56" fmla="*/ 5 w 1811"/>
                <a:gd name="T57" fmla="*/ 868 h 920"/>
                <a:gd name="T58" fmla="*/ 2 w 1811"/>
                <a:gd name="T59" fmla="*/ 842 h 920"/>
                <a:gd name="T60" fmla="*/ 0 w 1811"/>
                <a:gd name="T61" fmla="*/ 70 h 920"/>
                <a:gd name="T62" fmla="*/ 2 w 1811"/>
                <a:gd name="T63" fmla="*/ 60 h 920"/>
                <a:gd name="T64" fmla="*/ 9 w 1811"/>
                <a:gd name="T65" fmla="*/ 36 h 920"/>
                <a:gd name="T66" fmla="*/ 27 w 1811"/>
                <a:gd name="T67" fmla="*/ 11 h 920"/>
                <a:gd name="T68" fmla="*/ 68 w 1811"/>
                <a:gd name="T69"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1" h="920">
                  <a:moveTo>
                    <a:pt x="68" y="0"/>
                  </a:moveTo>
                  <a:lnTo>
                    <a:pt x="68" y="0"/>
                  </a:lnTo>
                  <a:lnTo>
                    <a:pt x="637" y="0"/>
                  </a:lnTo>
                  <a:lnTo>
                    <a:pt x="611" y="58"/>
                  </a:lnTo>
                  <a:lnTo>
                    <a:pt x="593" y="121"/>
                  </a:lnTo>
                  <a:lnTo>
                    <a:pt x="581" y="189"/>
                  </a:lnTo>
                  <a:lnTo>
                    <a:pt x="577" y="263"/>
                  </a:lnTo>
                  <a:lnTo>
                    <a:pt x="582" y="330"/>
                  </a:lnTo>
                  <a:lnTo>
                    <a:pt x="594" y="392"/>
                  </a:lnTo>
                  <a:lnTo>
                    <a:pt x="616" y="454"/>
                  </a:lnTo>
                  <a:lnTo>
                    <a:pt x="647" y="510"/>
                  </a:lnTo>
                  <a:lnTo>
                    <a:pt x="686" y="564"/>
                  </a:lnTo>
                  <a:lnTo>
                    <a:pt x="733" y="613"/>
                  </a:lnTo>
                  <a:lnTo>
                    <a:pt x="786" y="657"/>
                  </a:lnTo>
                  <a:lnTo>
                    <a:pt x="844" y="693"/>
                  </a:lnTo>
                  <a:lnTo>
                    <a:pt x="903" y="722"/>
                  </a:lnTo>
                  <a:lnTo>
                    <a:pt x="966" y="742"/>
                  </a:lnTo>
                  <a:lnTo>
                    <a:pt x="1032" y="754"/>
                  </a:lnTo>
                  <a:lnTo>
                    <a:pt x="1102" y="757"/>
                  </a:lnTo>
                  <a:lnTo>
                    <a:pt x="1641" y="757"/>
                  </a:lnTo>
                  <a:lnTo>
                    <a:pt x="1641" y="757"/>
                  </a:lnTo>
                  <a:lnTo>
                    <a:pt x="1657" y="776"/>
                  </a:lnTo>
                  <a:lnTo>
                    <a:pt x="1658" y="778"/>
                  </a:lnTo>
                  <a:lnTo>
                    <a:pt x="1672" y="795"/>
                  </a:lnTo>
                  <a:lnTo>
                    <a:pt x="1677" y="802"/>
                  </a:lnTo>
                  <a:lnTo>
                    <a:pt x="1689" y="813"/>
                  </a:lnTo>
                  <a:lnTo>
                    <a:pt x="1707" y="832"/>
                  </a:lnTo>
                  <a:lnTo>
                    <a:pt x="1758" y="880"/>
                  </a:lnTo>
                  <a:lnTo>
                    <a:pt x="1811" y="920"/>
                  </a:lnTo>
                  <a:lnTo>
                    <a:pt x="1102" y="920"/>
                  </a:lnTo>
                  <a:lnTo>
                    <a:pt x="1025" y="917"/>
                  </a:lnTo>
                  <a:lnTo>
                    <a:pt x="951" y="905"/>
                  </a:lnTo>
                  <a:lnTo>
                    <a:pt x="879" y="885"/>
                  </a:lnTo>
                  <a:lnTo>
                    <a:pt x="811" y="858"/>
                  </a:lnTo>
                  <a:lnTo>
                    <a:pt x="745" y="822"/>
                  </a:lnTo>
                  <a:lnTo>
                    <a:pt x="682" y="780"/>
                  </a:lnTo>
                  <a:lnTo>
                    <a:pt x="623" y="729"/>
                  </a:lnTo>
                  <a:lnTo>
                    <a:pt x="569" y="671"/>
                  </a:lnTo>
                  <a:lnTo>
                    <a:pt x="523" y="611"/>
                  </a:lnTo>
                  <a:lnTo>
                    <a:pt x="486" y="549"/>
                  </a:lnTo>
                  <a:lnTo>
                    <a:pt x="457" y="482"/>
                  </a:lnTo>
                  <a:lnTo>
                    <a:pt x="435" y="413"/>
                  </a:lnTo>
                  <a:lnTo>
                    <a:pt x="423" y="340"/>
                  </a:lnTo>
                  <a:lnTo>
                    <a:pt x="418" y="263"/>
                  </a:lnTo>
                  <a:lnTo>
                    <a:pt x="421" y="204"/>
                  </a:lnTo>
                  <a:lnTo>
                    <a:pt x="426" y="146"/>
                  </a:lnTo>
                  <a:lnTo>
                    <a:pt x="153" y="146"/>
                  </a:lnTo>
                  <a:lnTo>
                    <a:pt x="153" y="839"/>
                  </a:lnTo>
                  <a:lnTo>
                    <a:pt x="153" y="844"/>
                  </a:lnTo>
                  <a:lnTo>
                    <a:pt x="150" y="868"/>
                  </a:lnTo>
                  <a:lnTo>
                    <a:pt x="138" y="890"/>
                  </a:lnTo>
                  <a:lnTo>
                    <a:pt x="122" y="905"/>
                  </a:lnTo>
                  <a:lnTo>
                    <a:pt x="100" y="917"/>
                  </a:lnTo>
                  <a:lnTo>
                    <a:pt x="77" y="920"/>
                  </a:lnTo>
                  <a:lnTo>
                    <a:pt x="53" y="917"/>
                  </a:lnTo>
                  <a:lnTo>
                    <a:pt x="33" y="905"/>
                  </a:lnTo>
                  <a:lnTo>
                    <a:pt x="16" y="890"/>
                  </a:lnTo>
                  <a:lnTo>
                    <a:pt x="5" y="868"/>
                  </a:lnTo>
                  <a:lnTo>
                    <a:pt x="0" y="844"/>
                  </a:lnTo>
                  <a:lnTo>
                    <a:pt x="2" y="842"/>
                  </a:lnTo>
                  <a:lnTo>
                    <a:pt x="0" y="842"/>
                  </a:lnTo>
                  <a:lnTo>
                    <a:pt x="0" y="70"/>
                  </a:lnTo>
                  <a:lnTo>
                    <a:pt x="0" y="68"/>
                  </a:lnTo>
                  <a:lnTo>
                    <a:pt x="2" y="60"/>
                  </a:lnTo>
                  <a:lnTo>
                    <a:pt x="4" y="48"/>
                  </a:lnTo>
                  <a:lnTo>
                    <a:pt x="9" y="36"/>
                  </a:lnTo>
                  <a:lnTo>
                    <a:pt x="16" y="22"/>
                  </a:lnTo>
                  <a:lnTo>
                    <a:pt x="27" y="11"/>
                  </a:lnTo>
                  <a:lnTo>
                    <a:pt x="44" y="4"/>
                  </a:lnTo>
                  <a:lnTo>
                    <a:pt x="6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9" name="Freeform 10"/>
            <p:cNvSpPr>
              <a:spLocks noEditPoints="1"/>
            </p:cNvSpPr>
            <p:nvPr/>
          </p:nvSpPr>
          <p:spPr bwMode="auto">
            <a:xfrm>
              <a:off x="6528" y="1152"/>
              <a:ext cx="784" cy="789"/>
            </a:xfrm>
            <a:custGeom>
              <a:avLst/>
              <a:gdLst>
                <a:gd name="T0" fmla="*/ 341 w 784"/>
                <a:gd name="T1" fmla="*/ 166 h 789"/>
                <a:gd name="T2" fmla="*/ 259 w 784"/>
                <a:gd name="T3" fmla="*/ 200 h 789"/>
                <a:gd name="T4" fmla="*/ 195 w 784"/>
                <a:gd name="T5" fmla="*/ 266 h 789"/>
                <a:gd name="T6" fmla="*/ 163 w 784"/>
                <a:gd name="T7" fmla="*/ 351 h 789"/>
                <a:gd name="T8" fmla="*/ 163 w 784"/>
                <a:gd name="T9" fmla="*/ 445 h 789"/>
                <a:gd name="T10" fmla="*/ 197 w 784"/>
                <a:gd name="T11" fmla="*/ 526 h 789"/>
                <a:gd name="T12" fmla="*/ 261 w 784"/>
                <a:gd name="T13" fmla="*/ 591 h 789"/>
                <a:gd name="T14" fmla="*/ 343 w 784"/>
                <a:gd name="T15" fmla="*/ 623 h 789"/>
                <a:gd name="T16" fmla="*/ 436 w 784"/>
                <a:gd name="T17" fmla="*/ 623 h 789"/>
                <a:gd name="T18" fmla="*/ 519 w 784"/>
                <a:gd name="T19" fmla="*/ 591 h 789"/>
                <a:gd name="T20" fmla="*/ 585 w 784"/>
                <a:gd name="T21" fmla="*/ 526 h 789"/>
                <a:gd name="T22" fmla="*/ 621 w 784"/>
                <a:gd name="T23" fmla="*/ 445 h 789"/>
                <a:gd name="T24" fmla="*/ 621 w 784"/>
                <a:gd name="T25" fmla="*/ 351 h 789"/>
                <a:gd name="T26" fmla="*/ 587 w 784"/>
                <a:gd name="T27" fmla="*/ 266 h 789"/>
                <a:gd name="T28" fmla="*/ 521 w 784"/>
                <a:gd name="T29" fmla="*/ 200 h 789"/>
                <a:gd name="T30" fmla="*/ 436 w 784"/>
                <a:gd name="T31" fmla="*/ 166 h 789"/>
                <a:gd name="T32" fmla="*/ 388 w 784"/>
                <a:gd name="T33" fmla="*/ 0 h 789"/>
                <a:gd name="T34" fmla="*/ 512 w 784"/>
                <a:gd name="T35" fmla="*/ 19 h 789"/>
                <a:gd name="T36" fmla="*/ 621 w 784"/>
                <a:gd name="T37" fmla="*/ 75 h 789"/>
                <a:gd name="T38" fmla="*/ 711 w 784"/>
                <a:gd name="T39" fmla="*/ 166 h 789"/>
                <a:gd name="T40" fmla="*/ 765 w 784"/>
                <a:gd name="T41" fmla="*/ 275 h 789"/>
                <a:gd name="T42" fmla="*/ 784 w 784"/>
                <a:gd name="T43" fmla="*/ 399 h 789"/>
                <a:gd name="T44" fmla="*/ 765 w 784"/>
                <a:gd name="T45" fmla="*/ 519 h 789"/>
                <a:gd name="T46" fmla="*/ 709 w 784"/>
                <a:gd name="T47" fmla="*/ 626 h 789"/>
                <a:gd name="T48" fmla="*/ 619 w 784"/>
                <a:gd name="T49" fmla="*/ 716 h 789"/>
                <a:gd name="T50" fmla="*/ 512 w 784"/>
                <a:gd name="T51" fmla="*/ 772 h 789"/>
                <a:gd name="T52" fmla="*/ 388 w 784"/>
                <a:gd name="T53" fmla="*/ 789 h 789"/>
                <a:gd name="T54" fmla="*/ 266 w 784"/>
                <a:gd name="T55" fmla="*/ 772 h 789"/>
                <a:gd name="T56" fmla="*/ 159 w 784"/>
                <a:gd name="T57" fmla="*/ 718 h 789"/>
                <a:gd name="T58" fmla="*/ 73 w 784"/>
                <a:gd name="T59" fmla="*/ 630 h 789"/>
                <a:gd name="T60" fmla="*/ 19 w 784"/>
                <a:gd name="T61" fmla="*/ 523 h 789"/>
                <a:gd name="T62" fmla="*/ 0 w 784"/>
                <a:gd name="T63" fmla="*/ 399 h 789"/>
                <a:gd name="T64" fmla="*/ 19 w 784"/>
                <a:gd name="T65" fmla="*/ 275 h 789"/>
                <a:gd name="T66" fmla="*/ 73 w 784"/>
                <a:gd name="T67" fmla="*/ 166 h 789"/>
                <a:gd name="T68" fmla="*/ 163 w 784"/>
                <a:gd name="T69" fmla="*/ 75 h 789"/>
                <a:gd name="T70" fmla="*/ 268 w 784"/>
                <a:gd name="T71" fmla="*/ 19 h 789"/>
                <a:gd name="T72" fmla="*/ 388 w 784"/>
                <a:gd name="T7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4" h="789">
                  <a:moveTo>
                    <a:pt x="388" y="161"/>
                  </a:moveTo>
                  <a:lnTo>
                    <a:pt x="341" y="166"/>
                  </a:lnTo>
                  <a:lnTo>
                    <a:pt x="299" y="178"/>
                  </a:lnTo>
                  <a:lnTo>
                    <a:pt x="259" y="200"/>
                  </a:lnTo>
                  <a:lnTo>
                    <a:pt x="224" y="229"/>
                  </a:lnTo>
                  <a:lnTo>
                    <a:pt x="195" y="266"/>
                  </a:lnTo>
                  <a:lnTo>
                    <a:pt x="175" y="305"/>
                  </a:lnTo>
                  <a:lnTo>
                    <a:pt x="163" y="351"/>
                  </a:lnTo>
                  <a:lnTo>
                    <a:pt x="159" y="399"/>
                  </a:lnTo>
                  <a:lnTo>
                    <a:pt x="163" y="445"/>
                  </a:lnTo>
                  <a:lnTo>
                    <a:pt x="175" y="487"/>
                  </a:lnTo>
                  <a:lnTo>
                    <a:pt x="197" y="526"/>
                  </a:lnTo>
                  <a:lnTo>
                    <a:pt x="226" y="562"/>
                  </a:lnTo>
                  <a:lnTo>
                    <a:pt x="261" y="591"/>
                  </a:lnTo>
                  <a:lnTo>
                    <a:pt x="300" y="611"/>
                  </a:lnTo>
                  <a:lnTo>
                    <a:pt x="343" y="623"/>
                  </a:lnTo>
                  <a:lnTo>
                    <a:pt x="388" y="628"/>
                  </a:lnTo>
                  <a:lnTo>
                    <a:pt x="436" y="623"/>
                  </a:lnTo>
                  <a:lnTo>
                    <a:pt x="478" y="611"/>
                  </a:lnTo>
                  <a:lnTo>
                    <a:pt x="519" y="591"/>
                  </a:lnTo>
                  <a:lnTo>
                    <a:pt x="555" y="562"/>
                  </a:lnTo>
                  <a:lnTo>
                    <a:pt x="585" y="526"/>
                  </a:lnTo>
                  <a:lnTo>
                    <a:pt x="607" y="487"/>
                  </a:lnTo>
                  <a:lnTo>
                    <a:pt x="621" y="445"/>
                  </a:lnTo>
                  <a:lnTo>
                    <a:pt x="624" y="399"/>
                  </a:lnTo>
                  <a:lnTo>
                    <a:pt x="621" y="351"/>
                  </a:lnTo>
                  <a:lnTo>
                    <a:pt x="607" y="305"/>
                  </a:lnTo>
                  <a:lnTo>
                    <a:pt x="587" y="266"/>
                  </a:lnTo>
                  <a:lnTo>
                    <a:pt x="556" y="229"/>
                  </a:lnTo>
                  <a:lnTo>
                    <a:pt x="521" y="200"/>
                  </a:lnTo>
                  <a:lnTo>
                    <a:pt x="480" y="178"/>
                  </a:lnTo>
                  <a:lnTo>
                    <a:pt x="436" y="166"/>
                  </a:lnTo>
                  <a:lnTo>
                    <a:pt x="388" y="161"/>
                  </a:lnTo>
                  <a:close/>
                  <a:moveTo>
                    <a:pt x="388" y="0"/>
                  </a:moveTo>
                  <a:lnTo>
                    <a:pt x="453" y="5"/>
                  </a:lnTo>
                  <a:lnTo>
                    <a:pt x="512" y="19"/>
                  </a:lnTo>
                  <a:lnTo>
                    <a:pt x="570" y="42"/>
                  </a:lnTo>
                  <a:lnTo>
                    <a:pt x="621" y="75"/>
                  </a:lnTo>
                  <a:lnTo>
                    <a:pt x="668" y="117"/>
                  </a:lnTo>
                  <a:lnTo>
                    <a:pt x="711" y="166"/>
                  </a:lnTo>
                  <a:lnTo>
                    <a:pt x="743" y="219"/>
                  </a:lnTo>
                  <a:lnTo>
                    <a:pt x="765" y="275"/>
                  </a:lnTo>
                  <a:lnTo>
                    <a:pt x="779" y="334"/>
                  </a:lnTo>
                  <a:lnTo>
                    <a:pt x="784" y="399"/>
                  </a:lnTo>
                  <a:lnTo>
                    <a:pt x="779" y="462"/>
                  </a:lnTo>
                  <a:lnTo>
                    <a:pt x="765" y="519"/>
                  </a:lnTo>
                  <a:lnTo>
                    <a:pt x="741" y="575"/>
                  </a:lnTo>
                  <a:lnTo>
                    <a:pt x="709" y="626"/>
                  </a:lnTo>
                  <a:lnTo>
                    <a:pt x="668" y="674"/>
                  </a:lnTo>
                  <a:lnTo>
                    <a:pt x="619" y="716"/>
                  </a:lnTo>
                  <a:lnTo>
                    <a:pt x="567" y="749"/>
                  </a:lnTo>
                  <a:lnTo>
                    <a:pt x="512" y="772"/>
                  </a:lnTo>
                  <a:lnTo>
                    <a:pt x="451" y="786"/>
                  </a:lnTo>
                  <a:lnTo>
                    <a:pt x="388" y="789"/>
                  </a:lnTo>
                  <a:lnTo>
                    <a:pt x="326" y="786"/>
                  </a:lnTo>
                  <a:lnTo>
                    <a:pt x="266" y="772"/>
                  </a:lnTo>
                  <a:lnTo>
                    <a:pt x="212" y="750"/>
                  </a:lnTo>
                  <a:lnTo>
                    <a:pt x="159" y="718"/>
                  </a:lnTo>
                  <a:lnTo>
                    <a:pt x="114" y="677"/>
                  </a:lnTo>
                  <a:lnTo>
                    <a:pt x="73" y="630"/>
                  </a:lnTo>
                  <a:lnTo>
                    <a:pt x="41" y="579"/>
                  </a:lnTo>
                  <a:lnTo>
                    <a:pt x="19" y="523"/>
                  </a:lnTo>
                  <a:lnTo>
                    <a:pt x="5" y="463"/>
                  </a:lnTo>
                  <a:lnTo>
                    <a:pt x="0" y="399"/>
                  </a:lnTo>
                  <a:lnTo>
                    <a:pt x="5" y="334"/>
                  </a:lnTo>
                  <a:lnTo>
                    <a:pt x="19" y="275"/>
                  </a:lnTo>
                  <a:lnTo>
                    <a:pt x="41" y="219"/>
                  </a:lnTo>
                  <a:lnTo>
                    <a:pt x="73" y="166"/>
                  </a:lnTo>
                  <a:lnTo>
                    <a:pt x="114" y="117"/>
                  </a:lnTo>
                  <a:lnTo>
                    <a:pt x="163" y="75"/>
                  </a:lnTo>
                  <a:lnTo>
                    <a:pt x="214" y="42"/>
                  </a:lnTo>
                  <a:lnTo>
                    <a:pt x="268" y="19"/>
                  </a:lnTo>
                  <a:lnTo>
                    <a:pt x="327" y="5"/>
                  </a:lnTo>
                  <a:lnTo>
                    <a:pt x="3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0" name="Freeform 11"/>
            <p:cNvSpPr>
              <a:spLocks/>
            </p:cNvSpPr>
            <p:nvPr/>
          </p:nvSpPr>
          <p:spPr bwMode="auto">
            <a:xfrm>
              <a:off x="4371" y="191"/>
              <a:ext cx="5327" cy="2450"/>
            </a:xfrm>
            <a:custGeom>
              <a:avLst/>
              <a:gdLst>
                <a:gd name="T0" fmla="*/ 2282 w 5327"/>
                <a:gd name="T1" fmla="*/ 127 h 2450"/>
                <a:gd name="T2" fmla="*/ 2342 w 5327"/>
                <a:gd name="T3" fmla="*/ 739 h 2450"/>
                <a:gd name="T4" fmla="*/ 2773 w 5327"/>
                <a:gd name="T5" fmla="*/ 737 h 2450"/>
                <a:gd name="T6" fmla="*/ 3136 w 5327"/>
                <a:gd name="T7" fmla="*/ 1061 h 2450"/>
                <a:gd name="T8" fmla="*/ 3448 w 5327"/>
                <a:gd name="T9" fmla="*/ 749 h 2450"/>
                <a:gd name="T10" fmla="*/ 3968 w 5327"/>
                <a:gd name="T11" fmla="*/ 720 h 2450"/>
                <a:gd name="T12" fmla="*/ 4337 w 5327"/>
                <a:gd name="T13" fmla="*/ 1017 h 2450"/>
                <a:gd name="T14" fmla="*/ 4422 w 5327"/>
                <a:gd name="T15" fmla="*/ 1353 h 2450"/>
                <a:gd name="T16" fmla="*/ 4617 w 5327"/>
                <a:gd name="T17" fmla="*/ 1767 h 2450"/>
                <a:gd name="T18" fmla="*/ 5060 w 5327"/>
                <a:gd name="T19" fmla="*/ 1852 h 2450"/>
                <a:gd name="T20" fmla="*/ 5322 w 5327"/>
                <a:gd name="T21" fmla="*/ 2129 h 2450"/>
                <a:gd name="T22" fmla="*/ 5089 w 5327"/>
                <a:gd name="T23" fmla="*/ 2433 h 2450"/>
                <a:gd name="T24" fmla="*/ 4826 w 5327"/>
                <a:gd name="T25" fmla="*/ 2419 h 2450"/>
                <a:gd name="T26" fmla="*/ 4813 w 5327"/>
                <a:gd name="T27" fmla="*/ 2283 h 2450"/>
                <a:gd name="T28" fmla="*/ 4886 w 5327"/>
                <a:gd name="T29" fmla="*/ 2273 h 2450"/>
                <a:gd name="T30" fmla="*/ 5062 w 5327"/>
                <a:gd name="T31" fmla="*/ 2278 h 2450"/>
                <a:gd name="T32" fmla="*/ 5179 w 5327"/>
                <a:gd name="T33" fmla="*/ 2007 h 2450"/>
                <a:gd name="T34" fmla="*/ 4852 w 5327"/>
                <a:gd name="T35" fmla="*/ 2003 h 2450"/>
                <a:gd name="T36" fmla="*/ 4417 w 5327"/>
                <a:gd name="T37" fmla="*/ 1755 h 2450"/>
                <a:gd name="T38" fmla="*/ 4271 w 5327"/>
                <a:gd name="T39" fmla="*/ 1312 h 2450"/>
                <a:gd name="T40" fmla="*/ 4096 w 5327"/>
                <a:gd name="T41" fmla="*/ 961 h 2450"/>
                <a:gd name="T42" fmla="*/ 3679 w 5327"/>
                <a:gd name="T43" fmla="*/ 847 h 2450"/>
                <a:gd name="T44" fmla="*/ 3312 w 5327"/>
                <a:gd name="T45" fmla="*/ 1064 h 2450"/>
                <a:gd name="T46" fmla="*/ 3255 w 5327"/>
                <a:gd name="T47" fmla="*/ 1485 h 2450"/>
                <a:gd name="T48" fmla="*/ 3562 w 5327"/>
                <a:gd name="T49" fmla="*/ 1815 h 2450"/>
                <a:gd name="T50" fmla="*/ 4424 w 5327"/>
                <a:gd name="T51" fmla="*/ 1973 h 2450"/>
                <a:gd name="T52" fmla="*/ 3406 w 5327"/>
                <a:gd name="T53" fmla="*/ 1915 h 2450"/>
                <a:gd name="T54" fmla="*/ 3066 w 5327"/>
                <a:gd name="T55" fmla="*/ 1767 h 2450"/>
                <a:gd name="T56" fmla="*/ 2627 w 5327"/>
                <a:gd name="T57" fmla="*/ 2010 h 2450"/>
                <a:gd name="T58" fmla="*/ 2140 w 5327"/>
                <a:gd name="T59" fmla="*/ 1878 h 2450"/>
                <a:gd name="T60" fmla="*/ 1896 w 5327"/>
                <a:gd name="T61" fmla="*/ 1446 h 2450"/>
                <a:gd name="T62" fmla="*/ 1794 w 5327"/>
                <a:gd name="T63" fmla="*/ 1047 h 2450"/>
                <a:gd name="T64" fmla="*/ 1436 w 5327"/>
                <a:gd name="T65" fmla="*/ 847 h 2450"/>
                <a:gd name="T66" fmla="*/ 348 w 5327"/>
                <a:gd name="T67" fmla="*/ 947 h 2450"/>
                <a:gd name="T68" fmla="*/ 280 w 5327"/>
                <a:gd name="T69" fmla="*/ 888 h 2450"/>
                <a:gd name="T70" fmla="*/ 319 w 5327"/>
                <a:gd name="T71" fmla="*/ 465 h 2450"/>
                <a:gd name="T72" fmla="*/ 555 w 5327"/>
                <a:gd name="T73" fmla="*/ 333 h 2450"/>
                <a:gd name="T74" fmla="*/ 1081 w 5327"/>
                <a:gd name="T75" fmla="*/ 268 h 2450"/>
                <a:gd name="T76" fmla="*/ 531 w 5327"/>
                <a:gd name="T77" fmla="*/ 197 h 2450"/>
                <a:gd name="T78" fmla="*/ 251 w 5327"/>
                <a:gd name="T79" fmla="*/ 324 h 2450"/>
                <a:gd name="T80" fmla="*/ 151 w 5327"/>
                <a:gd name="T81" fmla="*/ 1940 h 2450"/>
                <a:gd name="T82" fmla="*/ 32 w 5327"/>
                <a:gd name="T83" fmla="*/ 2000 h 2450"/>
                <a:gd name="T84" fmla="*/ 10 w 5327"/>
                <a:gd name="T85" fmla="*/ 484 h 2450"/>
                <a:gd name="T86" fmla="*/ 243 w 5327"/>
                <a:gd name="T87" fmla="*/ 136 h 2450"/>
                <a:gd name="T88" fmla="*/ 1032 w 5327"/>
                <a:gd name="T89" fmla="*/ 44 h 2450"/>
                <a:gd name="T90" fmla="*/ 1224 w 5327"/>
                <a:gd name="T91" fmla="*/ 214 h 2450"/>
                <a:gd name="T92" fmla="*/ 1108 w 5327"/>
                <a:gd name="T93" fmla="*/ 452 h 2450"/>
                <a:gd name="T94" fmla="*/ 572 w 5327"/>
                <a:gd name="T95" fmla="*/ 474 h 2450"/>
                <a:gd name="T96" fmla="*/ 416 w 5327"/>
                <a:gd name="T97" fmla="*/ 635 h 2450"/>
                <a:gd name="T98" fmla="*/ 1290 w 5327"/>
                <a:gd name="T99" fmla="*/ 693 h 2450"/>
                <a:gd name="T100" fmla="*/ 1768 w 5327"/>
                <a:gd name="T101" fmla="*/ 808 h 2450"/>
                <a:gd name="T102" fmla="*/ 2028 w 5327"/>
                <a:gd name="T103" fmla="*/ 1226 h 2450"/>
                <a:gd name="T104" fmla="*/ 2147 w 5327"/>
                <a:gd name="T105" fmla="*/ 1660 h 2450"/>
                <a:gd name="T106" fmla="*/ 2554 w 5327"/>
                <a:gd name="T107" fmla="*/ 1852 h 2450"/>
                <a:gd name="T108" fmla="*/ 2954 w 5327"/>
                <a:gd name="T109" fmla="*/ 1662 h 2450"/>
                <a:gd name="T110" fmla="*/ 3041 w 5327"/>
                <a:gd name="T111" fmla="*/ 1226 h 2450"/>
                <a:gd name="T112" fmla="*/ 2751 w 5327"/>
                <a:gd name="T113" fmla="*/ 874 h 2450"/>
                <a:gd name="T114" fmla="*/ 2277 w 5327"/>
                <a:gd name="T115" fmla="*/ 918 h 2450"/>
                <a:gd name="T116" fmla="*/ 2136 w 5327"/>
                <a:gd name="T117" fmla="*/ 165 h 2450"/>
                <a:gd name="T118" fmla="*/ 2021 w 5327"/>
                <a:gd name="T119" fmla="*/ 195 h 2450"/>
                <a:gd name="T120" fmla="*/ 1896 w 5327"/>
                <a:gd name="T121" fmla="*/ 769 h 2450"/>
                <a:gd name="T122" fmla="*/ 1906 w 5327"/>
                <a:gd name="T123" fmla="*/ 93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7" h="2450">
                  <a:moveTo>
                    <a:pt x="2087" y="0"/>
                  </a:moveTo>
                  <a:lnTo>
                    <a:pt x="2130" y="3"/>
                  </a:lnTo>
                  <a:lnTo>
                    <a:pt x="2170" y="15"/>
                  </a:lnTo>
                  <a:lnTo>
                    <a:pt x="2206" y="36"/>
                  </a:lnTo>
                  <a:lnTo>
                    <a:pt x="2237" y="61"/>
                  </a:lnTo>
                  <a:lnTo>
                    <a:pt x="2264" y="92"/>
                  </a:lnTo>
                  <a:lnTo>
                    <a:pt x="2282" y="127"/>
                  </a:lnTo>
                  <a:lnTo>
                    <a:pt x="2296" y="168"/>
                  </a:lnTo>
                  <a:lnTo>
                    <a:pt x="2299" y="212"/>
                  </a:lnTo>
                  <a:lnTo>
                    <a:pt x="2299" y="212"/>
                  </a:lnTo>
                  <a:lnTo>
                    <a:pt x="2301" y="222"/>
                  </a:lnTo>
                  <a:lnTo>
                    <a:pt x="2301" y="233"/>
                  </a:lnTo>
                  <a:lnTo>
                    <a:pt x="2301" y="756"/>
                  </a:lnTo>
                  <a:lnTo>
                    <a:pt x="2342" y="739"/>
                  </a:lnTo>
                  <a:lnTo>
                    <a:pt x="2374" y="727"/>
                  </a:lnTo>
                  <a:lnTo>
                    <a:pt x="2433" y="711"/>
                  </a:lnTo>
                  <a:lnTo>
                    <a:pt x="2495" y="703"/>
                  </a:lnTo>
                  <a:lnTo>
                    <a:pt x="2556" y="699"/>
                  </a:lnTo>
                  <a:lnTo>
                    <a:pt x="2632" y="705"/>
                  </a:lnTo>
                  <a:lnTo>
                    <a:pt x="2703" y="716"/>
                  </a:lnTo>
                  <a:lnTo>
                    <a:pt x="2773" y="737"/>
                  </a:lnTo>
                  <a:lnTo>
                    <a:pt x="2837" y="764"/>
                  </a:lnTo>
                  <a:lnTo>
                    <a:pt x="2900" y="800"/>
                  </a:lnTo>
                  <a:lnTo>
                    <a:pt x="2960" y="844"/>
                  </a:lnTo>
                  <a:lnTo>
                    <a:pt x="3016" y="896"/>
                  </a:lnTo>
                  <a:lnTo>
                    <a:pt x="3063" y="949"/>
                  </a:lnTo>
                  <a:lnTo>
                    <a:pt x="3102" y="1003"/>
                  </a:lnTo>
                  <a:lnTo>
                    <a:pt x="3136" y="1061"/>
                  </a:lnTo>
                  <a:lnTo>
                    <a:pt x="3161" y="1008"/>
                  </a:lnTo>
                  <a:lnTo>
                    <a:pt x="3192" y="959"/>
                  </a:lnTo>
                  <a:lnTo>
                    <a:pt x="3228" y="913"/>
                  </a:lnTo>
                  <a:lnTo>
                    <a:pt x="3267" y="871"/>
                  </a:lnTo>
                  <a:lnTo>
                    <a:pt x="3324" y="822"/>
                  </a:lnTo>
                  <a:lnTo>
                    <a:pt x="3384" y="783"/>
                  </a:lnTo>
                  <a:lnTo>
                    <a:pt x="3448" y="749"/>
                  </a:lnTo>
                  <a:lnTo>
                    <a:pt x="3518" y="723"/>
                  </a:lnTo>
                  <a:lnTo>
                    <a:pt x="3591" y="705"/>
                  </a:lnTo>
                  <a:lnTo>
                    <a:pt x="3667" y="693"/>
                  </a:lnTo>
                  <a:lnTo>
                    <a:pt x="3749" y="689"/>
                  </a:lnTo>
                  <a:lnTo>
                    <a:pt x="3825" y="693"/>
                  </a:lnTo>
                  <a:lnTo>
                    <a:pt x="3898" y="703"/>
                  </a:lnTo>
                  <a:lnTo>
                    <a:pt x="3968" y="720"/>
                  </a:lnTo>
                  <a:lnTo>
                    <a:pt x="4032" y="742"/>
                  </a:lnTo>
                  <a:lnTo>
                    <a:pt x="4093" y="772"/>
                  </a:lnTo>
                  <a:lnTo>
                    <a:pt x="4151" y="808"/>
                  </a:lnTo>
                  <a:lnTo>
                    <a:pt x="4203" y="852"/>
                  </a:lnTo>
                  <a:lnTo>
                    <a:pt x="4253" y="902"/>
                  </a:lnTo>
                  <a:lnTo>
                    <a:pt x="4298" y="958"/>
                  </a:lnTo>
                  <a:lnTo>
                    <a:pt x="4337" y="1017"/>
                  </a:lnTo>
                  <a:lnTo>
                    <a:pt x="4368" y="1078"/>
                  </a:lnTo>
                  <a:lnTo>
                    <a:pt x="4393" y="1141"/>
                  </a:lnTo>
                  <a:lnTo>
                    <a:pt x="4410" y="1207"/>
                  </a:lnTo>
                  <a:lnTo>
                    <a:pt x="4421" y="1277"/>
                  </a:lnTo>
                  <a:lnTo>
                    <a:pt x="4424" y="1348"/>
                  </a:lnTo>
                  <a:lnTo>
                    <a:pt x="4422" y="1350"/>
                  </a:lnTo>
                  <a:lnTo>
                    <a:pt x="4422" y="1353"/>
                  </a:lnTo>
                  <a:lnTo>
                    <a:pt x="4427" y="1423"/>
                  </a:lnTo>
                  <a:lnTo>
                    <a:pt x="4439" y="1489"/>
                  </a:lnTo>
                  <a:lnTo>
                    <a:pt x="4460" y="1552"/>
                  </a:lnTo>
                  <a:lnTo>
                    <a:pt x="4487" y="1611"/>
                  </a:lnTo>
                  <a:lnTo>
                    <a:pt x="4524" y="1667"/>
                  </a:lnTo>
                  <a:lnTo>
                    <a:pt x="4568" y="1721"/>
                  </a:lnTo>
                  <a:lnTo>
                    <a:pt x="4617" y="1767"/>
                  </a:lnTo>
                  <a:lnTo>
                    <a:pt x="4672" y="1806"/>
                  </a:lnTo>
                  <a:lnTo>
                    <a:pt x="4729" y="1835"/>
                  </a:lnTo>
                  <a:lnTo>
                    <a:pt x="4791" y="1857"/>
                  </a:lnTo>
                  <a:lnTo>
                    <a:pt x="4857" y="1869"/>
                  </a:lnTo>
                  <a:lnTo>
                    <a:pt x="4926" y="1874"/>
                  </a:lnTo>
                  <a:lnTo>
                    <a:pt x="4992" y="1869"/>
                  </a:lnTo>
                  <a:lnTo>
                    <a:pt x="5060" y="1852"/>
                  </a:lnTo>
                  <a:lnTo>
                    <a:pt x="5132" y="1827"/>
                  </a:lnTo>
                  <a:lnTo>
                    <a:pt x="5205" y="1789"/>
                  </a:lnTo>
                  <a:lnTo>
                    <a:pt x="5240" y="1767"/>
                  </a:lnTo>
                  <a:lnTo>
                    <a:pt x="5281" y="1738"/>
                  </a:lnTo>
                  <a:lnTo>
                    <a:pt x="5327" y="1703"/>
                  </a:lnTo>
                  <a:lnTo>
                    <a:pt x="5327" y="2068"/>
                  </a:lnTo>
                  <a:lnTo>
                    <a:pt x="5322" y="2129"/>
                  </a:lnTo>
                  <a:lnTo>
                    <a:pt x="5310" y="2185"/>
                  </a:lnTo>
                  <a:lnTo>
                    <a:pt x="5289" y="2237"/>
                  </a:lnTo>
                  <a:lnTo>
                    <a:pt x="5261" y="2288"/>
                  </a:lnTo>
                  <a:lnTo>
                    <a:pt x="5223" y="2336"/>
                  </a:lnTo>
                  <a:lnTo>
                    <a:pt x="5181" y="2377"/>
                  </a:lnTo>
                  <a:lnTo>
                    <a:pt x="5137" y="2409"/>
                  </a:lnTo>
                  <a:lnTo>
                    <a:pt x="5089" y="2433"/>
                  </a:lnTo>
                  <a:lnTo>
                    <a:pt x="5042" y="2446"/>
                  </a:lnTo>
                  <a:lnTo>
                    <a:pt x="4991" y="2450"/>
                  </a:lnTo>
                  <a:lnTo>
                    <a:pt x="4935" y="2448"/>
                  </a:lnTo>
                  <a:lnTo>
                    <a:pt x="4886" y="2440"/>
                  </a:lnTo>
                  <a:lnTo>
                    <a:pt x="4841" y="2426"/>
                  </a:lnTo>
                  <a:lnTo>
                    <a:pt x="4833" y="2423"/>
                  </a:lnTo>
                  <a:lnTo>
                    <a:pt x="4826" y="2419"/>
                  </a:lnTo>
                  <a:lnTo>
                    <a:pt x="4808" y="2407"/>
                  </a:lnTo>
                  <a:lnTo>
                    <a:pt x="4794" y="2390"/>
                  </a:lnTo>
                  <a:lnTo>
                    <a:pt x="4784" y="2370"/>
                  </a:lnTo>
                  <a:lnTo>
                    <a:pt x="4780" y="2348"/>
                  </a:lnTo>
                  <a:lnTo>
                    <a:pt x="4785" y="2322"/>
                  </a:lnTo>
                  <a:lnTo>
                    <a:pt x="4796" y="2300"/>
                  </a:lnTo>
                  <a:lnTo>
                    <a:pt x="4813" y="2283"/>
                  </a:lnTo>
                  <a:lnTo>
                    <a:pt x="4835" y="2273"/>
                  </a:lnTo>
                  <a:lnTo>
                    <a:pt x="4860" y="2268"/>
                  </a:lnTo>
                  <a:lnTo>
                    <a:pt x="4867" y="2268"/>
                  </a:lnTo>
                  <a:lnTo>
                    <a:pt x="4875" y="2270"/>
                  </a:lnTo>
                  <a:lnTo>
                    <a:pt x="4875" y="2270"/>
                  </a:lnTo>
                  <a:lnTo>
                    <a:pt x="4875" y="2270"/>
                  </a:lnTo>
                  <a:lnTo>
                    <a:pt x="4886" y="2273"/>
                  </a:lnTo>
                  <a:lnTo>
                    <a:pt x="4903" y="2277"/>
                  </a:lnTo>
                  <a:lnTo>
                    <a:pt x="4925" y="2282"/>
                  </a:lnTo>
                  <a:lnTo>
                    <a:pt x="4952" y="2285"/>
                  </a:lnTo>
                  <a:lnTo>
                    <a:pt x="4981" y="2288"/>
                  </a:lnTo>
                  <a:lnTo>
                    <a:pt x="5009" y="2288"/>
                  </a:lnTo>
                  <a:lnTo>
                    <a:pt x="5038" y="2287"/>
                  </a:lnTo>
                  <a:lnTo>
                    <a:pt x="5062" y="2278"/>
                  </a:lnTo>
                  <a:lnTo>
                    <a:pt x="5093" y="2260"/>
                  </a:lnTo>
                  <a:lnTo>
                    <a:pt x="5118" y="2236"/>
                  </a:lnTo>
                  <a:lnTo>
                    <a:pt x="5140" y="2205"/>
                  </a:lnTo>
                  <a:lnTo>
                    <a:pt x="5157" y="2166"/>
                  </a:lnTo>
                  <a:lnTo>
                    <a:pt x="5169" y="2120"/>
                  </a:lnTo>
                  <a:lnTo>
                    <a:pt x="5176" y="2068"/>
                  </a:lnTo>
                  <a:lnTo>
                    <a:pt x="5179" y="2007"/>
                  </a:lnTo>
                  <a:lnTo>
                    <a:pt x="5179" y="1952"/>
                  </a:lnTo>
                  <a:lnTo>
                    <a:pt x="5140" y="1968"/>
                  </a:lnTo>
                  <a:lnTo>
                    <a:pt x="5110" y="1978"/>
                  </a:lnTo>
                  <a:lnTo>
                    <a:pt x="5047" y="1995"/>
                  </a:lnTo>
                  <a:lnTo>
                    <a:pt x="4986" y="2005"/>
                  </a:lnTo>
                  <a:lnTo>
                    <a:pt x="4926" y="2007"/>
                  </a:lnTo>
                  <a:lnTo>
                    <a:pt x="4852" y="2003"/>
                  </a:lnTo>
                  <a:lnTo>
                    <a:pt x="4780" y="1991"/>
                  </a:lnTo>
                  <a:lnTo>
                    <a:pt x="4711" y="1971"/>
                  </a:lnTo>
                  <a:lnTo>
                    <a:pt x="4646" y="1944"/>
                  </a:lnTo>
                  <a:lnTo>
                    <a:pt x="4584" y="1906"/>
                  </a:lnTo>
                  <a:lnTo>
                    <a:pt x="4522" y="1862"/>
                  </a:lnTo>
                  <a:lnTo>
                    <a:pt x="4466" y="1810"/>
                  </a:lnTo>
                  <a:lnTo>
                    <a:pt x="4417" y="1755"/>
                  </a:lnTo>
                  <a:lnTo>
                    <a:pt x="4375" y="1698"/>
                  </a:lnTo>
                  <a:lnTo>
                    <a:pt x="4339" y="1638"/>
                  </a:lnTo>
                  <a:lnTo>
                    <a:pt x="4312" y="1577"/>
                  </a:lnTo>
                  <a:lnTo>
                    <a:pt x="4292" y="1511"/>
                  </a:lnTo>
                  <a:lnTo>
                    <a:pt x="4280" y="1443"/>
                  </a:lnTo>
                  <a:lnTo>
                    <a:pt x="4273" y="1370"/>
                  </a:lnTo>
                  <a:lnTo>
                    <a:pt x="4271" y="1312"/>
                  </a:lnTo>
                  <a:lnTo>
                    <a:pt x="4263" y="1256"/>
                  </a:lnTo>
                  <a:lnTo>
                    <a:pt x="4249" y="1200"/>
                  </a:lnTo>
                  <a:lnTo>
                    <a:pt x="4229" y="1146"/>
                  </a:lnTo>
                  <a:lnTo>
                    <a:pt x="4205" y="1095"/>
                  </a:lnTo>
                  <a:lnTo>
                    <a:pt x="4175" y="1047"/>
                  </a:lnTo>
                  <a:lnTo>
                    <a:pt x="4141" y="1003"/>
                  </a:lnTo>
                  <a:lnTo>
                    <a:pt x="4096" y="961"/>
                  </a:lnTo>
                  <a:lnTo>
                    <a:pt x="4049" y="925"/>
                  </a:lnTo>
                  <a:lnTo>
                    <a:pt x="3998" y="896"/>
                  </a:lnTo>
                  <a:lnTo>
                    <a:pt x="3942" y="873"/>
                  </a:lnTo>
                  <a:lnTo>
                    <a:pt x="3881" y="856"/>
                  </a:lnTo>
                  <a:lnTo>
                    <a:pt x="3818" y="847"/>
                  </a:lnTo>
                  <a:lnTo>
                    <a:pt x="3749" y="844"/>
                  </a:lnTo>
                  <a:lnTo>
                    <a:pt x="3679" y="847"/>
                  </a:lnTo>
                  <a:lnTo>
                    <a:pt x="3613" y="859"/>
                  </a:lnTo>
                  <a:lnTo>
                    <a:pt x="3550" y="878"/>
                  </a:lnTo>
                  <a:lnTo>
                    <a:pt x="3491" y="903"/>
                  </a:lnTo>
                  <a:lnTo>
                    <a:pt x="3436" y="937"/>
                  </a:lnTo>
                  <a:lnTo>
                    <a:pt x="3385" y="978"/>
                  </a:lnTo>
                  <a:lnTo>
                    <a:pt x="3345" y="1019"/>
                  </a:lnTo>
                  <a:lnTo>
                    <a:pt x="3312" y="1064"/>
                  </a:lnTo>
                  <a:lnTo>
                    <a:pt x="3285" y="1114"/>
                  </a:lnTo>
                  <a:lnTo>
                    <a:pt x="3265" y="1168"/>
                  </a:lnTo>
                  <a:lnTo>
                    <a:pt x="3250" y="1226"/>
                  </a:lnTo>
                  <a:lnTo>
                    <a:pt x="3240" y="1289"/>
                  </a:lnTo>
                  <a:lnTo>
                    <a:pt x="3238" y="1356"/>
                  </a:lnTo>
                  <a:lnTo>
                    <a:pt x="3241" y="1423"/>
                  </a:lnTo>
                  <a:lnTo>
                    <a:pt x="3255" y="1485"/>
                  </a:lnTo>
                  <a:lnTo>
                    <a:pt x="3275" y="1547"/>
                  </a:lnTo>
                  <a:lnTo>
                    <a:pt x="3306" y="1603"/>
                  </a:lnTo>
                  <a:lnTo>
                    <a:pt x="3345" y="1657"/>
                  </a:lnTo>
                  <a:lnTo>
                    <a:pt x="3392" y="1706"/>
                  </a:lnTo>
                  <a:lnTo>
                    <a:pt x="3447" y="1750"/>
                  </a:lnTo>
                  <a:lnTo>
                    <a:pt x="3503" y="1786"/>
                  </a:lnTo>
                  <a:lnTo>
                    <a:pt x="3562" y="1815"/>
                  </a:lnTo>
                  <a:lnTo>
                    <a:pt x="3625" y="1835"/>
                  </a:lnTo>
                  <a:lnTo>
                    <a:pt x="3691" y="1847"/>
                  </a:lnTo>
                  <a:lnTo>
                    <a:pt x="3760" y="1850"/>
                  </a:lnTo>
                  <a:lnTo>
                    <a:pt x="4307" y="1850"/>
                  </a:lnTo>
                  <a:lnTo>
                    <a:pt x="4339" y="1889"/>
                  </a:lnTo>
                  <a:lnTo>
                    <a:pt x="4375" y="1925"/>
                  </a:lnTo>
                  <a:lnTo>
                    <a:pt x="4424" y="1973"/>
                  </a:lnTo>
                  <a:lnTo>
                    <a:pt x="4477" y="2013"/>
                  </a:lnTo>
                  <a:lnTo>
                    <a:pt x="3760" y="2013"/>
                  </a:lnTo>
                  <a:lnTo>
                    <a:pt x="3684" y="2010"/>
                  </a:lnTo>
                  <a:lnTo>
                    <a:pt x="3611" y="1998"/>
                  </a:lnTo>
                  <a:lnTo>
                    <a:pt x="3540" y="1978"/>
                  </a:lnTo>
                  <a:lnTo>
                    <a:pt x="3470" y="1951"/>
                  </a:lnTo>
                  <a:lnTo>
                    <a:pt x="3406" y="1915"/>
                  </a:lnTo>
                  <a:lnTo>
                    <a:pt x="3343" y="1873"/>
                  </a:lnTo>
                  <a:lnTo>
                    <a:pt x="3284" y="1822"/>
                  </a:lnTo>
                  <a:lnTo>
                    <a:pt x="3229" y="1766"/>
                  </a:lnTo>
                  <a:lnTo>
                    <a:pt x="3184" y="1706"/>
                  </a:lnTo>
                  <a:lnTo>
                    <a:pt x="3146" y="1643"/>
                  </a:lnTo>
                  <a:lnTo>
                    <a:pt x="3111" y="1708"/>
                  </a:lnTo>
                  <a:lnTo>
                    <a:pt x="3066" y="1767"/>
                  </a:lnTo>
                  <a:lnTo>
                    <a:pt x="3016" y="1825"/>
                  </a:lnTo>
                  <a:lnTo>
                    <a:pt x="2958" y="1876"/>
                  </a:lnTo>
                  <a:lnTo>
                    <a:pt x="2898" y="1918"/>
                  </a:lnTo>
                  <a:lnTo>
                    <a:pt x="2836" y="1952"/>
                  </a:lnTo>
                  <a:lnTo>
                    <a:pt x="2769" y="1979"/>
                  </a:lnTo>
                  <a:lnTo>
                    <a:pt x="2700" y="2000"/>
                  </a:lnTo>
                  <a:lnTo>
                    <a:pt x="2627" y="2010"/>
                  </a:lnTo>
                  <a:lnTo>
                    <a:pt x="2551" y="2015"/>
                  </a:lnTo>
                  <a:lnTo>
                    <a:pt x="2472" y="2010"/>
                  </a:lnTo>
                  <a:lnTo>
                    <a:pt x="2400" y="2000"/>
                  </a:lnTo>
                  <a:lnTo>
                    <a:pt x="2330" y="1979"/>
                  </a:lnTo>
                  <a:lnTo>
                    <a:pt x="2262" y="1954"/>
                  </a:lnTo>
                  <a:lnTo>
                    <a:pt x="2199" y="1918"/>
                  </a:lnTo>
                  <a:lnTo>
                    <a:pt x="2140" y="1878"/>
                  </a:lnTo>
                  <a:lnTo>
                    <a:pt x="2082" y="1828"/>
                  </a:lnTo>
                  <a:lnTo>
                    <a:pt x="2033" y="1772"/>
                  </a:lnTo>
                  <a:lnTo>
                    <a:pt x="1989" y="1715"/>
                  </a:lnTo>
                  <a:lnTo>
                    <a:pt x="1955" y="1654"/>
                  </a:lnTo>
                  <a:lnTo>
                    <a:pt x="1926" y="1587"/>
                  </a:lnTo>
                  <a:lnTo>
                    <a:pt x="1907" y="1519"/>
                  </a:lnTo>
                  <a:lnTo>
                    <a:pt x="1896" y="1446"/>
                  </a:lnTo>
                  <a:lnTo>
                    <a:pt x="1890" y="1370"/>
                  </a:lnTo>
                  <a:lnTo>
                    <a:pt x="1889" y="1312"/>
                  </a:lnTo>
                  <a:lnTo>
                    <a:pt x="1880" y="1256"/>
                  </a:lnTo>
                  <a:lnTo>
                    <a:pt x="1867" y="1200"/>
                  </a:lnTo>
                  <a:lnTo>
                    <a:pt x="1848" y="1146"/>
                  </a:lnTo>
                  <a:lnTo>
                    <a:pt x="1823" y="1095"/>
                  </a:lnTo>
                  <a:lnTo>
                    <a:pt x="1794" y="1047"/>
                  </a:lnTo>
                  <a:lnTo>
                    <a:pt x="1758" y="1003"/>
                  </a:lnTo>
                  <a:lnTo>
                    <a:pt x="1716" y="961"/>
                  </a:lnTo>
                  <a:lnTo>
                    <a:pt x="1668" y="925"/>
                  </a:lnTo>
                  <a:lnTo>
                    <a:pt x="1616" y="896"/>
                  </a:lnTo>
                  <a:lnTo>
                    <a:pt x="1560" y="873"/>
                  </a:lnTo>
                  <a:lnTo>
                    <a:pt x="1500" y="856"/>
                  </a:lnTo>
                  <a:lnTo>
                    <a:pt x="1436" y="847"/>
                  </a:lnTo>
                  <a:lnTo>
                    <a:pt x="1368" y="844"/>
                  </a:lnTo>
                  <a:lnTo>
                    <a:pt x="1295" y="847"/>
                  </a:lnTo>
                  <a:lnTo>
                    <a:pt x="1224" y="859"/>
                  </a:lnTo>
                  <a:lnTo>
                    <a:pt x="1159" y="881"/>
                  </a:lnTo>
                  <a:lnTo>
                    <a:pt x="1098" y="910"/>
                  </a:lnTo>
                  <a:lnTo>
                    <a:pt x="1040" y="947"/>
                  </a:lnTo>
                  <a:lnTo>
                    <a:pt x="348" y="947"/>
                  </a:lnTo>
                  <a:lnTo>
                    <a:pt x="346" y="947"/>
                  </a:lnTo>
                  <a:lnTo>
                    <a:pt x="322" y="944"/>
                  </a:lnTo>
                  <a:lnTo>
                    <a:pt x="305" y="935"/>
                  </a:lnTo>
                  <a:lnTo>
                    <a:pt x="294" y="925"/>
                  </a:lnTo>
                  <a:lnTo>
                    <a:pt x="287" y="912"/>
                  </a:lnTo>
                  <a:lnTo>
                    <a:pt x="282" y="898"/>
                  </a:lnTo>
                  <a:lnTo>
                    <a:pt x="280" y="888"/>
                  </a:lnTo>
                  <a:lnTo>
                    <a:pt x="278" y="879"/>
                  </a:lnTo>
                  <a:lnTo>
                    <a:pt x="278" y="876"/>
                  </a:lnTo>
                  <a:lnTo>
                    <a:pt x="278" y="621"/>
                  </a:lnTo>
                  <a:lnTo>
                    <a:pt x="282" y="582"/>
                  </a:lnTo>
                  <a:lnTo>
                    <a:pt x="288" y="543"/>
                  </a:lnTo>
                  <a:lnTo>
                    <a:pt x="302" y="504"/>
                  </a:lnTo>
                  <a:lnTo>
                    <a:pt x="319" y="465"/>
                  </a:lnTo>
                  <a:lnTo>
                    <a:pt x="343" y="430"/>
                  </a:lnTo>
                  <a:lnTo>
                    <a:pt x="370" y="399"/>
                  </a:lnTo>
                  <a:lnTo>
                    <a:pt x="402" y="374"/>
                  </a:lnTo>
                  <a:lnTo>
                    <a:pt x="436" y="355"/>
                  </a:lnTo>
                  <a:lnTo>
                    <a:pt x="473" y="343"/>
                  </a:lnTo>
                  <a:lnTo>
                    <a:pt x="512" y="336"/>
                  </a:lnTo>
                  <a:lnTo>
                    <a:pt x="555" y="333"/>
                  </a:lnTo>
                  <a:lnTo>
                    <a:pt x="599" y="331"/>
                  </a:lnTo>
                  <a:lnTo>
                    <a:pt x="1018" y="331"/>
                  </a:lnTo>
                  <a:lnTo>
                    <a:pt x="1039" y="328"/>
                  </a:lnTo>
                  <a:lnTo>
                    <a:pt x="1056" y="319"/>
                  </a:lnTo>
                  <a:lnTo>
                    <a:pt x="1069" y="304"/>
                  </a:lnTo>
                  <a:lnTo>
                    <a:pt x="1078" y="287"/>
                  </a:lnTo>
                  <a:lnTo>
                    <a:pt x="1081" y="268"/>
                  </a:lnTo>
                  <a:lnTo>
                    <a:pt x="1079" y="250"/>
                  </a:lnTo>
                  <a:lnTo>
                    <a:pt x="1071" y="228"/>
                  </a:lnTo>
                  <a:lnTo>
                    <a:pt x="1059" y="211"/>
                  </a:lnTo>
                  <a:lnTo>
                    <a:pt x="1044" y="200"/>
                  </a:lnTo>
                  <a:lnTo>
                    <a:pt x="1027" y="195"/>
                  </a:lnTo>
                  <a:lnTo>
                    <a:pt x="570" y="195"/>
                  </a:lnTo>
                  <a:lnTo>
                    <a:pt x="531" y="197"/>
                  </a:lnTo>
                  <a:lnTo>
                    <a:pt x="490" y="200"/>
                  </a:lnTo>
                  <a:lnTo>
                    <a:pt x="450" y="205"/>
                  </a:lnTo>
                  <a:lnTo>
                    <a:pt x="407" y="217"/>
                  </a:lnTo>
                  <a:lnTo>
                    <a:pt x="367" y="233"/>
                  </a:lnTo>
                  <a:lnTo>
                    <a:pt x="326" y="256"/>
                  </a:lnTo>
                  <a:lnTo>
                    <a:pt x="287" y="287"/>
                  </a:lnTo>
                  <a:lnTo>
                    <a:pt x="251" y="324"/>
                  </a:lnTo>
                  <a:lnTo>
                    <a:pt x="214" y="375"/>
                  </a:lnTo>
                  <a:lnTo>
                    <a:pt x="187" y="430"/>
                  </a:lnTo>
                  <a:lnTo>
                    <a:pt x="166" y="486"/>
                  </a:lnTo>
                  <a:lnTo>
                    <a:pt x="156" y="547"/>
                  </a:lnTo>
                  <a:lnTo>
                    <a:pt x="151" y="610"/>
                  </a:lnTo>
                  <a:lnTo>
                    <a:pt x="151" y="1940"/>
                  </a:lnTo>
                  <a:lnTo>
                    <a:pt x="151" y="1940"/>
                  </a:lnTo>
                  <a:lnTo>
                    <a:pt x="148" y="1964"/>
                  </a:lnTo>
                  <a:lnTo>
                    <a:pt x="136" y="1983"/>
                  </a:lnTo>
                  <a:lnTo>
                    <a:pt x="119" y="2000"/>
                  </a:lnTo>
                  <a:lnTo>
                    <a:pt x="98" y="2010"/>
                  </a:lnTo>
                  <a:lnTo>
                    <a:pt x="76" y="2013"/>
                  </a:lnTo>
                  <a:lnTo>
                    <a:pt x="53" y="2010"/>
                  </a:lnTo>
                  <a:lnTo>
                    <a:pt x="32" y="2000"/>
                  </a:lnTo>
                  <a:lnTo>
                    <a:pt x="15" y="1983"/>
                  </a:lnTo>
                  <a:lnTo>
                    <a:pt x="5" y="1964"/>
                  </a:lnTo>
                  <a:lnTo>
                    <a:pt x="0" y="1940"/>
                  </a:lnTo>
                  <a:lnTo>
                    <a:pt x="0" y="1940"/>
                  </a:lnTo>
                  <a:lnTo>
                    <a:pt x="0" y="611"/>
                  </a:lnTo>
                  <a:lnTo>
                    <a:pt x="3" y="545"/>
                  </a:lnTo>
                  <a:lnTo>
                    <a:pt x="10" y="484"/>
                  </a:lnTo>
                  <a:lnTo>
                    <a:pt x="24" y="426"/>
                  </a:lnTo>
                  <a:lnTo>
                    <a:pt x="44" y="374"/>
                  </a:lnTo>
                  <a:lnTo>
                    <a:pt x="70" y="321"/>
                  </a:lnTo>
                  <a:lnTo>
                    <a:pt x="104" y="272"/>
                  </a:lnTo>
                  <a:lnTo>
                    <a:pt x="143" y="222"/>
                  </a:lnTo>
                  <a:lnTo>
                    <a:pt x="190" y="177"/>
                  </a:lnTo>
                  <a:lnTo>
                    <a:pt x="243" y="136"/>
                  </a:lnTo>
                  <a:lnTo>
                    <a:pt x="299" y="104"/>
                  </a:lnTo>
                  <a:lnTo>
                    <a:pt x="361" y="78"/>
                  </a:lnTo>
                  <a:lnTo>
                    <a:pt x="426" y="60"/>
                  </a:lnTo>
                  <a:lnTo>
                    <a:pt x="496" y="48"/>
                  </a:lnTo>
                  <a:lnTo>
                    <a:pt x="570" y="44"/>
                  </a:lnTo>
                  <a:lnTo>
                    <a:pt x="1023" y="44"/>
                  </a:lnTo>
                  <a:lnTo>
                    <a:pt x="1032" y="44"/>
                  </a:lnTo>
                  <a:lnTo>
                    <a:pt x="1050" y="46"/>
                  </a:lnTo>
                  <a:lnTo>
                    <a:pt x="1093" y="58"/>
                  </a:lnTo>
                  <a:lnTo>
                    <a:pt x="1130" y="76"/>
                  </a:lnTo>
                  <a:lnTo>
                    <a:pt x="1162" y="104"/>
                  </a:lnTo>
                  <a:lnTo>
                    <a:pt x="1190" y="136"/>
                  </a:lnTo>
                  <a:lnTo>
                    <a:pt x="1210" y="173"/>
                  </a:lnTo>
                  <a:lnTo>
                    <a:pt x="1224" y="214"/>
                  </a:lnTo>
                  <a:lnTo>
                    <a:pt x="1229" y="258"/>
                  </a:lnTo>
                  <a:lnTo>
                    <a:pt x="1224" y="299"/>
                  </a:lnTo>
                  <a:lnTo>
                    <a:pt x="1213" y="338"/>
                  </a:lnTo>
                  <a:lnTo>
                    <a:pt x="1195" y="374"/>
                  </a:lnTo>
                  <a:lnTo>
                    <a:pt x="1171" y="404"/>
                  </a:lnTo>
                  <a:lnTo>
                    <a:pt x="1142" y="430"/>
                  </a:lnTo>
                  <a:lnTo>
                    <a:pt x="1108" y="452"/>
                  </a:lnTo>
                  <a:lnTo>
                    <a:pt x="1081" y="460"/>
                  </a:lnTo>
                  <a:lnTo>
                    <a:pt x="1056" y="467"/>
                  </a:lnTo>
                  <a:lnTo>
                    <a:pt x="1037" y="470"/>
                  </a:lnTo>
                  <a:lnTo>
                    <a:pt x="1022" y="472"/>
                  </a:lnTo>
                  <a:lnTo>
                    <a:pt x="1016" y="472"/>
                  </a:lnTo>
                  <a:lnTo>
                    <a:pt x="623" y="472"/>
                  </a:lnTo>
                  <a:lnTo>
                    <a:pt x="572" y="474"/>
                  </a:lnTo>
                  <a:lnTo>
                    <a:pt x="529" y="481"/>
                  </a:lnTo>
                  <a:lnTo>
                    <a:pt x="494" y="491"/>
                  </a:lnTo>
                  <a:lnTo>
                    <a:pt x="467" y="506"/>
                  </a:lnTo>
                  <a:lnTo>
                    <a:pt x="445" y="528"/>
                  </a:lnTo>
                  <a:lnTo>
                    <a:pt x="429" y="557"/>
                  </a:lnTo>
                  <a:lnTo>
                    <a:pt x="419" y="593"/>
                  </a:lnTo>
                  <a:lnTo>
                    <a:pt x="416" y="635"/>
                  </a:lnTo>
                  <a:lnTo>
                    <a:pt x="416" y="815"/>
                  </a:lnTo>
                  <a:lnTo>
                    <a:pt x="954" y="815"/>
                  </a:lnTo>
                  <a:lnTo>
                    <a:pt x="1013" y="778"/>
                  </a:lnTo>
                  <a:lnTo>
                    <a:pt x="1076" y="745"/>
                  </a:lnTo>
                  <a:lnTo>
                    <a:pt x="1142" y="722"/>
                  </a:lnTo>
                  <a:lnTo>
                    <a:pt x="1213" y="705"/>
                  </a:lnTo>
                  <a:lnTo>
                    <a:pt x="1290" y="693"/>
                  </a:lnTo>
                  <a:lnTo>
                    <a:pt x="1368" y="689"/>
                  </a:lnTo>
                  <a:lnTo>
                    <a:pt x="1444" y="693"/>
                  </a:lnTo>
                  <a:lnTo>
                    <a:pt x="1517" y="703"/>
                  </a:lnTo>
                  <a:lnTo>
                    <a:pt x="1585" y="720"/>
                  </a:lnTo>
                  <a:lnTo>
                    <a:pt x="1649" y="742"/>
                  </a:lnTo>
                  <a:lnTo>
                    <a:pt x="1711" y="772"/>
                  </a:lnTo>
                  <a:lnTo>
                    <a:pt x="1768" y="808"/>
                  </a:lnTo>
                  <a:lnTo>
                    <a:pt x="1823" y="852"/>
                  </a:lnTo>
                  <a:lnTo>
                    <a:pt x="1872" y="902"/>
                  </a:lnTo>
                  <a:lnTo>
                    <a:pt x="1918" y="959"/>
                  </a:lnTo>
                  <a:lnTo>
                    <a:pt x="1957" y="1020"/>
                  </a:lnTo>
                  <a:lnTo>
                    <a:pt x="1987" y="1087"/>
                  </a:lnTo>
                  <a:lnTo>
                    <a:pt x="2011" y="1154"/>
                  </a:lnTo>
                  <a:lnTo>
                    <a:pt x="2028" y="1226"/>
                  </a:lnTo>
                  <a:lnTo>
                    <a:pt x="2038" y="1297"/>
                  </a:lnTo>
                  <a:lnTo>
                    <a:pt x="2041" y="1370"/>
                  </a:lnTo>
                  <a:lnTo>
                    <a:pt x="2047" y="1435"/>
                  </a:lnTo>
                  <a:lnTo>
                    <a:pt x="2060" y="1496"/>
                  </a:lnTo>
                  <a:lnTo>
                    <a:pt x="2080" y="1555"/>
                  </a:lnTo>
                  <a:lnTo>
                    <a:pt x="2111" y="1609"/>
                  </a:lnTo>
                  <a:lnTo>
                    <a:pt x="2147" y="1660"/>
                  </a:lnTo>
                  <a:lnTo>
                    <a:pt x="2192" y="1710"/>
                  </a:lnTo>
                  <a:lnTo>
                    <a:pt x="2245" y="1754"/>
                  </a:lnTo>
                  <a:lnTo>
                    <a:pt x="2301" y="1789"/>
                  </a:lnTo>
                  <a:lnTo>
                    <a:pt x="2359" y="1816"/>
                  </a:lnTo>
                  <a:lnTo>
                    <a:pt x="2420" y="1837"/>
                  </a:lnTo>
                  <a:lnTo>
                    <a:pt x="2484" y="1849"/>
                  </a:lnTo>
                  <a:lnTo>
                    <a:pt x="2554" y="1852"/>
                  </a:lnTo>
                  <a:lnTo>
                    <a:pt x="2620" y="1849"/>
                  </a:lnTo>
                  <a:lnTo>
                    <a:pt x="2685" y="1837"/>
                  </a:lnTo>
                  <a:lnTo>
                    <a:pt x="2746" y="1816"/>
                  </a:lnTo>
                  <a:lnTo>
                    <a:pt x="2803" y="1789"/>
                  </a:lnTo>
                  <a:lnTo>
                    <a:pt x="2858" y="1754"/>
                  </a:lnTo>
                  <a:lnTo>
                    <a:pt x="2909" y="1711"/>
                  </a:lnTo>
                  <a:lnTo>
                    <a:pt x="2954" y="1662"/>
                  </a:lnTo>
                  <a:lnTo>
                    <a:pt x="2992" y="1609"/>
                  </a:lnTo>
                  <a:lnTo>
                    <a:pt x="3021" y="1553"/>
                  </a:lnTo>
                  <a:lnTo>
                    <a:pt x="3041" y="1494"/>
                  </a:lnTo>
                  <a:lnTo>
                    <a:pt x="3053" y="1429"/>
                  </a:lnTo>
                  <a:lnTo>
                    <a:pt x="3056" y="1363"/>
                  </a:lnTo>
                  <a:lnTo>
                    <a:pt x="3053" y="1292"/>
                  </a:lnTo>
                  <a:lnTo>
                    <a:pt x="3041" y="1226"/>
                  </a:lnTo>
                  <a:lnTo>
                    <a:pt x="3021" y="1163"/>
                  </a:lnTo>
                  <a:lnTo>
                    <a:pt x="2992" y="1102"/>
                  </a:lnTo>
                  <a:lnTo>
                    <a:pt x="2956" y="1046"/>
                  </a:lnTo>
                  <a:lnTo>
                    <a:pt x="2912" y="991"/>
                  </a:lnTo>
                  <a:lnTo>
                    <a:pt x="2861" y="944"/>
                  </a:lnTo>
                  <a:lnTo>
                    <a:pt x="2808" y="905"/>
                  </a:lnTo>
                  <a:lnTo>
                    <a:pt x="2751" y="874"/>
                  </a:lnTo>
                  <a:lnTo>
                    <a:pt x="2690" y="854"/>
                  </a:lnTo>
                  <a:lnTo>
                    <a:pt x="2625" y="840"/>
                  </a:lnTo>
                  <a:lnTo>
                    <a:pt x="2556" y="835"/>
                  </a:lnTo>
                  <a:lnTo>
                    <a:pt x="2489" y="840"/>
                  </a:lnTo>
                  <a:lnTo>
                    <a:pt x="2420" y="857"/>
                  </a:lnTo>
                  <a:lnTo>
                    <a:pt x="2350" y="883"/>
                  </a:lnTo>
                  <a:lnTo>
                    <a:pt x="2277" y="918"/>
                  </a:lnTo>
                  <a:lnTo>
                    <a:pt x="2243" y="939"/>
                  </a:lnTo>
                  <a:lnTo>
                    <a:pt x="2203" y="968"/>
                  </a:lnTo>
                  <a:lnTo>
                    <a:pt x="2157" y="1003"/>
                  </a:lnTo>
                  <a:lnTo>
                    <a:pt x="2157" y="212"/>
                  </a:lnTo>
                  <a:lnTo>
                    <a:pt x="2153" y="192"/>
                  </a:lnTo>
                  <a:lnTo>
                    <a:pt x="2147" y="177"/>
                  </a:lnTo>
                  <a:lnTo>
                    <a:pt x="2136" y="165"/>
                  </a:lnTo>
                  <a:lnTo>
                    <a:pt x="2121" y="156"/>
                  </a:lnTo>
                  <a:lnTo>
                    <a:pt x="2106" y="153"/>
                  </a:lnTo>
                  <a:lnTo>
                    <a:pt x="2087" y="151"/>
                  </a:lnTo>
                  <a:lnTo>
                    <a:pt x="2065" y="155"/>
                  </a:lnTo>
                  <a:lnTo>
                    <a:pt x="2047" y="163"/>
                  </a:lnTo>
                  <a:lnTo>
                    <a:pt x="2031" y="178"/>
                  </a:lnTo>
                  <a:lnTo>
                    <a:pt x="2021" y="195"/>
                  </a:lnTo>
                  <a:lnTo>
                    <a:pt x="2018" y="212"/>
                  </a:lnTo>
                  <a:lnTo>
                    <a:pt x="2016" y="216"/>
                  </a:lnTo>
                  <a:lnTo>
                    <a:pt x="2016" y="915"/>
                  </a:lnTo>
                  <a:lnTo>
                    <a:pt x="1991" y="874"/>
                  </a:lnTo>
                  <a:lnTo>
                    <a:pt x="1960" y="837"/>
                  </a:lnTo>
                  <a:lnTo>
                    <a:pt x="1928" y="801"/>
                  </a:lnTo>
                  <a:lnTo>
                    <a:pt x="1896" y="769"/>
                  </a:lnTo>
                  <a:lnTo>
                    <a:pt x="1867" y="744"/>
                  </a:lnTo>
                  <a:lnTo>
                    <a:pt x="1867" y="216"/>
                  </a:lnTo>
                  <a:lnTo>
                    <a:pt x="1867" y="212"/>
                  </a:lnTo>
                  <a:lnTo>
                    <a:pt x="1867" y="212"/>
                  </a:lnTo>
                  <a:lnTo>
                    <a:pt x="1870" y="168"/>
                  </a:lnTo>
                  <a:lnTo>
                    <a:pt x="1884" y="129"/>
                  </a:lnTo>
                  <a:lnTo>
                    <a:pt x="1906" y="93"/>
                  </a:lnTo>
                  <a:lnTo>
                    <a:pt x="1933" y="61"/>
                  </a:lnTo>
                  <a:lnTo>
                    <a:pt x="1967" y="36"/>
                  </a:lnTo>
                  <a:lnTo>
                    <a:pt x="2004" y="15"/>
                  </a:lnTo>
                  <a:lnTo>
                    <a:pt x="2045" y="3"/>
                  </a:lnTo>
                  <a:lnTo>
                    <a:pt x="208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1" name="Freeform 12"/>
            <p:cNvSpPr>
              <a:spLocks noEditPoints="1"/>
            </p:cNvSpPr>
            <p:nvPr/>
          </p:nvSpPr>
          <p:spPr bwMode="auto">
            <a:xfrm>
              <a:off x="5354" y="1162"/>
              <a:ext cx="860" cy="761"/>
            </a:xfrm>
            <a:custGeom>
              <a:avLst/>
              <a:gdLst>
                <a:gd name="T0" fmla="*/ 344 w 860"/>
                <a:gd name="T1" fmla="*/ 151 h 761"/>
                <a:gd name="T2" fmla="*/ 264 w 860"/>
                <a:gd name="T3" fmla="*/ 185 h 761"/>
                <a:gd name="T4" fmla="*/ 205 w 860"/>
                <a:gd name="T5" fmla="*/ 245 h 761"/>
                <a:gd name="T6" fmla="*/ 169 w 860"/>
                <a:gd name="T7" fmla="*/ 324 h 761"/>
                <a:gd name="T8" fmla="*/ 593 w 860"/>
                <a:gd name="T9" fmla="*/ 282 h 761"/>
                <a:gd name="T10" fmla="*/ 544 w 860"/>
                <a:gd name="T11" fmla="*/ 211 h 761"/>
                <a:gd name="T12" fmla="*/ 475 w 860"/>
                <a:gd name="T13" fmla="*/ 165 h 761"/>
                <a:gd name="T14" fmla="*/ 388 w 860"/>
                <a:gd name="T15" fmla="*/ 146 h 761"/>
                <a:gd name="T16" fmla="*/ 449 w 860"/>
                <a:gd name="T17" fmla="*/ 3 h 761"/>
                <a:gd name="T18" fmla="*/ 548 w 860"/>
                <a:gd name="T19" fmla="*/ 29 h 761"/>
                <a:gd name="T20" fmla="*/ 631 w 860"/>
                <a:gd name="T21" fmla="*/ 82 h 761"/>
                <a:gd name="T22" fmla="*/ 697 w 860"/>
                <a:gd name="T23" fmla="*/ 161 h 761"/>
                <a:gd name="T24" fmla="*/ 755 w 860"/>
                <a:gd name="T25" fmla="*/ 280 h 761"/>
                <a:gd name="T26" fmla="*/ 773 w 860"/>
                <a:gd name="T27" fmla="*/ 399 h 761"/>
                <a:gd name="T28" fmla="*/ 760 w 860"/>
                <a:gd name="T29" fmla="*/ 452 h 761"/>
                <a:gd name="T30" fmla="*/ 722 w 860"/>
                <a:gd name="T31" fmla="*/ 477 h 761"/>
                <a:gd name="T32" fmla="*/ 195 w 860"/>
                <a:gd name="T33" fmla="*/ 481 h 761"/>
                <a:gd name="T34" fmla="*/ 247 w 860"/>
                <a:gd name="T35" fmla="*/ 543 h 761"/>
                <a:gd name="T36" fmla="*/ 319 w 860"/>
                <a:gd name="T37" fmla="*/ 586 h 761"/>
                <a:gd name="T38" fmla="*/ 405 w 860"/>
                <a:gd name="T39" fmla="*/ 599 h 761"/>
                <a:gd name="T40" fmla="*/ 814 w 860"/>
                <a:gd name="T41" fmla="*/ 655 h 761"/>
                <a:gd name="T42" fmla="*/ 860 w 860"/>
                <a:gd name="T43" fmla="*/ 761 h 761"/>
                <a:gd name="T44" fmla="*/ 341 w 860"/>
                <a:gd name="T45" fmla="*/ 757 h 761"/>
                <a:gd name="T46" fmla="*/ 222 w 860"/>
                <a:gd name="T47" fmla="*/ 720 h 761"/>
                <a:gd name="T48" fmla="*/ 118 w 860"/>
                <a:gd name="T49" fmla="*/ 645 h 761"/>
                <a:gd name="T50" fmla="*/ 52 w 860"/>
                <a:gd name="T51" fmla="*/ 562 h 761"/>
                <a:gd name="T52" fmla="*/ 13 w 860"/>
                <a:gd name="T53" fmla="*/ 467 h 761"/>
                <a:gd name="T54" fmla="*/ 0 w 860"/>
                <a:gd name="T55" fmla="*/ 357 h 761"/>
                <a:gd name="T56" fmla="*/ 13 w 860"/>
                <a:gd name="T57" fmla="*/ 258 h 761"/>
                <a:gd name="T58" fmla="*/ 52 w 860"/>
                <a:gd name="T59" fmla="*/ 172 h 761"/>
                <a:gd name="T60" fmla="*/ 117 w 860"/>
                <a:gd name="T61" fmla="*/ 99 h 761"/>
                <a:gd name="T62" fmla="*/ 218 w 860"/>
                <a:gd name="T63" fmla="*/ 36 h 761"/>
                <a:gd name="T64" fmla="*/ 332 w 860"/>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0" h="761">
                  <a:moveTo>
                    <a:pt x="388" y="146"/>
                  </a:moveTo>
                  <a:lnTo>
                    <a:pt x="344" y="151"/>
                  </a:lnTo>
                  <a:lnTo>
                    <a:pt x="303" y="165"/>
                  </a:lnTo>
                  <a:lnTo>
                    <a:pt x="264" y="185"/>
                  </a:lnTo>
                  <a:lnTo>
                    <a:pt x="232" y="211"/>
                  </a:lnTo>
                  <a:lnTo>
                    <a:pt x="205" y="245"/>
                  </a:lnTo>
                  <a:lnTo>
                    <a:pt x="183" y="282"/>
                  </a:lnTo>
                  <a:lnTo>
                    <a:pt x="169" y="324"/>
                  </a:lnTo>
                  <a:lnTo>
                    <a:pt x="609" y="324"/>
                  </a:lnTo>
                  <a:lnTo>
                    <a:pt x="593" y="282"/>
                  </a:lnTo>
                  <a:lnTo>
                    <a:pt x="571" y="245"/>
                  </a:lnTo>
                  <a:lnTo>
                    <a:pt x="544" y="211"/>
                  </a:lnTo>
                  <a:lnTo>
                    <a:pt x="512" y="185"/>
                  </a:lnTo>
                  <a:lnTo>
                    <a:pt x="475" y="165"/>
                  </a:lnTo>
                  <a:lnTo>
                    <a:pt x="432" y="151"/>
                  </a:lnTo>
                  <a:lnTo>
                    <a:pt x="388" y="146"/>
                  </a:lnTo>
                  <a:close/>
                  <a:moveTo>
                    <a:pt x="393" y="0"/>
                  </a:moveTo>
                  <a:lnTo>
                    <a:pt x="449" y="3"/>
                  </a:lnTo>
                  <a:lnTo>
                    <a:pt x="500" y="14"/>
                  </a:lnTo>
                  <a:lnTo>
                    <a:pt x="548" y="29"/>
                  </a:lnTo>
                  <a:lnTo>
                    <a:pt x="590" y="53"/>
                  </a:lnTo>
                  <a:lnTo>
                    <a:pt x="631" y="82"/>
                  </a:lnTo>
                  <a:lnTo>
                    <a:pt x="666" y="119"/>
                  </a:lnTo>
                  <a:lnTo>
                    <a:pt x="697" y="161"/>
                  </a:lnTo>
                  <a:lnTo>
                    <a:pt x="731" y="221"/>
                  </a:lnTo>
                  <a:lnTo>
                    <a:pt x="755" y="280"/>
                  </a:lnTo>
                  <a:lnTo>
                    <a:pt x="768" y="340"/>
                  </a:lnTo>
                  <a:lnTo>
                    <a:pt x="773" y="399"/>
                  </a:lnTo>
                  <a:lnTo>
                    <a:pt x="770" y="428"/>
                  </a:lnTo>
                  <a:lnTo>
                    <a:pt x="760" y="452"/>
                  </a:lnTo>
                  <a:lnTo>
                    <a:pt x="745" y="467"/>
                  </a:lnTo>
                  <a:lnTo>
                    <a:pt x="722" y="477"/>
                  </a:lnTo>
                  <a:lnTo>
                    <a:pt x="695" y="481"/>
                  </a:lnTo>
                  <a:lnTo>
                    <a:pt x="195" y="481"/>
                  </a:lnTo>
                  <a:lnTo>
                    <a:pt x="218" y="514"/>
                  </a:lnTo>
                  <a:lnTo>
                    <a:pt x="247" y="543"/>
                  </a:lnTo>
                  <a:lnTo>
                    <a:pt x="281" y="567"/>
                  </a:lnTo>
                  <a:lnTo>
                    <a:pt x="319" y="586"/>
                  </a:lnTo>
                  <a:lnTo>
                    <a:pt x="361" y="596"/>
                  </a:lnTo>
                  <a:lnTo>
                    <a:pt x="405" y="599"/>
                  </a:lnTo>
                  <a:lnTo>
                    <a:pt x="799" y="599"/>
                  </a:lnTo>
                  <a:lnTo>
                    <a:pt x="814" y="655"/>
                  </a:lnTo>
                  <a:lnTo>
                    <a:pt x="834" y="710"/>
                  </a:lnTo>
                  <a:lnTo>
                    <a:pt x="860" y="761"/>
                  </a:lnTo>
                  <a:lnTo>
                    <a:pt x="405" y="761"/>
                  </a:lnTo>
                  <a:lnTo>
                    <a:pt x="341" y="757"/>
                  </a:lnTo>
                  <a:lnTo>
                    <a:pt x="280" y="744"/>
                  </a:lnTo>
                  <a:lnTo>
                    <a:pt x="222" y="720"/>
                  </a:lnTo>
                  <a:lnTo>
                    <a:pt x="168" y="688"/>
                  </a:lnTo>
                  <a:lnTo>
                    <a:pt x="118" y="645"/>
                  </a:lnTo>
                  <a:lnTo>
                    <a:pt x="83" y="606"/>
                  </a:lnTo>
                  <a:lnTo>
                    <a:pt x="52" y="562"/>
                  </a:lnTo>
                  <a:lnTo>
                    <a:pt x="30" y="516"/>
                  </a:lnTo>
                  <a:lnTo>
                    <a:pt x="13" y="467"/>
                  </a:lnTo>
                  <a:lnTo>
                    <a:pt x="3" y="414"/>
                  </a:lnTo>
                  <a:lnTo>
                    <a:pt x="0" y="357"/>
                  </a:lnTo>
                  <a:lnTo>
                    <a:pt x="3" y="306"/>
                  </a:lnTo>
                  <a:lnTo>
                    <a:pt x="13" y="258"/>
                  </a:lnTo>
                  <a:lnTo>
                    <a:pt x="30" y="214"/>
                  </a:lnTo>
                  <a:lnTo>
                    <a:pt x="52" y="172"/>
                  </a:lnTo>
                  <a:lnTo>
                    <a:pt x="81" y="134"/>
                  </a:lnTo>
                  <a:lnTo>
                    <a:pt x="117" y="99"/>
                  </a:lnTo>
                  <a:lnTo>
                    <a:pt x="166" y="63"/>
                  </a:lnTo>
                  <a:lnTo>
                    <a:pt x="218" y="36"/>
                  </a:lnTo>
                  <a:lnTo>
                    <a:pt x="273" y="15"/>
                  </a:lnTo>
                  <a:lnTo>
                    <a:pt x="332" y="3"/>
                  </a:lnTo>
                  <a:lnTo>
                    <a:pt x="39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2" name="Freeform 13"/>
            <p:cNvSpPr>
              <a:spLocks/>
            </p:cNvSpPr>
            <p:nvPr/>
          </p:nvSpPr>
          <p:spPr bwMode="auto">
            <a:xfrm>
              <a:off x="8809" y="880"/>
              <a:ext cx="1154" cy="2034"/>
            </a:xfrm>
            <a:custGeom>
              <a:avLst/>
              <a:gdLst>
                <a:gd name="T0" fmla="*/ 571 w 1154"/>
                <a:gd name="T1" fmla="*/ 5 h 2034"/>
                <a:gd name="T2" fmla="*/ 716 w 1154"/>
                <a:gd name="T3" fmla="*/ 36 h 2034"/>
                <a:gd name="T4" fmla="*/ 846 w 1154"/>
                <a:gd name="T5" fmla="*/ 97 h 2034"/>
                <a:gd name="T6" fmla="*/ 963 w 1154"/>
                <a:gd name="T7" fmla="*/ 189 h 2034"/>
                <a:gd name="T8" fmla="*/ 1057 w 1154"/>
                <a:gd name="T9" fmla="*/ 304 h 2034"/>
                <a:gd name="T10" fmla="*/ 1120 w 1154"/>
                <a:gd name="T11" fmla="*/ 433 h 2034"/>
                <a:gd name="T12" fmla="*/ 1150 w 1154"/>
                <a:gd name="T13" fmla="*/ 577 h 2034"/>
                <a:gd name="T14" fmla="*/ 1154 w 1154"/>
                <a:gd name="T15" fmla="*/ 1431 h 2034"/>
                <a:gd name="T16" fmla="*/ 1138 w 1154"/>
                <a:gd name="T17" fmla="*/ 1576 h 2034"/>
                <a:gd name="T18" fmla="*/ 1091 w 1154"/>
                <a:gd name="T19" fmla="*/ 1705 h 2034"/>
                <a:gd name="T20" fmla="*/ 1011 w 1154"/>
                <a:gd name="T21" fmla="*/ 1820 h 2034"/>
                <a:gd name="T22" fmla="*/ 897 w 1154"/>
                <a:gd name="T23" fmla="*/ 1920 h 2034"/>
                <a:gd name="T24" fmla="*/ 762 w 1154"/>
                <a:gd name="T25" fmla="*/ 1993 h 2034"/>
                <a:gd name="T26" fmla="*/ 610 w 1154"/>
                <a:gd name="T27" fmla="*/ 2029 h 2034"/>
                <a:gd name="T28" fmla="*/ 463 w 1154"/>
                <a:gd name="T29" fmla="*/ 2031 h 2034"/>
                <a:gd name="T30" fmla="*/ 339 w 1154"/>
                <a:gd name="T31" fmla="*/ 2010 h 2034"/>
                <a:gd name="T32" fmla="*/ 246 w 1154"/>
                <a:gd name="T33" fmla="*/ 1976 h 2034"/>
                <a:gd name="T34" fmla="*/ 193 w 1154"/>
                <a:gd name="T35" fmla="*/ 1941 h 2034"/>
                <a:gd name="T36" fmla="*/ 191 w 1154"/>
                <a:gd name="T37" fmla="*/ 1939 h 2034"/>
                <a:gd name="T38" fmla="*/ 186 w 1154"/>
                <a:gd name="T39" fmla="*/ 1932 h 2034"/>
                <a:gd name="T40" fmla="*/ 173 w 1154"/>
                <a:gd name="T41" fmla="*/ 1908 h 2034"/>
                <a:gd name="T42" fmla="*/ 171 w 1154"/>
                <a:gd name="T43" fmla="*/ 1883 h 2034"/>
                <a:gd name="T44" fmla="*/ 173 w 1154"/>
                <a:gd name="T45" fmla="*/ 1868 h 2034"/>
                <a:gd name="T46" fmla="*/ 186 w 1154"/>
                <a:gd name="T47" fmla="*/ 1842 h 2034"/>
                <a:gd name="T48" fmla="*/ 222 w 1154"/>
                <a:gd name="T49" fmla="*/ 1820 h 2034"/>
                <a:gd name="T50" fmla="*/ 273 w 1154"/>
                <a:gd name="T51" fmla="*/ 1825 h 2034"/>
                <a:gd name="T52" fmla="*/ 273 w 1154"/>
                <a:gd name="T53" fmla="*/ 1825 h 2034"/>
                <a:gd name="T54" fmla="*/ 288 w 1154"/>
                <a:gd name="T55" fmla="*/ 1830 h 2034"/>
                <a:gd name="T56" fmla="*/ 307 w 1154"/>
                <a:gd name="T57" fmla="*/ 1840 h 2034"/>
                <a:gd name="T58" fmla="*/ 398 w 1154"/>
                <a:gd name="T59" fmla="*/ 1874 h 2034"/>
                <a:gd name="T60" fmla="*/ 405 w 1154"/>
                <a:gd name="T61" fmla="*/ 1876 h 2034"/>
                <a:gd name="T62" fmla="*/ 427 w 1154"/>
                <a:gd name="T63" fmla="*/ 1881 h 2034"/>
                <a:gd name="T64" fmla="*/ 521 w 1154"/>
                <a:gd name="T65" fmla="*/ 1886 h 2034"/>
                <a:gd name="T66" fmla="*/ 646 w 1154"/>
                <a:gd name="T67" fmla="*/ 1871 h 2034"/>
                <a:gd name="T68" fmla="*/ 760 w 1154"/>
                <a:gd name="T69" fmla="*/ 1827 h 2034"/>
                <a:gd name="T70" fmla="*/ 860 w 1154"/>
                <a:gd name="T71" fmla="*/ 1754 h 2034"/>
                <a:gd name="T72" fmla="*/ 940 w 1154"/>
                <a:gd name="T73" fmla="*/ 1661 h 2034"/>
                <a:gd name="T74" fmla="*/ 987 w 1154"/>
                <a:gd name="T75" fmla="*/ 1552 h 2034"/>
                <a:gd name="T76" fmla="*/ 1004 w 1154"/>
                <a:gd name="T77" fmla="*/ 1431 h 2034"/>
                <a:gd name="T78" fmla="*/ 999 w 1154"/>
                <a:gd name="T79" fmla="*/ 594 h 2034"/>
                <a:gd name="T80" fmla="*/ 965 w 1154"/>
                <a:gd name="T81" fmla="*/ 467 h 2034"/>
                <a:gd name="T82" fmla="*/ 899 w 1154"/>
                <a:gd name="T83" fmla="*/ 355 h 2034"/>
                <a:gd name="T84" fmla="*/ 799 w 1154"/>
                <a:gd name="T85" fmla="*/ 262 h 2034"/>
                <a:gd name="T86" fmla="*/ 685 w 1154"/>
                <a:gd name="T87" fmla="*/ 199 h 2034"/>
                <a:gd name="T88" fmla="*/ 560 w 1154"/>
                <a:gd name="T89" fmla="*/ 167 h 2034"/>
                <a:gd name="T90" fmla="*/ 424 w 1154"/>
                <a:gd name="T91" fmla="*/ 167 h 2034"/>
                <a:gd name="T92" fmla="*/ 298 w 1154"/>
                <a:gd name="T93" fmla="*/ 199 h 2034"/>
                <a:gd name="T94" fmla="*/ 185 w 1154"/>
                <a:gd name="T95" fmla="*/ 265 h 2034"/>
                <a:gd name="T96" fmla="*/ 108 w 1154"/>
                <a:gd name="T97" fmla="*/ 338 h 2034"/>
                <a:gd name="T98" fmla="*/ 45 w 1154"/>
                <a:gd name="T99" fmla="*/ 297 h 2034"/>
                <a:gd name="T100" fmla="*/ 6 w 1154"/>
                <a:gd name="T101" fmla="*/ 214 h 2034"/>
                <a:gd name="T102" fmla="*/ 17 w 1154"/>
                <a:gd name="T103" fmla="*/ 202 h 2034"/>
                <a:gd name="T104" fmla="*/ 22 w 1154"/>
                <a:gd name="T105" fmla="*/ 196 h 2034"/>
                <a:gd name="T106" fmla="*/ 28 w 1154"/>
                <a:gd name="T107" fmla="*/ 189 h 2034"/>
                <a:gd name="T108" fmla="*/ 146 w 1154"/>
                <a:gd name="T109" fmla="*/ 97 h 2034"/>
                <a:gd name="T110" fmla="*/ 276 w 1154"/>
                <a:gd name="T111" fmla="*/ 36 h 2034"/>
                <a:gd name="T112" fmla="*/ 419 w 1154"/>
                <a:gd name="T113" fmla="*/ 5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4" h="2034">
                  <a:moveTo>
                    <a:pt x="495" y="0"/>
                  </a:moveTo>
                  <a:lnTo>
                    <a:pt x="571" y="5"/>
                  </a:lnTo>
                  <a:lnTo>
                    <a:pt x="646" y="16"/>
                  </a:lnTo>
                  <a:lnTo>
                    <a:pt x="716" y="36"/>
                  </a:lnTo>
                  <a:lnTo>
                    <a:pt x="784" y="63"/>
                  </a:lnTo>
                  <a:lnTo>
                    <a:pt x="846" y="97"/>
                  </a:lnTo>
                  <a:lnTo>
                    <a:pt x="907" y="140"/>
                  </a:lnTo>
                  <a:lnTo>
                    <a:pt x="963" y="189"/>
                  </a:lnTo>
                  <a:lnTo>
                    <a:pt x="1014" y="245"/>
                  </a:lnTo>
                  <a:lnTo>
                    <a:pt x="1057" y="304"/>
                  </a:lnTo>
                  <a:lnTo>
                    <a:pt x="1092" y="367"/>
                  </a:lnTo>
                  <a:lnTo>
                    <a:pt x="1120" y="433"/>
                  </a:lnTo>
                  <a:lnTo>
                    <a:pt x="1138" y="504"/>
                  </a:lnTo>
                  <a:lnTo>
                    <a:pt x="1150" y="577"/>
                  </a:lnTo>
                  <a:lnTo>
                    <a:pt x="1154" y="656"/>
                  </a:lnTo>
                  <a:lnTo>
                    <a:pt x="1154" y="1431"/>
                  </a:lnTo>
                  <a:lnTo>
                    <a:pt x="1150" y="1506"/>
                  </a:lnTo>
                  <a:lnTo>
                    <a:pt x="1138" y="1576"/>
                  </a:lnTo>
                  <a:lnTo>
                    <a:pt x="1118" y="1642"/>
                  </a:lnTo>
                  <a:lnTo>
                    <a:pt x="1091" y="1705"/>
                  </a:lnTo>
                  <a:lnTo>
                    <a:pt x="1055" y="1764"/>
                  </a:lnTo>
                  <a:lnTo>
                    <a:pt x="1011" y="1820"/>
                  </a:lnTo>
                  <a:lnTo>
                    <a:pt x="960" y="1871"/>
                  </a:lnTo>
                  <a:lnTo>
                    <a:pt x="897" y="1920"/>
                  </a:lnTo>
                  <a:lnTo>
                    <a:pt x="831" y="1961"/>
                  </a:lnTo>
                  <a:lnTo>
                    <a:pt x="762" y="1993"/>
                  </a:lnTo>
                  <a:lnTo>
                    <a:pt x="687" y="2015"/>
                  </a:lnTo>
                  <a:lnTo>
                    <a:pt x="610" y="2029"/>
                  </a:lnTo>
                  <a:lnTo>
                    <a:pt x="529" y="2034"/>
                  </a:lnTo>
                  <a:lnTo>
                    <a:pt x="463" y="2031"/>
                  </a:lnTo>
                  <a:lnTo>
                    <a:pt x="398" y="2024"/>
                  </a:lnTo>
                  <a:lnTo>
                    <a:pt x="339" y="2010"/>
                  </a:lnTo>
                  <a:lnTo>
                    <a:pt x="281" y="1992"/>
                  </a:lnTo>
                  <a:lnTo>
                    <a:pt x="246" y="1976"/>
                  </a:lnTo>
                  <a:lnTo>
                    <a:pt x="215" y="1959"/>
                  </a:lnTo>
                  <a:lnTo>
                    <a:pt x="193" y="1941"/>
                  </a:lnTo>
                  <a:lnTo>
                    <a:pt x="191" y="1939"/>
                  </a:lnTo>
                  <a:lnTo>
                    <a:pt x="191" y="1939"/>
                  </a:lnTo>
                  <a:lnTo>
                    <a:pt x="186" y="1932"/>
                  </a:lnTo>
                  <a:lnTo>
                    <a:pt x="186" y="1932"/>
                  </a:lnTo>
                  <a:lnTo>
                    <a:pt x="183" y="1927"/>
                  </a:lnTo>
                  <a:lnTo>
                    <a:pt x="173" y="1908"/>
                  </a:lnTo>
                  <a:lnTo>
                    <a:pt x="169" y="1888"/>
                  </a:lnTo>
                  <a:lnTo>
                    <a:pt x="171" y="1883"/>
                  </a:lnTo>
                  <a:lnTo>
                    <a:pt x="171" y="1876"/>
                  </a:lnTo>
                  <a:lnTo>
                    <a:pt x="173" y="1868"/>
                  </a:lnTo>
                  <a:lnTo>
                    <a:pt x="176" y="1861"/>
                  </a:lnTo>
                  <a:lnTo>
                    <a:pt x="186" y="1842"/>
                  </a:lnTo>
                  <a:lnTo>
                    <a:pt x="202" y="1829"/>
                  </a:lnTo>
                  <a:lnTo>
                    <a:pt x="222" y="1820"/>
                  </a:lnTo>
                  <a:lnTo>
                    <a:pt x="244" y="1818"/>
                  </a:lnTo>
                  <a:lnTo>
                    <a:pt x="273" y="1825"/>
                  </a:lnTo>
                  <a:lnTo>
                    <a:pt x="273" y="1825"/>
                  </a:lnTo>
                  <a:lnTo>
                    <a:pt x="273" y="1825"/>
                  </a:lnTo>
                  <a:lnTo>
                    <a:pt x="274" y="1825"/>
                  </a:lnTo>
                  <a:lnTo>
                    <a:pt x="288" y="1830"/>
                  </a:lnTo>
                  <a:lnTo>
                    <a:pt x="303" y="1839"/>
                  </a:lnTo>
                  <a:lnTo>
                    <a:pt x="307" y="1840"/>
                  </a:lnTo>
                  <a:lnTo>
                    <a:pt x="353" y="1863"/>
                  </a:lnTo>
                  <a:lnTo>
                    <a:pt x="398" y="1874"/>
                  </a:lnTo>
                  <a:lnTo>
                    <a:pt x="400" y="1876"/>
                  </a:lnTo>
                  <a:lnTo>
                    <a:pt x="405" y="1876"/>
                  </a:lnTo>
                  <a:lnTo>
                    <a:pt x="417" y="1880"/>
                  </a:lnTo>
                  <a:lnTo>
                    <a:pt x="427" y="1881"/>
                  </a:lnTo>
                  <a:lnTo>
                    <a:pt x="471" y="1885"/>
                  </a:lnTo>
                  <a:lnTo>
                    <a:pt x="521" y="1886"/>
                  </a:lnTo>
                  <a:lnTo>
                    <a:pt x="585" y="1883"/>
                  </a:lnTo>
                  <a:lnTo>
                    <a:pt x="646" y="1871"/>
                  </a:lnTo>
                  <a:lnTo>
                    <a:pt x="704" y="1852"/>
                  </a:lnTo>
                  <a:lnTo>
                    <a:pt x="760" y="1827"/>
                  </a:lnTo>
                  <a:lnTo>
                    <a:pt x="811" y="1795"/>
                  </a:lnTo>
                  <a:lnTo>
                    <a:pt x="860" y="1754"/>
                  </a:lnTo>
                  <a:lnTo>
                    <a:pt x="904" y="1708"/>
                  </a:lnTo>
                  <a:lnTo>
                    <a:pt x="940" y="1661"/>
                  </a:lnTo>
                  <a:lnTo>
                    <a:pt x="969" y="1608"/>
                  </a:lnTo>
                  <a:lnTo>
                    <a:pt x="987" y="1552"/>
                  </a:lnTo>
                  <a:lnTo>
                    <a:pt x="999" y="1494"/>
                  </a:lnTo>
                  <a:lnTo>
                    <a:pt x="1004" y="1431"/>
                  </a:lnTo>
                  <a:lnTo>
                    <a:pt x="1004" y="662"/>
                  </a:lnTo>
                  <a:lnTo>
                    <a:pt x="999" y="594"/>
                  </a:lnTo>
                  <a:lnTo>
                    <a:pt x="987" y="528"/>
                  </a:lnTo>
                  <a:lnTo>
                    <a:pt x="965" y="467"/>
                  </a:lnTo>
                  <a:lnTo>
                    <a:pt x="936" y="409"/>
                  </a:lnTo>
                  <a:lnTo>
                    <a:pt x="899" y="355"/>
                  </a:lnTo>
                  <a:lnTo>
                    <a:pt x="851" y="306"/>
                  </a:lnTo>
                  <a:lnTo>
                    <a:pt x="799" y="262"/>
                  </a:lnTo>
                  <a:lnTo>
                    <a:pt x="745" y="226"/>
                  </a:lnTo>
                  <a:lnTo>
                    <a:pt x="685" y="199"/>
                  </a:lnTo>
                  <a:lnTo>
                    <a:pt x="624" y="179"/>
                  </a:lnTo>
                  <a:lnTo>
                    <a:pt x="560" y="167"/>
                  </a:lnTo>
                  <a:lnTo>
                    <a:pt x="492" y="163"/>
                  </a:lnTo>
                  <a:lnTo>
                    <a:pt x="424" y="167"/>
                  </a:lnTo>
                  <a:lnTo>
                    <a:pt x="359" y="179"/>
                  </a:lnTo>
                  <a:lnTo>
                    <a:pt x="298" y="199"/>
                  </a:lnTo>
                  <a:lnTo>
                    <a:pt x="241" y="228"/>
                  </a:lnTo>
                  <a:lnTo>
                    <a:pt x="185" y="265"/>
                  </a:lnTo>
                  <a:lnTo>
                    <a:pt x="134" y="309"/>
                  </a:lnTo>
                  <a:lnTo>
                    <a:pt x="108" y="338"/>
                  </a:lnTo>
                  <a:lnTo>
                    <a:pt x="83" y="377"/>
                  </a:lnTo>
                  <a:lnTo>
                    <a:pt x="45" y="297"/>
                  </a:lnTo>
                  <a:lnTo>
                    <a:pt x="0" y="221"/>
                  </a:lnTo>
                  <a:lnTo>
                    <a:pt x="6" y="214"/>
                  </a:lnTo>
                  <a:lnTo>
                    <a:pt x="11" y="207"/>
                  </a:lnTo>
                  <a:lnTo>
                    <a:pt x="17" y="202"/>
                  </a:lnTo>
                  <a:lnTo>
                    <a:pt x="20" y="199"/>
                  </a:lnTo>
                  <a:lnTo>
                    <a:pt x="22" y="196"/>
                  </a:lnTo>
                  <a:lnTo>
                    <a:pt x="22" y="196"/>
                  </a:lnTo>
                  <a:lnTo>
                    <a:pt x="28" y="189"/>
                  </a:lnTo>
                  <a:lnTo>
                    <a:pt x="84" y="140"/>
                  </a:lnTo>
                  <a:lnTo>
                    <a:pt x="146" y="97"/>
                  </a:lnTo>
                  <a:lnTo>
                    <a:pt x="208" y="63"/>
                  </a:lnTo>
                  <a:lnTo>
                    <a:pt x="276" y="36"/>
                  </a:lnTo>
                  <a:lnTo>
                    <a:pt x="346" y="16"/>
                  </a:lnTo>
                  <a:lnTo>
                    <a:pt x="419" y="5"/>
                  </a:lnTo>
                  <a:lnTo>
                    <a:pt x="4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3" name="Freeform 14"/>
            <p:cNvSpPr>
              <a:spLocks noEditPoints="1"/>
            </p:cNvSpPr>
            <p:nvPr/>
          </p:nvSpPr>
          <p:spPr bwMode="auto">
            <a:xfrm>
              <a:off x="7736" y="1162"/>
              <a:ext cx="866" cy="761"/>
            </a:xfrm>
            <a:custGeom>
              <a:avLst/>
              <a:gdLst>
                <a:gd name="T0" fmla="*/ 346 w 866"/>
                <a:gd name="T1" fmla="*/ 151 h 761"/>
                <a:gd name="T2" fmla="*/ 268 w 866"/>
                <a:gd name="T3" fmla="*/ 185 h 761"/>
                <a:gd name="T4" fmla="*/ 207 w 866"/>
                <a:gd name="T5" fmla="*/ 245 h 761"/>
                <a:gd name="T6" fmla="*/ 171 w 866"/>
                <a:gd name="T7" fmla="*/ 324 h 761"/>
                <a:gd name="T8" fmla="*/ 597 w 866"/>
                <a:gd name="T9" fmla="*/ 282 h 761"/>
                <a:gd name="T10" fmla="*/ 548 w 866"/>
                <a:gd name="T11" fmla="*/ 211 h 761"/>
                <a:gd name="T12" fmla="*/ 477 w 866"/>
                <a:gd name="T13" fmla="*/ 165 h 761"/>
                <a:gd name="T14" fmla="*/ 392 w 866"/>
                <a:gd name="T15" fmla="*/ 146 h 761"/>
                <a:gd name="T16" fmla="*/ 448 w 866"/>
                <a:gd name="T17" fmla="*/ 3 h 761"/>
                <a:gd name="T18" fmla="*/ 547 w 866"/>
                <a:gd name="T19" fmla="*/ 29 h 761"/>
                <a:gd name="T20" fmla="*/ 630 w 866"/>
                <a:gd name="T21" fmla="*/ 82 h 761"/>
                <a:gd name="T22" fmla="*/ 698 w 866"/>
                <a:gd name="T23" fmla="*/ 161 h 761"/>
                <a:gd name="T24" fmla="*/ 754 w 866"/>
                <a:gd name="T25" fmla="*/ 280 h 761"/>
                <a:gd name="T26" fmla="*/ 772 w 866"/>
                <a:gd name="T27" fmla="*/ 399 h 761"/>
                <a:gd name="T28" fmla="*/ 760 w 866"/>
                <a:gd name="T29" fmla="*/ 452 h 761"/>
                <a:gd name="T30" fmla="*/ 723 w 866"/>
                <a:gd name="T31" fmla="*/ 477 h 761"/>
                <a:gd name="T32" fmla="*/ 194 w 866"/>
                <a:gd name="T33" fmla="*/ 481 h 761"/>
                <a:gd name="T34" fmla="*/ 246 w 866"/>
                <a:gd name="T35" fmla="*/ 543 h 761"/>
                <a:gd name="T36" fmla="*/ 319 w 866"/>
                <a:gd name="T37" fmla="*/ 586 h 761"/>
                <a:gd name="T38" fmla="*/ 404 w 866"/>
                <a:gd name="T39" fmla="*/ 599 h 761"/>
                <a:gd name="T40" fmla="*/ 821 w 866"/>
                <a:gd name="T41" fmla="*/ 655 h 761"/>
                <a:gd name="T42" fmla="*/ 866 w 866"/>
                <a:gd name="T43" fmla="*/ 761 h 761"/>
                <a:gd name="T44" fmla="*/ 339 w 866"/>
                <a:gd name="T45" fmla="*/ 757 h 761"/>
                <a:gd name="T46" fmla="*/ 221 w 866"/>
                <a:gd name="T47" fmla="*/ 720 h 761"/>
                <a:gd name="T48" fmla="*/ 119 w 866"/>
                <a:gd name="T49" fmla="*/ 645 h 761"/>
                <a:gd name="T50" fmla="*/ 53 w 866"/>
                <a:gd name="T51" fmla="*/ 562 h 761"/>
                <a:gd name="T52" fmla="*/ 12 w 866"/>
                <a:gd name="T53" fmla="*/ 467 h 761"/>
                <a:gd name="T54" fmla="*/ 0 w 866"/>
                <a:gd name="T55" fmla="*/ 357 h 761"/>
                <a:gd name="T56" fmla="*/ 12 w 866"/>
                <a:gd name="T57" fmla="*/ 258 h 761"/>
                <a:gd name="T58" fmla="*/ 51 w 866"/>
                <a:gd name="T59" fmla="*/ 172 h 761"/>
                <a:gd name="T60" fmla="*/ 117 w 866"/>
                <a:gd name="T61" fmla="*/ 99 h 761"/>
                <a:gd name="T62" fmla="*/ 217 w 866"/>
                <a:gd name="T63" fmla="*/ 36 h 761"/>
                <a:gd name="T64" fmla="*/ 331 w 866"/>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6" h="761">
                  <a:moveTo>
                    <a:pt x="392" y="146"/>
                  </a:moveTo>
                  <a:lnTo>
                    <a:pt x="346" y="151"/>
                  </a:lnTo>
                  <a:lnTo>
                    <a:pt x="306" y="165"/>
                  </a:lnTo>
                  <a:lnTo>
                    <a:pt x="268" y="185"/>
                  </a:lnTo>
                  <a:lnTo>
                    <a:pt x="234" y="211"/>
                  </a:lnTo>
                  <a:lnTo>
                    <a:pt x="207" y="245"/>
                  </a:lnTo>
                  <a:lnTo>
                    <a:pt x="187" y="282"/>
                  </a:lnTo>
                  <a:lnTo>
                    <a:pt x="171" y="324"/>
                  </a:lnTo>
                  <a:lnTo>
                    <a:pt x="611" y="324"/>
                  </a:lnTo>
                  <a:lnTo>
                    <a:pt x="597" y="282"/>
                  </a:lnTo>
                  <a:lnTo>
                    <a:pt x="575" y="245"/>
                  </a:lnTo>
                  <a:lnTo>
                    <a:pt x="548" y="211"/>
                  </a:lnTo>
                  <a:lnTo>
                    <a:pt x="514" y="185"/>
                  </a:lnTo>
                  <a:lnTo>
                    <a:pt x="477" y="165"/>
                  </a:lnTo>
                  <a:lnTo>
                    <a:pt x="436" y="151"/>
                  </a:lnTo>
                  <a:lnTo>
                    <a:pt x="392" y="146"/>
                  </a:lnTo>
                  <a:close/>
                  <a:moveTo>
                    <a:pt x="394" y="0"/>
                  </a:moveTo>
                  <a:lnTo>
                    <a:pt x="448" y="3"/>
                  </a:lnTo>
                  <a:lnTo>
                    <a:pt x="499" y="14"/>
                  </a:lnTo>
                  <a:lnTo>
                    <a:pt x="547" y="29"/>
                  </a:lnTo>
                  <a:lnTo>
                    <a:pt x="591" y="53"/>
                  </a:lnTo>
                  <a:lnTo>
                    <a:pt x="630" y="82"/>
                  </a:lnTo>
                  <a:lnTo>
                    <a:pt x="665" y="119"/>
                  </a:lnTo>
                  <a:lnTo>
                    <a:pt x="698" y="161"/>
                  </a:lnTo>
                  <a:lnTo>
                    <a:pt x="730" y="221"/>
                  </a:lnTo>
                  <a:lnTo>
                    <a:pt x="754" y="280"/>
                  </a:lnTo>
                  <a:lnTo>
                    <a:pt x="767" y="340"/>
                  </a:lnTo>
                  <a:lnTo>
                    <a:pt x="772" y="399"/>
                  </a:lnTo>
                  <a:lnTo>
                    <a:pt x="769" y="428"/>
                  </a:lnTo>
                  <a:lnTo>
                    <a:pt x="760" y="452"/>
                  </a:lnTo>
                  <a:lnTo>
                    <a:pt x="743" y="467"/>
                  </a:lnTo>
                  <a:lnTo>
                    <a:pt x="723" y="477"/>
                  </a:lnTo>
                  <a:lnTo>
                    <a:pt x="694" y="481"/>
                  </a:lnTo>
                  <a:lnTo>
                    <a:pt x="194" y="481"/>
                  </a:lnTo>
                  <a:lnTo>
                    <a:pt x="217" y="514"/>
                  </a:lnTo>
                  <a:lnTo>
                    <a:pt x="246" y="543"/>
                  </a:lnTo>
                  <a:lnTo>
                    <a:pt x="280" y="567"/>
                  </a:lnTo>
                  <a:lnTo>
                    <a:pt x="319" y="586"/>
                  </a:lnTo>
                  <a:lnTo>
                    <a:pt x="360" y="596"/>
                  </a:lnTo>
                  <a:lnTo>
                    <a:pt x="404" y="599"/>
                  </a:lnTo>
                  <a:lnTo>
                    <a:pt x="804" y="599"/>
                  </a:lnTo>
                  <a:lnTo>
                    <a:pt x="821" y="655"/>
                  </a:lnTo>
                  <a:lnTo>
                    <a:pt x="842" y="710"/>
                  </a:lnTo>
                  <a:lnTo>
                    <a:pt x="866" y="761"/>
                  </a:lnTo>
                  <a:lnTo>
                    <a:pt x="404" y="761"/>
                  </a:lnTo>
                  <a:lnTo>
                    <a:pt x="339" y="757"/>
                  </a:lnTo>
                  <a:lnTo>
                    <a:pt x="278" y="744"/>
                  </a:lnTo>
                  <a:lnTo>
                    <a:pt x="221" y="720"/>
                  </a:lnTo>
                  <a:lnTo>
                    <a:pt x="168" y="688"/>
                  </a:lnTo>
                  <a:lnTo>
                    <a:pt x="119" y="645"/>
                  </a:lnTo>
                  <a:lnTo>
                    <a:pt x="82" y="606"/>
                  </a:lnTo>
                  <a:lnTo>
                    <a:pt x="53" y="562"/>
                  </a:lnTo>
                  <a:lnTo>
                    <a:pt x="29" y="516"/>
                  </a:lnTo>
                  <a:lnTo>
                    <a:pt x="12" y="467"/>
                  </a:lnTo>
                  <a:lnTo>
                    <a:pt x="3" y="414"/>
                  </a:lnTo>
                  <a:lnTo>
                    <a:pt x="0" y="357"/>
                  </a:lnTo>
                  <a:lnTo>
                    <a:pt x="3" y="306"/>
                  </a:lnTo>
                  <a:lnTo>
                    <a:pt x="12" y="258"/>
                  </a:lnTo>
                  <a:lnTo>
                    <a:pt x="29" y="214"/>
                  </a:lnTo>
                  <a:lnTo>
                    <a:pt x="51" y="172"/>
                  </a:lnTo>
                  <a:lnTo>
                    <a:pt x="82" y="134"/>
                  </a:lnTo>
                  <a:lnTo>
                    <a:pt x="117" y="99"/>
                  </a:lnTo>
                  <a:lnTo>
                    <a:pt x="165" y="63"/>
                  </a:lnTo>
                  <a:lnTo>
                    <a:pt x="217" y="36"/>
                  </a:lnTo>
                  <a:lnTo>
                    <a:pt x="272" y="15"/>
                  </a:lnTo>
                  <a:lnTo>
                    <a:pt x="331" y="3"/>
                  </a:lnTo>
                  <a:lnTo>
                    <a:pt x="39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4" name="Freeform 15"/>
            <p:cNvSpPr>
              <a:spLocks noEditPoints="1"/>
            </p:cNvSpPr>
            <p:nvPr/>
          </p:nvSpPr>
          <p:spPr bwMode="auto">
            <a:xfrm>
              <a:off x="8919" y="1164"/>
              <a:ext cx="779" cy="794"/>
            </a:xfrm>
            <a:custGeom>
              <a:avLst/>
              <a:gdLst>
                <a:gd name="T0" fmla="*/ 343 w 779"/>
                <a:gd name="T1" fmla="*/ 168 h 794"/>
                <a:gd name="T2" fmla="*/ 261 w 779"/>
                <a:gd name="T3" fmla="*/ 202 h 794"/>
                <a:gd name="T4" fmla="*/ 197 w 779"/>
                <a:gd name="T5" fmla="*/ 266 h 794"/>
                <a:gd name="T6" fmla="*/ 163 w 779"/>
                <a:gd name="T7" fmla="*/ 350 h 794"/>
                <a:gd name="T8" fmla="*/ 163 w 779"/>
                <a:gd name="T9" fmla="*/ 443 h 794"/>
                <a:gd name="T10" fmla="*/ 195 w 779"/>
                <a:gd name="T11" fmla="*/ 526 h 794"/>
                <a:gd name="T12" fmla="*/ 260 w 779"/>
                <a:gd name="T13" fmla="*/ 592 h 794"/>
                <a:gd name="T14" fmla="*/ 341 w 779"/>
                <a:gd name="T15" fmla="*/ 628 h 794"/>
                <a:gd name="T16" fmla="*/ 433 w 779"/>
                <a:gd name="T17" fmla="*/ 628 h 794"/>
                <a:gd name="T18" fmla="*/ 514 w 779"/>
                <a:gd name="T19" fmla="*/ 592 h 794"/>
                <a:gd name="T20" fmla="*/ 580 w 779"/>
                <a:gd name="T21" fmla="*/ 526 h 794"/>
                <a:gd name="T22" fmla="*/ 614 w 779"/>
                <a:gd name="T23" fmla="*/ 443 h 794"/>
                <a:gd name="T24" fmla="*/ 614 w 779"/>
                <a:gd name="T25" fmla="*/ 350 h 794"/>
                <a:gd name="T26" fmla="*/ 580 w 779"/>
                <a:gd name="T27" fmla="*/ 266 h 794"/>
                <a:gd name="T28" fmla="*/ 516 w 779"/>
                <a:gd name="T29" fmla="*/ 202 h 794"/>
                <a:gd name="T30" fmla="*/ 434 w 779"/>
                <a:gd name="T31" fmla="*/ 168 h 794"/>
                <a:gd name="T32" fmla="*/ 388 w 779"/>
                <a:gd name="T33" fmla="*/ 0 h 794"/>
                <a:gd name="T34" fmla="*/ 511 w 779"/>
                <a:gd name="T35" fmla="*/ 18 h 794"/>
                <a:gd name="T36" fmla="*/ 616 w 779"/>
                <a:gd name="T37" fmla="*/ 74 h 794"/>
                <a:gd name="T38" fmla="*/ 706 w 779"/>
                <a:gd name="T39" fmla="*/ 163 h 794"/>
                <a:gd name="T40" fmla="*/ 760 w 779"/>
                <a:gd name="T41" fmla="*/ 273 h 794"/>
                <a:gd name="T42" fmla="*/ 779 w 779"/>
                <a:gd name="T43" fmla="*/ 399 h 794"/>
                <a:gd name="T44" fmla="*/ 760 w 779"/>
                <a:gd name="T45" fmla="*/ 521 h 794"/>
                <a:gd name="T46" fmla="*/ 706 w 779"/>
                <a:gd name="T47" fmla="*/ 630 h 794"/>
                <a:gd name="T48" fmla="*/ 618 w 779"/>
                <a:gd name="T49" fmla="*/ 720 h 794"/>
                <a:gd name="T50" fmla="*/ 512 w 779"/>
                <a:gd name="T51" fmla="*/ 776 h 794"/>
                <a:gd name="T52" fmla="*/ 388 w 779"/>
                <a:gd name="T53" fmla="*/ 794 h 794"/>
                <a:gd name="T54" fmla="*/ 266 w 779"/>
                <a:gd name="T55" fmla="*/ 776 h 794"/>
                <a:gd name="T56" fmla="*/ 161 w 779"/>
                <a:gd name="T57" fmla="*/ 721 h 794"/>
                <a:gd name="T58" fmla="*/ 73 w 779"/>
                <a:gd name="T59" fmla="*/ 631 h 794"/>
                <a:gd name="T60" fmla="*/ 17 w 779"/>
                <a:gd name="T61" fmla="*/ 523 h 794"/>
                <a:gd name="T62" fmla="*/ 0 w 779"/>
                <a:gd name="T63" fmla="*/ 399 h 794"/>
                <a:gd name="T64" fmla="*/ 17 w 779"/>
                <a:gd name="T65" fmla="*/ 275 h 794"/>
                <a:gd name="T66" fmla="*/ 71 w 779"/>
                <a:gd name="T67" fmla="*/ 166 h 794"/>
                <a:gd name="T68" fmla="*/ 159 w 779"/>
                <a:gd name="T69" fmla="*/ 74 h 794"/>
                <a:gd name="T70" fmla="*/ 265 w 779"/>
                <a:gd name="T71" fmla="*/ 18 h 794"/>
                <a:gd name="T72" fmla="*/ 388 w 779"/>
                <a:gd name="T73"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9" h="794">
                  <a:moveTo>
                    <a:pt x="388" y="163"/>
                  </a:moveTo>
                  <a:lnTo>
                    <a:pt x="343" y="168"/>
                  </a:lnTo>
                  <a:lnTo>
                    <a:pt x="300" y="180"/>
                  </a:lnTo>
                  <a:lnTo>
                    <a:pt x="261" y="202"/>
                  </a:lnTo>
                  <a:lnTo>
                    <a:pt x="226" y="231"/>
                  </a:lnTo>
                  <a:lnTo>
                    <a:pt x="197" y="266"/>
                  </a:lnTo>
                  <a:lnTo>
                    <a:pt x="175" y="307"/>
                  </a:lnTo>
                  <a:lnTo>
                    <a:pt x="163" y="350"/>
                  </a:lnTo>
                  <a:lnTo>
                    <a:pt x="158" y="397"/>
                  </a:lnTo>
                  <a:lnTo>
                    <a:pt x="163" y="443"/>
                  </a:lnTo>
                  <a:lnTo>
                    <a:pt x="175" y="487"/>
                  </a:lnTo>
                  <a:lnTo>
                    <a:pt x="195" y="526"/>
                  </a:lnTo>
                  <a:lnTo>
                    <a:pt x="224" y="562"/>
                  </a:lnTo>
                  <a:lnTo>
                    <a:pt x="260" y="592"/>
                  </a:lnTo>
                  <a:lnTo>
                    <a:pt x="299" y="614"/>
                  </a:lnTo>
                  <a:lnTo>
                    <a:pt x="341" y="628"/>
                  </a:lnTo>
                  <a:lnTo>
                    <a:pt x="388" y="631"/>
                  </a:lnTo>
                  <a:lnTo>
                    <a:pt x="433" y="628"/>
                  </a:lnTo>
                  <a:lnTo>
                    <a:pt x="475" y="614"/>
                  </a:lnTo>
                  <a:lnTo>
                    <a:pt x="514" y="592"/>
                  </a:lnTo>
                  <a:lnTo>
                    <a:pt x="550" y="562"/>
                  </a:lnTo>
                  <a:lnTo>
                    <a:pt x="580" y="526"/>
                  </a:lnTo>
                  <a:lnTo>
                    <a:pt x="602" y="487"/>
                  </a:lnTo>
                  <a:lnTo>
                    <a:pt x="614" y="443"/>
                  </a:lnTo>
                  <a:lnTo>
                    <a:pt x="619" y="397"/>
                  </a:lnTo>
                  <a:lnTo>
                    <a:pt x="614" y="350"/>
                  </a:lnTo>
                  <a:lnTo>
                    <a:pt x="602" y="307"/>
                  </a:lnTo>
                  <a:lnTo>
                    <a:pt x="580" y="266"/>
                  </a:lnTo>
                  <a:lnTo>
                    <a:pt x="551" y="231"/>
                  </a:lnTo>
                  <a:lnTo>
                    <a:pt x="516" y="202"/>
                  </a:lnTo>
                  <a:lnTo>
                    <a:pt x="477" y="180"/>
                  </a:lnTo>
                  <a:lnTo>
                    <a:pt x="434" y="168"/>
                  </a:lnTo>
                  <a:lnTo>
                    <a:pt x="388" y="163"/>
                  </a:lnTo>
                  <a:close/>
                  <a:moveTo>
                    <a:pt x="388" y="0"/>
                  </a:moveTo>
                  <a:lnTo>
                    <a:pt x="451" y="5"/>
                  </a:lnTo>
                  <a:lnTo>
                    <a:pt x="511" y="18"/>
                  </a:lnTo>
                  <a:lnTo>
                    <a:pt x="565" y="42"/>
                  </a:lnTo>
                  <a:lnTo>
                    <a:pt x="616" y="74"/>
                  </a:lnTo>
                  <a:lnTo>
                    <a:pt x="663" y="115"/>
                  </a:lnTo>
                  <a:lnTo>
                    <a:pt x="706" y="163"/>
                  </a:lnTo>
                  <a:lnTo>
                    <a:pt x="736" y="215"/>
                  </a:lnTo>
                  <a:lnTo>
                    <a:pt x="760" y="273"/>
                  </a:lnTo>
                  <a:lnTo>
                    <a:pt x="774" y="334"/>
                  </a:lnTo>
                  <a:lnTo>
                    <a:pt x="779" y="399"/>
                  </a:lnTo>
                  <a:lnTo>
                    <a:pt x="774" y="462"/>
                  </a:lnTo>
                  <a:lnTo>
                    <a:pt x="760" y="521"/>
                  </a:lnTo>
                  <a:lnTo>
                    <a:pt x="738" y="577"/>
                  </a:lnTo>
                  <a:lnTo>
                    <a:pt x="706" y="630"/>
                  </a:lnTo>
                  <a:lnTo>
                    <a:pt x="665" y="677"/>
                  </a:lnTo>
                  <a:lnTo>
                    <a:pt x="618" y="720"/>
                  </a:lnTo>
                  <a:lnTo>
                    <a:pt x="567" y="752"/>
                  </a:lnTo>
                  <a:lnTo>
                    <a:pt x="512" y="776"/>
                  </a:lnTo>
                  <a:lnTo>
                    <a:pt x="453" y="789"/>
                  </a:lnTo>
                  <a:lnTo>
                    <a:pt x="388" y="794"/>
                  </a:lnTo>
                  <a:lnTo>
                    <a:pt x="326" y="789"/>
                  </a:lnTo>
                  <a:lnTo>
                    <a:pt x="266" y="776"/>
                  </a:lnTo>
                  <a:lnTo>
                    <a:pt x="212" y="754"/>
                  </a:lnTo>
                  <a:lnTo>
                    <a:pt x="161" y="721"/>
                  </a:lnTo>
                  <a:lnTo>
                    <a:pt x="114" y="679"/>
                  </a:lnTo>
                  <a:lnTo>
                    <a:pt x="73" y="631"/>
                  </a:lnTo>
                  <a:lnTo>
                    <a:pt x="41" y="579"/>
                  </a:lnTo>
                  <a:lnTo>
                    <a:pt x="17" y="523"/>
                  </a:lnTo>
                  <a:lnTo>
                    <a:pt x="3" y="463"/>
                  </a:lnTo>
                  <a:lnTo>
                    <a:pt x="0" y="399"/>
                  </a:lnTo>
                  <a:lnTo>
                    <a:pt x="3" y="334"/>
                  </a:lnTo>
                  <a:lnTo>
                    <a:pt x="17" y="275"/>
                  </a:lnTo>
                  <a:lnTo>
                    <a:pt x="41" y="217"/>
                  </a:lnTo>
                  <a:lnTo>
                    <a:pt x="71" y="166"/>
                  </a:lnTo>
                  <a:lnTo>
                    <a:pt x="112" y="117"/>
                  </a:lnTo>
                  <a:lnTo>
                    <a:pt x="159" y="74"/>
                  </a:lnTo>
                  <a:lnTo>
                    <a:pt x="210" y="42"/>
                  </a:lnTo>
                  <a:lnTo>
                    <a:pt x="265" y="18"/>
                  </a:lnTo>
                  <a:lnTo>
                    <a:pt x="326" y="5"/>
                  </a:lnTo>
                  <a:lnTo>
                    <a:pt x="3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grpSp>
    </p:spTree>
    <p:extLst>
      <p:ext uri="{BB962C8B-B14F-4D97-AF65-F5344CB8AC3E}">
        <p14:creationId xmlns:p14="http://schemas.microsoft.com/office/powerpoint/2010/main" val="2393320321"/>
      </p:ext>
    </p:extLst>
  </p:cSld>
  <p:clrMapOvr>
    <a:masterClrMapping/>
  </p:clrMapOvr>
  <p:extLst>
    <p:ext uri="{DCECCB84-F9BA-43D5-87BE-67443E8EF086}">
      <p15:sldGuideLst xmlns:p15="http://schemas.microsoft.com/office/powerpoint/2012/main">
        <p15:guide id="1" orient="horz" pos="2160">
          <p15:clr>
            <a:srgbClr val="FBAE40"/>
          </p15:clr>
        </p15:guide>
        <p15:guide id="2" pos="697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eldia">
    <p:bg>
      <p:bgPr>
        <a:solidFill>
          <a:schemeClr val="accent2"/>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bg1"/>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bg1"/>
                </a:solidFill>
              </a:defRPr>
            </a:lvl1pPr>
          </a:lstStyle>
          <a:p>
            <a:fld id="{022FBEFF-EBBF-4E87-8B40-6CCE83520150}" type="datetime1">
              <a:rPr lang="nl-BE" smtClean="0"/>
              <a:t>30/05/2023</a:t>
            </a:fld>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bg1"/>
                </a:solidFill>
              </a:defRPr>
            </a:lvl1pPr>
          </a:lstStyle>
          <a:p>
            <a:endParaRPr lang="nl-BE" dirty="0"/>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bg1"/>
                </a:solidFill>
              </a:defRPr>
            </a:lvl1p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304598021"/>
      </p:ext>
    </p:extLst>
  </p:cSld>
  <p:clrMapOvr>
    <a:masterClrMapping/>
  </p:clrMapOvr>
  <p:extLst>
    <p:ext uri="{DCECCB84-F9BA-43D5-87BE-67443E8EF086}">
      <p15:sldGuideLst xmlns:p15="http://schemas.microsoft.com/office/powerpoint/2012/main">
        <p15:guide id="1" orient="horz" pos="2160">
          <p15:clr>
            <a:srgbClr val="FBAE40"/>
          </p15:clr>
        </p15:guide>
        <p15:guide id="2" pos="701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2_Titeldia">
    <p:bg>
      <p:bgPr>
        <a:solidFill>
          <a:schemeClr val="accent3"/>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accent5">
                    <a:lumMod val="75000"/>
                    <a:lumOff val="25000"/>
                  </a:schemeClr>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accent5">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accent5">
                    <a:lumMod val="75000"/>
                    <a:lumOff val="25000"/>
                  </a:schemeClr>
                </a:solidFill>
              </a:defRPr>
            </a:lvl1pPr>
          </a:lstStyle>
          <a:p>
            <a:fld id="{022FBEFF-EBBF-4E87-8B40-6CCE83520150}" type="datetime1">
              <a:rPr lang="nl-BE" smtClean="0"/>
              <a:pPr/>
              <a:t>30/05/2023</a:t>
            </a:fld>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accent5">
                    <a:lumMod val="75000"/>
                    <a:lumOff val="25000"/>
                  </a:schemeClr>
                </a:solidFill>
              </a:defRPr>
            </a:lvl1pPr>
          </a:lstStyle>
          <a:p>
            <a:endParaRPr lang="nl-BE" dirty="0">
              <a:solidFill>
                <a:schemeClr val="accent5">
                  <a:lumMod val="75000"/>
                  <a:lumOff val="25000"/>
                </a:schemeClr>
              </a:solidFill>
            </a:endParaRPr>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accent5">
                    <a:lumMod val="75000"/>
                    <a:lumOff val="25000"/>
                  </a:schemeClr>
                </a:solidFill>
              </a:defRPr>
            </a:lvl1p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8578916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3_Titeldia">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accent5">
                    <a:lumMod val="75000"/>
                    <a:lumOff val="25000"/>
                  </a:schemeClr>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accent5">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accent5">
                    <a:lumMod val="75000"/>
                    <a:lumOff val="25000"/>
                  </a:schemeClr>
                </a:solidFill>
              </a:defRPr>
            </a:lvl1pPr>
          </a:lstStyle>
          <a:p>
            <a:fld id="{022FBEFF-EBBF-4E87-8B40-6CCE83520150}" type="datetime1">
              <a:rPr lang="nl-BE" smtClean="0"/>
              <a:pPr/>
              <a:t>30/05/2023</a:t>
            </a:fld>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accent5">
                    <a:lumMod val="75000"/>
                    <a:lumOff val="25000"/>
                  </a:schemeClr>
                </a:solidFill>
              </a:defRPr>
            </a:lvl1pPr>
          </a:lstStyle>
          <a:p>
            <a:endParaRPr lang="nl-BE" dirty="0">
              <a:solidFill>
                <a:schemeClr val="accent5">
                  <a:lumMod val="75000"/>
                  <a:lumOff val="25000"/>
                </a:schemeClr>
              </a:solidFill>
            </a:endParaRPr>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accent5">
                    <a:lumMod val="75000"/>
                    <a:lumOff val="25000"/>
                  </a:schemeClr>
                </a:solidFill>
              </a:defRPr>
            </a:lvl1p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40753918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1072446662"/>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10" name="Picture 9" descr="A picture containing sky, outdoor, grass, day&#10;&#10;Description automatically generated">
            <a:extLst>
              <a:ext uri="{FF2B5EF4-FFF2-40B4-BE49-F238E27FC236}">
                <a16:creationId xmlns:a16="http://schemas.microsoft.com/office/drawing/2014/main" id="{7C83D873-A726-4462-9D77-7E4E955F068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1288" b="3787"/>
          <a:stretch/>
        </p:blipFill>
        <p:spPr>
          <a:xfrm>
            <a:off x="0" y="0"/>
            <a:ext cx="12192000" cy="6092826"/>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3997401356"/>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7" name="Picture 6" descr="A person holding a pair of scissors&#10;&#10;Description automatically generated with medium confidence">
            <a:extLst>
              <a:ext uri="{FF2B5EF4-FFF2-40B4-BE49-F238E27FC236}">
                <a16:creationId xmlns:a16="http://schemas.microsoft.com/office/drawing/2014/main" id="{D36CAC88-FF12-46CD-947B-B091EF3F37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1466" b="3779"/>
          <a:stretch/>
        </p:blipFill>
        <p:spPr>
          <a:xfrm>
            <a:off x="-32388" y="-1"/>
            <a:ext cx="12224387"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1666618176"/>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7" name="Picture 6" descr="A close - up of a circuit board&#10;&#10;Description automatically generated with low confidence">
            <a:extLst>
              <a:ext uri="{FF2B5EF4-FFF2-40B4-BE49-F238E27FC236}">
                <a16:creationId xmlns:a16="http://schemas.microsoft.com/office/drawing/2014/main" id="{E646E93E-512C-464C-9CED-F40B18EC0F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5764"/>
          <a:stretch/>
        </p:blipFill>
        <p:spPr>
          <a:xfrm>
            <a:off x="0" y="0"/>
            <a:ext cx="12192000"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2762119" cy="394184"/>
          </a:xfrm>
          <a:solidFill>
            <a:schemeClr val="accent4">
              <a:lumMod val="60000"/>
              <a:lumOff val="40000"/>
              <a:alpha val="70000"/>
            </a:schemeClr>
          </a:solidFill>
          <a:effectLst>
            <a:softEdge rad="31750"/>
          </a:effectLst>
        </p:spPr>
        <p:txBody>
          <a:bodyPr/>
          <a:lstStyle/>
          <a:p>
            <a:r>
              <a:rPr lang="en-US"/>
              <a:t>Click to edit Master title style</a:t>
            </a:r>
            <a:endParaRPr lang="fr-BE" dirty="0"/>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1572912004"/>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Titeldia">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accent5">
                    <a:lumMod val="75000"/>
                    <a:lumOff val="25000"/>
                  </a:schemeClr>
                </a:solidFill>
              </a:defRPr>
            </a:lvl1pPr>
          </a:lstStyle>
          <a:p>
            <a:r>
              <a:rPr lang="nl-NL" dirty="0" err="1"/>
              <a:t>Title</a:t>
            </a:r>
            <a:r>
              <a:rPr lang="nl-NL" dirty="0"/>
              <a:t> </a:t>
            </a:r>
            <a:r>
              <a:rPr lang="nl-NL" dirty="0" err="1"/>
              <a:t>presentation</a:t>
            </a:r>
            <a:endParaRPr lang="nl-BE" dirty="0"/>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accent5">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e + </a:t>
            </a:r>
            <a:r>
              <a:rPr lang="nl-NL" dirty="0" err="1"/>
              <a:t>subtitle</a:t>
            </a:r>
            <a:r>
              <a:rPr lang="nl-NL" dirty="0"/>
              <a:t> </a:t>
            </a:r>
            <a:r>
              <a:rPr lang="nl-NL" dirty="0" err="1"/>
              <a:t>presentation</a:t>
            </a:r>
            <a:endParaRPr lang="nl-BE" dirty="0"/>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accent5">
                    <a:lumMod val="75000"/>
                    <a:lumOff val="25000"/>
                  </a:schemeClr>
                </a:solidFill>
              </a:defRPr>
            </a:lvl1pPr>
          </a:lstStyle>
          <a:p>
            <a:fld id="{022FBEFF-EBBF-4E87-8B40-6CCE83520150}" type="datetime1">
              <a:rPr lang="nl-BE" smtClean="0"/>
              <a:pPr/>
              <a:t>30/05/2023</a:t>
            </a:fld>
            <a:endParaRPr lang="nl-BE" dirty="0"/>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accent5">
                    <a:lumMod val="75000"/>
                    <a:lumOff val="25000"/>
                  </a:schemeClr>
                </a:solidFill>
              </a:defRPr>
            </a:lvl1pPr>
          </a:lstStyle>
          <a:p>
            <a:endParaRPr lang="nl-BE" dirty="0">
              <a:solidFill>
                <a:schemeClr val="accent5">
                  <a:lumMod val="75000"/>
                  <a:lumOff val="25000"/>
                </a:schemeClr>
              </a:solidFill>
            </a:endParaRPr>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accent5">
                    <a:lumMod val="75000"/>
                    <a:lumOff val="25000"/>
                  </a:schemeClr>
                </a:solidFill>
              </a:defRPr>
            </a:lvl1p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703440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10" name="Picture 9" descr="A person holding a cell phone&#10;&#10;Description automatically generated with medium confidence">
            <a:extLst>
              <a:ext uri="{FF2B5EF4-FFF2-40B4-BE49-F238E27FC236}">
                <a16:creationId xmlns:a16="http://schemas.microsoft.com/office/drawing/2014/main" id="{934182A7-9427-4408-AC29-18553F1200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0062" b="15127"/>
          <a:stretch/>
        </p:blipFill>
        <p:spPr>
          <a:xfrm>
            <a:off x="0" y="0"/>
            <a:ext cx="12192000"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189794903"/>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9" name="Picture 8" descr="A picture containing person&#10;&#10;Description automatically generated">
            <a:extLst>
              <a:ext uri="{FF2B5EF4-FFF2-40B4-BE49-F238E27FC236}">
                <a16:creationId xmlns:a16="http://schemas.microsoft.com/office/drawing/2014/main" id="{D5A955CA-2D72-426A-B610-88A732D7E35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637" t="4420" r="3637" b="26072"/>
          <a:stretch/>
        </p:blipFill>
        <p:spPr>
          <a:xfrm>
            <a:off x="-1" y="0"/>
            <a:ext cx="12192001" cy="6092826"/>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3534047395"/>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9" name="Picture 8" descr="A child in a field of flowers&#10;&#10;Description automatically generated with medium confidence">
            <a:extLst>
              <a:ext uri="{FF2B5EF4-FFF2-40B4-BE49-F238E27FC236}">
                <a16:creationId xmlns:a16="http://schemas.microsoft.com/office/drawing/2014/main" id="{B6768249-84BB-436E-95A3-3A281D9F4E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0644" r="9926"/>
          <a:stretch/>
        </p:blipFill>
        <p:spPr>
          <a:xfrm>
            <a:off x="-1" y="0"/>
            <a:ext cx="12192001"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dirty="0"/>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133918719"/>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7" name="Picture 6" descr="Diagram&#10;&#10;Description automatically generated with medium confidence">
            <a:extLst>
              <a:ext uri="{FF2B5EF4-FFF2-40B4-BE49-F238E27FC236}">
                <a16:creationId xmlns:a16="http://schemas.microsoft.com/office/drawing/2014/main" id="{AFCCF48A-B4D2-4F82-841E-1EB739476C2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60" t="158" r="693" b="1"/>
          <a:stretch/>
        </p:blipFill>
        <p:spPr>
          <a:xfrm>
            <a:off x="-240705" y="0"/>
            <a:ext cx="12432705"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947323486"/>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inhoud 2"/>
          <p:cNvSpPr>
            <a:spLocks noGrp="1"/>
          </p:cNvSpPr>
          <p:nvPr>
            <p:ph idx="1" hasCustomPrompt="1"/>
          </p:nvPr>
        </p:nvSpPr>
        <p:spPr>
          <a:xfrm>
            <a:off x="609600" y="1623061"/>
            <a:ext cx="10972800" cy="452596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198966" y="6400801"/>
            <a:ext cx="917701" cy="276224"/>
          </a:xfrm>
        </p:spPr>
        <p:txBody>
          <a:bodyPr/>
          <a:lstStyle/>
          <a:p>
            <a:fld id="{A5BF5FAA-1273-48C9-A418-A52A86AE5014}"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Tree>
    <p:extLst>
      <p:ext uri="{BB962C8B-B14F-4D97-AF65-F5344CB8AC3E}">
        <p14:creationId xmlns:p14="http://schemas.microsoft.com/office/powerpoint/2010/main" val="24971421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inhoud 2"/>
          <p:cNvSpPr>
            <a:spLocks noGrp="1"/>
          </p:cNvSpPr>
          <p:nvPr>
            <p:ph idx="1" hasCustomPrompt="1"/>
          </p:nvPr>
        </p:nvSpPr>
        <p:spPr>
          <a:xfrm>
            <a:off x="609600" y="1623061"/>
            <a:ext cx="10972800" cy="452596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198966" y="6400801"/>
            <a:ext cx="917701" cy="276224"/>
          </a:xfrm>
        </p:spPr>
        <p:txBody>
          <a:bodyPr/>
          <a:lstStyle/>
          <a:p>
            <a:fld id="{A5BF5FAA-1273-48C9-A418-A52A86AE5014}"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8" name="Tijdelijke aanduiding voor tekst 9"/>
          <p:cNvSpPr>
            <a:spLocks noGrp="1"/>
          </p:cNvSpPr>
          <p:nvPr>
            <p:ph type="body" sz="quarter" idx="13"/>
          </p:nvPr>
        </p:nvSpPr>
        <p:spPr>
          <a:xfrm>
            <a:off x="1168976" y="3472816"/>
            <a:ext cx="6480000" cy="330860"/>
          </a:xfrm>
          <a:noFill/>
        </p:spPr>
        <p:txBody>
          <a:bodyPr wrap="square" lIns="90000" rtlCol="0">
            <a:spAutoFit/>
          </a:bodyPr>
          <a:lstStyle>
            <a:lvl1pPr marL="0" indent="0">
              <a:buNone/>
              <a:defRPr lang="nl-BE" sz="1300" spc="20" noProof="0" dirty="0">
                <a:solidFill>
                  <a:srgbClr val="C62B37"/>
                </a:solidFill>
              </a:defRPr>
            </a:lvl1pPr>
          </a:lstStyle>
          <a:p>
            <a:pPr marL="0" lvl="0">
              <a:lnSpc>
                <a:spcPts val="2000"/>
              </a:lnSpc>
            </a:pPr>
            <a:r>
              <a:rPr kumimoji="0" lang="en-US" sz="1200" b="0" i="0" u="none" strike="noStrike" kern="1200" cap="none" spc="20" normalizeH="0" baseline="0">
                <a:ln>
                  <a:noFill/>
                </a:ln>
                <a:solidFill>
                  <a:srgbClr val="C62B37"/>
                </a:solidFill>
                <a:effectLst/>
                <a:uLnTx/>
                <a:uFillTx/>
                <a:latin typeface="+mn-lt"/>
                <a:ea typeface="+mn-ea"/>
                <a:cs typeface="+mn-cs"/>
              </a:rPr>
              <a:t>Click to edit Master text styles</a:t>
            </a:r>
          </a:p>
        </p:txBody>
      </p:sp>
    </p:spTree>
    <p:extLst>
      <p:ext uri="{BB962C8B-B14F-4D97-AF65-F5344CB8AC3E}">
        <p14:creationId xmlns:p14="http://schemas.microsoft.com/office/powerpoint/2010/main" val="23243971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inhoud 2"/>
          <p:cNvSpPr>
            <a:spLocks noGrp="1"/>
          </p:cNvSpPr>
          <p:nvPr>
            <p:ph idx="1" hasCustomPrompt="1"/>
          </p:nvPr>
        </p:nvSpPr>
        <p:spPr>
          <a:xfrm>
            <a:off x="6096000" y="1623061"/>
            <a:ext cx="5486400" cy="452596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198966" y="6400801"/>
            <a:ext cx="917701" cy="276224"/>
          </a:xfrm>
        </p:spPr>
        <p:txBody>
          <a:bodyPr/>
          <a:lstStyle/>
          <a:p>
            <a:fld id="{A5BF5FAA-1273-48C9-A418-A52A86AE5014}"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Picture Placeholder 8">
            <a:extLst>
              <a:ext uri="{FF2B5EF4-FFF2-40B4-BE49-F238E27FC236}">
                <a16:creationId xmlns:a16="http://schemas.microsoft.com/office/drawing/2014/main" id="{BB3D6B10-2C43-486B-952D-3902C8CB09A2}"/>
              </a:ext>
            </a:extLst>
          </p:cNvPr>
          <p:cNvSpPr>
            <a:spLocks noGrp="1"/>
          </p:cNvSpPr>
          <p:nvPr>
            <p:ph type="pic" sz="quarter" idx="13"/>
          </p:nvPr>
        </p:nvSpPr>
        <p:spPr>
          <a:xfrm>
            <a:off x="609600" y="1622426"/>
            <a:ext cx="5486400" cy="4525963"/>
          </a:xfrm>
        </p:spPr>
        <p:txBody>
          <a:bodyPr/>
          <a:lstStyle/>
          <a:p>
            <a:r>
              <a:rPr lang="en-US"/>
              <a:t>Click icon to add picture</a:t>
            </a:r>
            <a:endParaRPr lang="fr-BE" dirty="0"/>
          </a:p>
        </p:txBody>
      </p:sp>
    </p:spTree>
    <p:extLst>
      <p:ext uri="{BB962C8B-B14F-4D97-AF65-F5344CB8AC3E}">
        <p14:creationId xmlns:p14="http://schemas.microsoft.com/office/powerpoint/2010/main" val="24096799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el en object">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609600" y="2011681"/>
            <a:ext cx="10972800" cy="4137343"/>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4" name="Tijdelijke aanduiding voor datum 3"/>
          <p:cNvSpPr>
            <a:spLocks noGrp="1"/>
          </p:cNvSpPr>
          <p:nvPr>
            <p:ph type="dt" sz="half" idx="10"/>
          </p:nvPr>
        </p:nvSpPr>
        <p:spPr>
          <a:xfrm>
            <a:off x="1200000" y="6400801"/>
            <a:ext cx="916667" cy="276224"/>
          </a:xfrm>
        </p:spPr>
        <p:txBody>
          <a:bodyPr/>
          <a:lstStyle/>
          <a:p>
            <a:fld id="{71616274-4FE1-42A0-958E-4F8D8C016092}"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tel 1"/>
          <p:cNvSpPr>
            <a:spLocks noGrp="1"/>
          </p:cNvSpPr>
          <p:nvPr>
            <p:ph type="title" hasCustomPrompt="1"/>
          </p:nvPr>
        </p:nvSpPr>
        <p:spPr>
          <a:xfrm>
            <a:off x="609600" y="1183176"/>
            <a:ext cx="10972800" cy="517632"/>
          </a:xfrm>
        </p:spPr>
        <p:txBody>
          <a:bodyPr tIns="0" bIns="0"/>
          <a:lstStyle/>
          <a:p>
            <a:r>
              <a:rPr lang="en-US" dirty="0"/>
              <a:t>This is the title</a:t>
            </a:r>
            <a:endParaRPr lang="nl-BE" dirty="0"/>
          </a:p>
        </p:txBody>
      </p:sp>
      <p:sp>
        <p:nvSpPr>
          <p:cNvPr id="10" name="Tijdelijke aanduiding voor inhoud 2"/>
          <p:cNvSpPr>
            <a:spLocks noGrp="1"/>
          </p:cNvSpPr>
          <p:nvPr>
            <p:ph idx="13"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dirty="0"/>
              <a:t>This is the subtitle</a:t>
            </a:r>
          </a:p>
        </p:txBody>
      </p:sp>
    </p:spTree>
    <p:extLst>
      <p:ext uri="{BB962C8B-B14F-4D97-AF65-F5344CB8AC3E}">
        <p14:creationId xmlns:p14="http://schemas.microsoft.com/office/powerpoint/2010/main" val="843882658"/>
      </p:ext>
    </p:extLst>
  </p:cSld>
  <p:clrMapOvr>
    <a:masterClrMapping/>
  </p:clrMapOvr>
  <p:extLst>
    <p:ext uri="{DCECCB84-F9BA-43D5-87BE-67443E8EF086}">
      <p15:sldGuideLst xmlns:p15="http://schemas.microsoft.com/office/powerpoint/2012/main">
        <p15:guide id="1" orient="horz" pos="1253">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Titel en object">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a:xfrm>
            <a:off x="1200000" y="6400801"/>
            <a:ext cx="916667" cy="276224"/>
          </a:xfrm>
        </p:spPr>
        <p:txBody>
          <a:bodyPr/>
          <a:lstStyle/>
          <a:p>
            <a:fld id="{71616274-4FE1-42A0-958E-4F8D8C016092}"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tel 1"/>
          <p:cNvSpPr>
            <a:spLocks noGrp="1"/>
          </p:cNvSpPr>
          <p:nvPr>
            <p:ph type="title" hasCustomPrompt="1"/>
          </p:nvPr>
        </p:nvSpPr>
        <p:spPr>
          <a:xfrm>
            <a:off x="609600" y="1183176"/>
            <a:ext cx="10972800" cy="517632"/>
          </a:xfrm>
        </p:spPr>
        <p:txBody>
          <a:bodyPr tIns="0" bIns="0"/>
          <a:lstStyle/>
          <a:p>
            <a:r>
              <a:rPr lang="en-US" dirty="0"/>
              <a:t>This is the title</a:t>
            </a:r>
            <a:endParaRPr lang="nl-BE" dirty="0"/>
          </a:p>
        </p:txBody>
      </p:sp>
      <p:sp>
        <p:nvSpPr>
          <p:cNvPr id="10" name="Tijdelijke aanduiding voor inhoud 2"/>
          <p:cNvSpPr>
            <a:spLocks noGrp="1"/>
          </p:cNvSpPr>
          <p:nvPr>
            <p:ph idx="13"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dirty="0"/>
              <a:t>This is the subtitle</a:t>
            </a:r>
          </a:p>
        </p:txBody>
      </p:sp>
      <p:sp>
        <p:nvSpPr>
          <p:cNvPr id="8" name="Tijdelijke aanduiding voor inhoud 2">
            <a:extLst>
              <a:ext uri="{FF2B5EF4-FFF2-40B4-BE49-F238E27FC236}">
                <a16:creationId xmlns:a16="http://schemas.microsoft.com/office/drawing/2014/main" id="{017597B3-D718-4A3E-A590-E2C434D2BEA9}"/>
              </a:ext>
            </a:extLst>
          </p:cNvPr>
          <p:cNvSpPr>
            <a:spLocks noGrp="1"/>
          </p:cNvSpPr>
          <p:nvPr>
            <p:ph idx="1" hasCustomPrompt="1"/>
          </p:nvPr>
        </p:nvSpPr>
        <p:spPr>
          <a:xfrm>
            <a:off x="6096000" y="1989139"/>
            <a:ext cx="5486400" cy="4159885"/>
          </a:xfrm>
        </p:spPr>
        <p:txBody>
          <a:bodyPr/>
          <a:lstStyle/>
          <a:p>
            <a:pPr lvl="0"/>
            <a:r>
              <a:rPr lang="en-US" dirty="0"/>
              <a:t>this could be a </a:t>
            </a:r>
            <a:r>
              <a:rPr lang="en-US" dirty="0" err="1"/>
              <a:t>bulletpoint</a:t>
            </a:r>
            <a:endParaRPr lang="en-US" dirty="0"/>
          </a:p>
          <a:p>
            <a:pPr lvl="0"/>
            <a:r>
              <a:rPr lang="en-US" dirty="0"/>
              <a:t>this could be another </a:t>
            </a:r>
            <a:r>
              <a:rPr lang="en-US" dirty="0" err="1"/>
              <a:t>bulletpoint</a:t>
            </a:r>
            <a:endParaRPr lang="en-US" dirty="0"/>
          </a:p>
          <a:p>
            <a:pPr lvl="0"/>
            <a:r>
              <a:rPr lang="en-US" dirty="0"/>
              <a:t>this could be the third </a:t>
            </a:r>
            <a:r>
              <a:rPr lang="en-US" dirty="0" err="1"/>
              <a:t>bulletpoint</a:t>
            </a:r>
            <a:endParaRPr lang="en-US" dirty="0"/>
          </a:p>
          <a:p>
            <a:pPr lvl="0"/>
            <a:r>
              <a:rPr lang="en-US" dirty="0"/>
              <a:t>this </a:t>
            </a:r>
            <a:r>
              <a:rPr lang="en-US" dirty="0" err="1"/>
              <a:t>bulletpoint</a:t>
            </a:r>
            <a:r>
              <a:rPr lang="en-US" dirty="0"/>
              <a:t> needs some </a:t>
            </a:r>
            <a:r>
              <a:rPr lang="en-US" dirty="0" err="1"/>
              <a:t>bodycopy</a:t>
            </a:r>
            <a:endParaRPr lang="en-US" dirty="0"/>
          </a:p>
        </p:txBody>
      </p:sp>
      <p:sp>
        <p:nvSpPr>
          <p:cNvPr id="11" name="Picture Placeholder 8">
            <a:extLst>
              <a:ext uri="{FF2B5EF4-FFF2-40B4-BE49-F238E27FC236}">
                <a16:creationId xmlns:a16="http://schemas.microsoft.com/office/drawing/2014/main" id="{780B19EB-F64B-481B-96AD-A2BAD35CA904}"/>
              </a:ext>
            </a:extLst>
          </p:cNvPr>
          <p:cNvSpPr>
            <a:spLocks noGrp="1"/>
          </p:cNvSpPr>
          <p:nvPr>
            <p:ph type="pic" sz="quarter" idx="14"/>
          </p:nvPr>
        </p:nvSpPr>
        <p:spPr>
          <a:xfrm>
            <a:off x="609600" y="1989138"/>
            <a:ext cx="5486400" cy="4159250"/>
          </a:xfrm>
        </p:spPr>
        <p:txBody>
          <a:bodyPr/>
          <a:lstStyle/>
          <a:p>
            <a:r>
              <a:rPr lang="en-US"/>
              <a:t>Click icon to add picture</a:t>
            </a:r>
            <a:endParaRPr lang="fr-BE" dirty="0"/>
          </a:p>
        </p:txBody>
      </p:sp>
    </p:spTree>
    <p:extLst>
      <p:ext uri="{BB962C8B-B14F-4D97-AF65-F5344CB8AC3E}">
        <p14:creationId xmlns:p14="http://schemas.microsoft.com/office/powerpoint/2010/main" val="870863686"/>
      </p:ext>
    </p:extLst>
  </p:cSld>
  <p:clrMapOvr>
    <a:masterClrMapping/>
  </p:clrMapOvr>
  <p:extLst>
    <p:ext uri="{DCECCB84-F9BA-43D5-87BE-67443E8EF086}">
      <p15:sldGuideLst xmlns:p15="http://schemas.microsoft.com/office/powerpoint/2012/main">
        <p15:guide id="1" orient="horz" pos="1253">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09600" y="1183176"/>
            <a:ext cx="10972800" cy="517632"/>
          </a:xfrm>
        </p:spPr>
        <p:txBody>
          <a:bodyPr tIns="0" bIns="0"/>
          <a:lstStyle/>
          <a:p>
            <a:r>
              <a:rPr lang="en-US" dirty="0"/>
              <a:t>This is the title</a:t>
            </a:r>
            <a:endParaRPr lang="nl-BE" dirty="0"/>
          </a:p>
        </p:txBody>
      </p:sp>
      <p:sp>
        <p:nvSpPr>
          <p:cNvPr id="3" name="Tijdelijke aanduiding voor inhoud 2"/>
          <p:cNvSpPr>
            <a:spLocks noGrp="1"/>
          </p:cNvSpPr>
          <p:nvPr>
            <p:ph idx="1"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dirty="0"/>
              <a:t>This is the subtitle</a:t>
            </a:r>
          </a:p>
        </p:txBody>
      </p:sp>
      <p:sp>
        <p:nvSpPr>
          <p:cNvPr id="4" name="Tijdelijke aanduiding voor datum 3"/>
          <p:cNvSpPr>
            <a:spLocks noGrp="1"/>
          </p:cNvSpPr>
          <p:nvPr>
            <p:ph type="dt" sz="half" idx="10"/>
          </p:nvPr>
        </p:nvSpPr>
        <p:spPr/>
        <p:txBody>
          <a:bodyPr/>
          <a:lstStyle/>
          <a:p>
            <a:fld id="{4D248814-E055-43D5-9498-4B06A7BA5130}" type="datetime1">
              <a:rPr lang="nl-BE" smtClean="0"/>
              <a:t>30/05/2023</a:t>
            </a:fld>
            <a:endParaRPr lang="nl-BE"/>
          </a:p>
        </p:txBody>
      </p:sp>
      <p:sp>
        <p:nvSpPr>
          <p:cNvPr id="5" name="Tijdelijke aanduiding voor voettekst 4"/>
          <p:cNvSpPr>
            <a:spLocks noGrp="1"/>
          </p:cNvSpPr>
          <p:nvPr>
            <p:ph type="ftr" sz="quarter" idx="11"/>
          </p:nvPr>
        </p:nvSpPr>
        <p:spPr/>
        <p:txBody>
          <a:bodyPr/>
          <a:lstStyle/>
          <a:p>
            <a:endParaRPr lang="nl-BE"/>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dirty="0"/>
          </a:p>
        </p:txBody>
      </p:sp>
      <p:sp>
        <p:nvSpPr>
          <p:cNvPr id="12" name="Tijdelijke aanduiding voor grafiek 11"/>
          <p:cNvSpPr>
            <a:spLocks noGrp="1"/>
          </p:cNvSpPr>
          <p:nvPr>
            <p:ph type="chart" sz="quarter" idx="13" hasCustomPrompt="1"/>
          </p:nvPr>
        </p:nvSpPr>
        <p:spPr>
          <a:xfrm>
            <a:off x="1583499" y="1989138"/>
            <a:ext cx="4319885" cy="3384550"/>
          </a:xfrm>
        </p:spPr>
        <p:txBody>
          <a:bodyPr lIns="90000"/>
          <a:lstStyle>
            <a:lvl1pPr marL="0" indent="0" algn="ctr">
              <a:buNone/>
              <a:defRPr/>
            </a:lvl1pPr>
          </a:lstStyle>
          <a:p>
            <a:r>
              <a:rPr lang="nl-BE" dirty="0"/>
              <a:t>CHART</a:t>
            </a:r>
          </a:p>
        </p:txBody>
      </p:sp>
      <p:sp>
        <p:nvSpPr>
          <p:cNvPr id="13" name="Tijdelijke aanduiding voor grafiek 11"/>
          <p:cNvSpPr>
            <a:spLocks noGrp="1"/>
          </p:cNvSpPr>
          <p:nvPr>
            <p:ph type="chart" sz="quarter" idx="14" hasCustomPrompt="1"/>
          </p:nvPr>
        </p:nvSpPr>
        <p:spPr>
          <a:xfrm>
            <a:off x="6288022" y="1989138"/>
            <a:ext cx="4319885" cy="3384550"/>
          </a:xfrm>
        </p:spPr>
        <p:txBody>
          <a:bodyPr lIns="90000"/>
          <a:lstStyle>
            <a:lvl1pPr marL="0" indent="0" algn="ctr">
              <a:buNone/>
              <a:defRPr/>
            </a:lvl1pPr>
          </a:lstStyle>
          <a:p>
            <a:r>
              <a:rPr lang="nl-BE" dirty="0"/>
              <a:t>CHART</a:t>
            </a:r>
          </a:p>
        </p:txBody>
      </p:sp>
    </p:spTree>
    <p:extLst>
      <p:ext uri="{BB962C8B-B14F-4D97-AF65-F5344CB8AC3E}">
        <p14:creationId xmlns:p14="http://schemas.microsoft.com/office/powerpoint/2010/main" val="818735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169389029"/>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4" name="Tijdelijke aanduiding voor datum 3"/>
          <p:cNvSpPr>
            <a:spLocks noGrp="1"/>
          </p:cNvSpPr>
          <p:nvPr>
            <p:ph type="dt" sz="half" idx="10"/>
          </p:nvPr>
        </p:nvSpPr>
        <p:spPr/>
        <p:txBody>
          <a:bodyPr/>
          <a:lstStyle/>
          <a:p>
            <a:fld id="{9CCAA75D-0E89-49C5-B1F4-89D39FFCAE05}"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jdelijke aanduiding voor grafiek 8"/>
          <p:cNvSpPr>
            <a:spLocks noGrp="1"/>
          </p:cNvSpPr>
          <p:nvPr>
            <p:ph type="chart" sz="quarter" idx="13" hasCustomPrompt="1"/>
          </p:nvPr>
        </p:nvSpPr>
        <p:spPr>
          <a:xfrm>
            <a:off x="1515533" y="2276476"/>
            <a:ext cx="2275417" cy="2232025"/>
          </a:xfrm>
        </p:spPr>
        <p:txBody>
          <a:bodyPr lIns="90000">
            <a:noAutofit/>
          </a:bodyPr>
          <a:lstStyle>
            <a:lvl1pPr marL="0" indent="0" algn="ctr">
              <a:buNone/>
              <a:defRPr sz="1200" b="1" spc="0"/>
            </a:lvl1pPr>
          </a:lstStyle>
          <a:p>
            <a:r>
              <a:rPr lang="nl-BE" dirty="0"/>
              <a:t>CHART</a:t>
            </a:r>
          </a:p>
        </p:txBody>
      </p:sp>
      <p:sp>
        <p:nvSpPr>
          <p:cNvPr id="11" name="Tijdelijke aanduiding voor grafiek 8"/>
          <p:cNvSpPr>
            <a:spLocks noGrp="1"/>
          </p:cNvSpPr>
          <p:nvPr>
            <p:ph type="chart" sz="quarter" idx="14" hasCustomPrompt="1"/>
          </p:nvPr>
        </p:nvSpPr>
        <p:spPr>
          <a:xfrm>
            <a:off x="3790950" y="2276476"/>
            <a:ext cx="2275417" cy="2232025"/>
          </a:xfrm>
        </p:spPr>
        <p:txBody>
          <a:bodyPr lIns="90000">
            <a:noAutofit/>
          </a:bodyPr>
          <a:lstStyle>
            <a:lvl1pPr marL="0" indent="0" algn="ctr">
              <a:buNone/>
              <a:defRPr sz="1200" b="1" spc="0"/>
            </a:lvl1pPr>
          </a:lstStyle>
          <a:p>
            <a:r>
              <a:rPr lang="nl-BE" dirty="0"/>
              <a:t>CHART</a:t>
            </a:r>
          </a:p>
        </p:txBody>
      </p:sp>
      <p:sp>
        <p:nvSpPr>
          <p:cNvPr id="12" name="Tijdelijke aanduiding voor grafiek 8"/>
          <p:cNvSpPr>
            <a:spLocks noGrp="1"/>
          </p:cNvSpPr>
          <p:nvPr>
            <p:ph type="chart" sz="quarter" idx="15" hasCustomPrompt="1"/>
          </p:nvPr>
        </p:nvSpPr>
        <p:spPr>
          <a:xfrm>
            <a:off x="6066368" y="2276476"/>
            <a:ext cx="2275417" cy="2232025"/>
          </a:xfrm>
        </p:spPr>
        <p:txBody>
          <a:bodyPr lIns="90000">
            <a:noAutofit/>
          </a:bodyPr>
          <a:lstStyle>
            <a:lvl1pPr marL="0" indent="0" algn="ctr">
              <a:buNone/>
              <a:defRPr sz="1200" b="1" spc="0"/>
            </a:lvl1pPr>
          </a:lstStyle>
          <a:p>
            <a:r>
              <a:rPr lang="nl-BE" dirty="0"/>
              <a:t>CHART</a:t>
            </a:r>
          </a:p>
        </p:txBody>
      </p:sp>
      <p:sp>
        <p:nvSpPr>
          <p:cNvPr id="13" name="Tijdelijke aanduiding voor grafiek 8"/>
          <p:cNvSpPr>
            <a:spLocks noGrp="1"/>
          </p:cNvSpPr>
          <p:nvPr>
            <p:ph type="chart" sz="quarter" idx="16" hasCustomPrompt="1"/>
          </p:nvPr>
        </p:nvSpPr>
        <p:spPr>
          <a:xfrm>
            <a:off x="8341785" y="2276476"/>
            <a:ext cx="2275417" cy="2232025"/>
          </a:xfrm>
        </p:spPr>
        <p:txBody>
          <a:bodyPr lIns="90000">
            <a:noAutofit/>
          </a:bodyPr>
          <a:lstStyle>
            <a:lvl1pPr marL="0" indent="0" algn="ctr">
              <a:buNone/>
              <a:defRPr sz="1200" b="1" spc="0"/>
            </a:lvl1pPr>
          </a:lstStyle>
          <a:p>
            <a:r>
              <a:rPr lang="nl-BE" dirty="0"/>
              <a:t>CHART</a:t>
            </a:r>
          </a:p>
        </p:txBody>
      </p:sp>
    </p:spTree>
    <p:extLst>
      <p:ext uri="{BB962C8B-B14F-4D97-AF65-F5344CB8AC3E}">
        <p14:creationId xmlns:p14="http://schemas.microsoft.com/office/powerpoint/2010/main" val="340373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a:t>This is the title of the subject on this page</a:t>
            </a:r>
            <a:endParaRPr lang="nl-BE" dirty="0"/>
          </a:p>
        </p:txBody>
      </p:sp>
      <p:sp>
        <p:nvSpPr>
          <p:cNvPr id="3" name="Tijdelijke aanduiding voor datum 2"/>
          <p:cNvSpPr>
            <a:spLocks noGrp="1"/>
          </p:cNvSpPr>
          <p:nvPr>
            <p:ph type="dt" sz="half" idx="10"/>
          </p:nvPr>
        </p:nvSpPr>
        <p:spPr/>
        <p:txBody>
          <a:bodyPr/>
          <a:lstStyle/>
          <a:p>
            <a:fld id="{394400BF-F442-49AE-A647-2CAEF8151DDA}" type="datetime1">
              <a:rPr lang="nl-BE" smtClean="0"/>
              <a:t>30/05/2023</a:t>
            </a:fld>
            <a:endParaRPr lang="nl-BE"/>
          </a:p>
        </p:txBody>
      </p:sp>
      <p:sp>
        <p:nvSpPr>
          <p:cNvPr id="4" name="Tijdelijke aanduiding voor voettekst 3"/>
          <p:cNvSpPr>
            <a:spLocks noGrp="1"/>
          </p:cNvSpPr>
          <p:nvPr>
            <p:ph type="ftr" sz="quarter" idx="11"/>
          </p:nvPr>
        </p:nvSpPr>
        <p:spPr/>
        <p:txBody>
          <a:bodyPr/>
          <a:lstStyle/>
          <a:p>
            <a:endParaRPr lang="nl-BE" dirty="0"/>
          </a:p>
        </p:txBody>
      </p:sp>
      <p:sp>
        <p:nvSpPr>
          <p:cNvPr id="5" name="Tijdelijke aanduiding voor dianummer 4"/>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42464236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Aangepaste indeling">
    <p:spTree>
      <p:nvGrpSpPr>
        <p:cNvPr id="1" name=""/>
        <p:cNvGrpSpPr/>
        <p:nvPr/>
      </p:nvGrpSpPr>
      <p:grpSpPr>
        <a:xfrm>
          <a:off x="0" y="0"/>
          <a:ext cx="0" cy="0"/>
          <a:chOff x="0" y="0"/>
          <a:chExt cx="0" cy="0"/>
        </a:xfrm>
      </p:grpSpPr>
      <p:sp>
        <p:nvSpPr>
          <p:cNvPr id="2" name="Tijdelijke aanduiding voor datum 2"/>
          <p:cNvSpPr>
            <a:spLocks noGrp="1"/>
          </p:cNvSpPr>
          <p:nvPr>
            <p:ph type="dt" sz="half" idx="10"/>
          </p:nvPr>
        </p:nvSpPr>
        <p:spPr>
          <a:xfrm>
            <a:off x="1199456" y="6400801"/>
            <a:ext cx="917211" cy="276224"/>
          </a:xfrm>
        </p:spPr>
        <p:txBody>
          <a:bodyPr/>
          <a:lstStyle/>
          <a:p>
            <a:fld id="{394400BF-F442-49AE-A647-2CAEF8151DDA}" type="datetime1">
              <a:rPr lang="nl-BE" smtClean="0"/>
              <a:t>30/05/2023</a:t>
            </a:fld>
            <a:endParaRPr lang="nl-BE"/>
          </a:p>
        </p:txBody>
      </p:sp>
      <p:sp>
        <p:nvSpPr>
          <p:cNvPr id="3" name="Tijdelijke aanduiding voor voettekst 3"/>
          <p:cNvSpPr>
            <a:spLocks noGrp="1"/>
          </p:cNvSpPr>
          <p:nvPr>
            <p:ph type="ftr" sz="quarter" idx="11"/>
          </p:nvPr>
        </p:nvSpPr>
        <p:spPr>
          <a:xfrm>
            <a:off x="2116667" y="6400801"/>
            <a:ext cx="8313605" cy="276224"/>
          </a:xfrm>
        </p:spPr>
        <p:txBody>
          <a:bodyPr/>
          <a:lstStyle/>
          <a:p>
            <a:endParaRPr lang="nl-BE" dirty="0"/>
          </a:p>
        </p:txBody>
      </p:sp>
      <p:sp>
        <p:nvSpPr>
          <p:cNvPr id="4" name="Tijdelijke aanduiding voor dianummer 4"/>
          <p:cNvSpPr>
            <a:spLocks noGrp="1"/>
          </p:cNvSpPr>
          <p:nvPr>
            <p:ph type="sldNum" sz="quarter" idx="12"/>
          </p:nvPr>
        </p:nvSpPr>
        <p:spPr>
          <a:xfrm>
            <a:off x="609600" y="6400801"/>
            <a:ext cx="589856" cy="276224"/>
          </a:xfrm>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18746501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Aangepaste indeling">
    <p:bg>
      <p:bgPr>
        <a:solidFill>
          <a:srgbClr val="C62B37"/>
        </a:solidFill>
        <a:effectLst/>
      </p:bgPr>
    </p:bg>
    <p:spTree>
      <p:nvGrpSpPr>
        <p:cNvPr id="1" name=""/>
        <p:cNvGrpSpPr/>
        <p:nvPr/>
      </p:nvGrpSpPr>
      <p:grpSpPr>
        <a:xfrm>
          <a:off x="0" y="0"/>
          <a:ext cx="0" cy="0"/>
          <a:chOff x="0" y="0"/>
          <a:chExt cx="0" cy="0"/>
        </a:xfrm>
      </p:grpSpPr>
      <p:sp>
        <p:nvSpPr>
          <p:cNvPr id="7" name="Rechthoek 6"/>
          <p:cNvSpPr/>
          <p:nvPr userDrawn="1"/>
        </p:nvSpPr>
        <p:spPr>
          <a:xfrm>
            <a:off x="0" y="5429250"/>
            <a:ext cx="12192000" cy="142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8" name="Tekstvak 7"/>
          <p:cNvSpPr txBox="1"/>
          <p:nvPr userDrawn="1"/>
        </p:nvSpPr>
        <p:spPr>
          <a:xfrm>
            <a:off x="555786" y="6003410"/>
            <a:ext cx="3076483" cy="461665"/>
          </a:xfrm>
          <a:prstGeom prst="rect">
            <a:avLst/>
          </a:prstGeom>
          <a:noFill/>
        </p:spPr>
        <p:txBody>
          <a:bodyPr wrap="none" rtlCol="0">
            <a:spAutoFit/>
          </a:bodyPr>
          <a:lstStyle/>
          <a:p>
            <a:r>
              <a:rPr lang="en-GB" sz="800" b="1" dirty="0"/>
              <a:t>Federatie van de Belgische Elektriciteits- en Gasbedrijven </a:t>
            </a:r>
          </a:p>
          <a:p>
            <a:r>
              <a:rPr lang="en-GB" sz="800" b="1" dirty="0"/>
              <a:t>Fédération Belge des Entreprises Électriques et Gazières</a:t>
            </a:r>
          </a:p>
          <a:p>
            <a:r>
              <a:rPr lang="en-GB" sz="800" b="1" dirty="0"/>
              <a:t>Federation of Belgian Electricity and Gas Companies</a:t>
            </a:r>
          </a:p>
        </p:txBody>
      </p:sp>
      <p:pic>
        <p:nvPicPr>
          <p:cNvPr id="5" name="Picture 22" descr="C:\4PPS\2015\Typographics\Febeg 01\_USE\FEBEG_Q.png">
            <a:extLst>
              <a:ext uri="{FF2B5EF4-FFF2-40B4-BE49-F238E27FC236}">
                <a16:creationId xmlns:a16="http://schemas.microsoft.com/office/drawing/2014/main" id="{97FA4974-3AEB-436C-8C1A-F4B58987F16E}"/>
              </a:ext>
            </a:extLst>
          </p:cNvPr>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a:ext>
            </a:extLst>
          </a:blip>
          <a:srcRect l="62995" t="32777" b="6087"/>
          <a:stretch/>
        </p:blipFill>
        <p:spPr bwMode="auto">
          <a:xfrm>
            <a:off x="0" y="-1"/>
            <a:ext cx="8528640" cy="685800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8635418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Aangepaste indeling">
    <p:bg>
      <p:bgPr>
        <a:solidFill>
          <a:srgbClr val="C62B37"/>
        </a:solidFill>
        <a:effectLst/>
      </p:bgPr>
    </p:bg>
    <p:spTree>
      <p:nvGrpSpPr>
        <p:cNvPr id="1" name=""/>
        <p:cNvGrpSpPr/>
        <p:nvPr/>
      </p:nvGrpSpPr>
      <p:grpSpPr>
        <a:xfrm>
          <a:off x="0" y="0"/>
          <a:ext cx="0" cy="0"/>
          <a:chOff x="0" y="0"/>
          <a:chExt cx="0" cy="0"/>
        </a:xfrm>
      </p:grpSpPr>
      <p:sp>
        <p:nvSpPr>
          <p:cNvPr id="7" name="Rechthoek 6"/>
          <p:cNvSpPr/>
          <p:nvPr userDrawn="1"/>
        </p:nvSpPr>
        <p:spPr>
          <a:xfrm>
            <a:off x="0" y="5429250"/>
            <a:ext cx="12192000" cy="142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5" name="Picture 22" descr="C:\4PPS\2015\Typographics\Febeg 01\_USE\FEBEG_Q.png">
            <a:extLst>
              <a:ext uri="{FF2B5EF4-FFF2-40B4-BE49-F238E27FC236}">
                <a16:creationId xmlns:a16="http://schemas.microsoft.com/office/drawing/2014/main" id="{20A7C618-217D-4985-909A-8DAE2D250DAA}"/>
              </a:ext>
            </a:extLst>
          </p:cNvPr>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a:ext>
            </a:extLst>
          </a:blip>
          <a:srcRect l="90734" t="32777" b="6087"/>
          <a:stretch/>
        </p:blipFill>
        <p:spPr bwMode="auto">
          <a:xfrm>
            <a:off x="0" y="-1"/>
            <a:ext cx="2135460"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8" name="Tekstvak 7"/>
          <p:cNvSpPr txBox="1"/>
          <p:nvPr userDrawn="1"/>
        </p:nvSpPr>
        <p:spPr>
          <a:xfrm>
            <a:off x="555786" y="6003410"/>
            <a:ext cx="3076483" cy="461665"/>
          </a:xfrm>
          <a:prstGeom prst="rect">
            <a:avLst/>
          </a:prstGeom>
          <a:noFill/>
        </p:spPr>
        <p:txBody>
          <a:bodyPr wrap="none" rtlCol="0">
            <a:spAutoFit/>
          </a:bodyPr>
          <a:lstStyle/>
          <a:p>
            <a:r>
              <a:rPr lang="en-GB" sz="800" b="1" dirty="0"/>
              <a:t>Federatie van de Belgische Elektriciteits- en Gasbedrijven </a:t>
            </a:r>
          </a:p>
          <a:p>
            <a:r>
              <a:rPr lang="en-GB" sz="800" b="1" dirty="0"/>
              <a:t>Fédération Belge des Entreprises Électriques et Gazières</a:t>
            </a:r>
          </a:p>
          <a:p>
            <a:r>
              <a:rPr lang="en-GB" sz="800" b="1" dirty="0"/>
              <a:t>Federation of Belgian Electricity and Gas Companies</a:t>
            </a:r>
          </a:p>
        </p:txBody>
      </p:sp>
    </p:spTree>
    <p:extLst>
      <p:ext uri="{BB962C8B-B14F-4D97-AF65-F5344CB8AC3E}">
        <p14:creationId xmlns:p14="http://schemas.microsoft.com/office/powerpoint/2010/main" val="23762830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pic>
        <p:nvPicPr>
          <p:cNvPr id="35" name="Picture 34" descr="http://www.febeg.be/Objects/1/Images/LogoEneco.jpg">
            <a:hlinkClick r:id="rId2"/>
            <a:extLst>
              <a:ext uri="{FF2B5EF4-FFF2-40B4-BE49-F238E27FC236}">
                <a16:creationId xmlns:a16="http://schemas.microsoft.com/office/drawing/2014/main" id="{079D65FA-0A6D-4632-93F6-52BC59D2FA0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55399" y="2976856"/>
            <a:ext cx="1664526" cy="40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35">
            <a:extLst>
              <a:ext uri="{FF2B5EF4-FFF2-40B4-BE49-F238E27FC236}">
                <a16:creationId xmlns:a16="http://schemas.microsoft.com/office/drawing/2014/main" id="{04D093DD-0595-C9EF-B6BA-16D56089C21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138294" y="2061497"/>
            <a:ext cx="898642" cy="563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36">
            <a:extLst>
              <a:ext uri="{FF2B5EF4-FFF2-40B4-BE49-F238E27FC236}">
                <a16:creationId xmlns:a16="http://schemas.microsoft.com/office/drawing/2014/main" id="{14A489D9-DCA1-5470-6CE9-9744DFBFEB3B}"/>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461855" y="2908711"/>
            <a:ext cx="608140" cy="7550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37">
            <a:extLst>
              <a:ext uri="{FF2B5EF4-FFF2-40B4-BE49-F238E27FC236}">
                <a16:creationId xmlns:a16="http://schemas.microsoft.com/office/drawing/2014/main" id="{0FF78265-43E8-300F-16B9-3398EA923105}"/>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771839" y="4552835"/>
            <a:ext cx="1569860" cy="85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a:extLst>
              <a:ext uri="{FF2B5EF4-FFF2-40B4-BE49-F238E27FC236}">
                <a16:creationId xmlns:a16="http://schemas.microsoft.com/office/drawing/2014/main" id="{73FD3696-274C-AA8A-F26B-7E670CC9612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05975" y="3044644"/>
            <a:ext cx="993250" cy="604641"/>
          </a:xfrm>
          <a:prstGeom prst="rect">
            <a:avLst/>
          </a:prstGeom>
        </p:spPr>
      </p:pic>
      <p:pic>
        <p:nvPicPr>
          <p:cNvPr id="40" name="Picture 39">
            <a:extLst>
              <a:ext uri="{FF2B5EF4-FFF2-40B4-BE49-F238E27FC236}">
                <a16:creationId xmlns:a16="http://schemas.microsoft.com/office/drawing/2014/main" id="{51CF7AD4-7373-6AEE-1377-42613F37AFF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279447" y="1121601"/>
            <a:ext cx="1455613" cy="536534"/>
          </a:xfrm>
          <a:prstGeom prst="rect">
            <a:avLst/>
          </a:prstGeom>
        </p:spPr>
      </p:pic>
      <p:pic>
        <p:nvPicPr>
          <p:cNvPr id="41" name="Picture 40">
            <a:extLst>
              <a:ext uri="{FF2B5EF4-FFF2-40B4-BE49-F238E27FC236}">
                <a16:creationId xmlns:a16="http://schemas.microsoft.com/office/drawing/2014/main" id="{7C09B4B9-AA4B-376A-BCB6-3F948A863FA2}"/>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493886" y="4225528"/>
            <a:ext cx="1087972" cy="181158"/>
          </a:xfrm>
          <a:prstGeom prst="rect">
            <a:avLst/>
          </a:prstGeom>
        </p:spPr>
      </p:pic>
      <p:pic>
        <p:nvPicPr>
          <p:cNvPr id="42" name="Picture 41">
            <a:extLst>
              <a:ext uri="{FF2B5EF4-FFF2-40B4-BE49-F238E27FC236}">
                <a16:creationId xmlns:a16="http://schemas.microsoft.com/office/drawing/2014/main" id="{2E98BDBE-3051-062F-F532-17CB61C73061}"/>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461855" y="4872121"/>
            <a:ext cx="1120003" cy="319241"/>
          </a:xfrm>
          <a:prstGeom prst="rect">
            <a:avLst/>
          </a:prstGeom>
        </p:spPr>
      </p:pic>
      <p:pic>
        <p:nvPicPr>
          <p:cNvPr id="43" name="Picture 42">
            <a:extLst>
              <a:ext uri="{FF2B5EF4-FFF2-40B4-BE49-F238E27FC236}">
                <a16:creationId xmlns:a16="http://schemas.microsoft.com/office/drawing/2014/main" id="{5761955F-A78C-DCE6-8E87-69D28423B163}"/>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5909452" y="1092240"/>
            <a:ext cx="1317523" cy="696482"/>
          </a:xfrm>
          <a:prstGeom prst="rect">
            <a:avLst/>
          </a:prstGeom>
        </p:spPr>
      </p:pic>
      <p:pic>
        <p:nvPicPr>
          <p:cNvPr id="44" name="Picture 43">
            <a:extLst>
              <a:ext uri="{FF2B5EF4-FFF2-40B4-BE49-F238E27FC236}">
                <a16:creationId xmlns:a16="http://schemas.microsoft.com/office/drawing/2014/main" id="{84F1CC22-C3CA-3E03-6840-A1DF8A4E82BF}"/>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76583" y="2996633"/>
            <a:ext cx="1215602" cy="501314"/>
          </a:xfrm>
          <a:prstGeom prst="rect">
            <a:avLst/>
          </a:prstGeom>
        </p:spPr>
      </p:pic>
      <p:pic>
        <p:nvPicPr>
          <p:cNvPr id="45" name="Picture 44">
            <a:extLst>
              <a:ext uri="{FF2B5EF4-FFF2-40B4-BE49-F238E27FC236}">
                <a16:creationId xmlns:a16="http://schemas.microsoft.com/office/drawing/2014/main" id="{B83C65CB-9753-D21A-5D36-40BAE376F05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486230" y="1119392"/>
            <a:ext cx="1419902" cy="377162"/>
          </a:xfrm>
          <a:prstGeom prst="rect">
            <a:avLst/>
          </a:prstGeom>
        </p:spPr>
      </p:pic>
      <p:pic>
        <p:nvPicPr>
          <p:cNvPr id="46" name="Picture 45">
            <a:extLst>
              <a:ext uri="{FF2B5EF4-FFF2-40B4-BE49-F238E27FC236}">
                <a16:creationId xmlns:a16="http://schemas.microsoft.com/office/drawing/2014/main" id="{83B480D2-45BD-8133-52CB-B638981ACBA4}"/>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796978" y="1206125"/>
            <a:ext cx="1391101" cy="375598"/>
          </a:xfrm>
          <a:prstGeom prst="rect">
            <a:avLst/>
          </a:prstGeom>
        </p:spPr>
      </p:pic>
      <p:pic>
        <p:nvPicPr>
          <p:cNvPr id="47" name="Picture 46">
            <a:extLst>
              <a:ext uri="{FF2B5EF4-FFF2-40B4-BE49-F238E27FC236}">
                <a16:creationId xmlns:a16="http://schemas.microsoft.com/office/drawing/2014/main" id="{F3445D6C-16EC-8D71-0738-C559665DC75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806777" y="2850979"/>
            <a:ext cx="1606648" cy="972489"/>
          </a:xfrm>
          <a:prstGeom prst="rect">
            <a:avLst/>
          </a:prstGeom>
        </p:spPr>
      </p:pic>
      <p:pic>
        <p:nvPicPr>
          <p:cNvPr id="48" name="Picture 47">
            <a:extLst>
              <a:ext uri="{FF2B5EF4-FFF2-40B4-BE49-F238E27FC236}">
                <a16:creationId xmlns:a16="http://schemas.microsoft.com/office/drawing/2014/main" id="{F72C4081-D1C6-3E9A-6AE0-45164FD032F8}"/>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303931" y="2887032"/>
            <a:ext cx="1607115" cy="972772"/>
          </a:xfrm>
          <a:prstGeom prst="rect">
            <a:avLst/>
          </a:prstGeom>
        </p:spPr>
      </p:pic>
      <p:pic>
        <p:nvPicPr>
          <p:cNvPr id="50" name="Picture 49">
            <a:extLst>
              <a:ext uri="{FF2B5EF4-FFF2-40B4-BE49-F238E27FC236}">
                <a16:creationId xmlns:a16="http://schemas.microsoft.com/office/drawing/2014/main" id="{509D3CE8-FD1A-EA51-1F3E-483867BC4A04}"/>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622354" y="1800894"/>
            <a:ext cx="1249972" cy="883675"/>
          </a:xfrm>
          <a:prstGeom prst="rect">
            <a:avLst/>
          </a:prstGeom>
        </p:spPr>
      </p:pic>
      <p:pic>
        <p:nvPicPr>
          <p:cNvPr id="51" name="Picture 50">
            <a:extLst>
              <a:ext uri="{FF2B5EF4-FFF2-40B4-BE49-F238E27FC236}">
                <a16:creationId xmlns:a16="http://schemas.microsoft.com/office/drawing/2014/main" id="{A2533F9D-FA4E-58D5-67A1-844399B5B402}"/>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6414290" y="2061497"/>
            <a:ext cx="830168" cy="578792"/>
          </a:xfrm>
          <a:prstGeom prst="rect">
            <a:avLst/>
          </a:prstGeom>
        </p:spPr>
      </p:pic>
      <p:pic>
        <p:nvPicPr>
          <p:cNvPr id="52" name="Picture 51">
            <a:extLst>
              <a:ext uri="{FF2B5EF4-FFF2-40B4-BE49-F238E27FC236}">
                <a16:creationId xmlns:a16="http://schemas.microsoft.com/office/drawing/2014/main" id="{5E2BDBAA-CC23-608F-A5B6-1A72159D57DC}"/>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4606117" y="4243413"/>
            <a:ext cx="1174709" cy="231633"/>
          </a:xfrm>
          <a:prstGeom prst="rect">
            <a:avLst/>
          </a:prstGeom>
        </p:spPr>
      </p:pic>
      <p:pic>
        <p:nvPicPr>
          <p:cNvPr id="53" name="Picture 52">
            <a:extLst>
              <a:ext uri="{FF2B5EF4-FFF2-40B4-BE49-F238E27FC236}">
                <a16:creationId xmlns:a16="http://schemas.microsoft.com/office/drawing/2014/main" id="{C0E71BAE-A2ED-8D19-45B4-6A078711BEE0}"/>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422951" y="3604581"/>
            <a:ext cx="1222927" cy="1066888"/>
          </a:xfrm>
          <a:prstGeom prst="rect">
            <a:avLst/>
          </a:prstGeom>
        </p:spPr>
      </p:pic>
      <p:pic>
        <p:nvPicPr>
          <p:cNvPr id="54" name="Picture 53">
            <a:extLst>
              <a:ext uri="{FF2B5EF4-FFF2-40B4-BE49-F238E27FC236}">
                <a16:creationId xmlns:a16="http://schemas.microsoft.com/office/drawing/2014/main" id="{5F0BB8C4-4122-302D-DA99-72D066BDD280}"/>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3040524" y="4860313"/>
            <a:ext cx="1126653" cy="367603"/>
          </a:xfrm>
          <a:prstGeom prst="rect">
            <a:avLst/>
          </a:prstGeom>
        </p:spPr>
      </p:pic>
      <p:pic>
        <p:nvPicPr>
          <p:cNvPr id="55" name="Picture 54">
            <a:extLst>
              <a:ext uri="{FF2B5EF4-FFF2-40B4-BE49-F238E27FC236}">
                <a16:creationId xmlns:a16="http://schemas.microsoft.com/office/drawing/2014/main" id="{4B582366-877F-9CEC-8D98-2BF246E5DE3C}"/>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9519160" y="4800304"/>
            <a:ext cx="1558072" cy="505321"/>
          </a:xfrm>
          <a:prstGeom prst="rect">
            <a:avLst/>
          </a:prstGeom>
        </p:spPr>
      </p:pic>
      <p:pic>
        <p:nvPicPr>
          <p:cNvPr id="56" name="Picture 55">
            <a:extLst>
              <a:ext uri="{FF2B5EF4-FFF2-40B4-BE49-F238E27FC236}">
                <a16:creationId xmlns:a16="http://schemas.microsoft.com/office/drawing/2014/main" id="{70156289-2BAB-A4D8-479E-623116E4EE4A}"/>
              </a:ext>
            </a:extLst>
          </p:cNvPr>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9158509" y="5533382"/>
            <a:ext cx="2153360" cy="52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56">
            <a:extLst>
              <a:ext uri="{FF2B5EF4-FFF2-40B4-BE49-F238E27FC236}">
                <a16:creationId xmlns:a16="http://schemas.microsoft.com/office/drawing/2014/main" id="{75B922A7-6714-AD2A-6F6D-D4CE289AA41C}"/>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7872192" y="5136792"/>
            <a:ext cx="1448159" cy="1448159"/>
          </a:xfrm>
          <a:prstGeom prst="rect">
            <a:avLst/>
          </a:prstGeom>
        </p:spPr>
      </p:pic>
      <p:pic>
        <p:nvPicPr>
          <p:cNvPr id="58" name="Picture 57">
            <a:extLst>
              <a:ext uri="{FF2B5EF4-FFF2-40B4-BE49-F238E27FC236}">
                <a16:creationId xmlns:a16="http://schemas.microsoft.com/office/drawing/2014/main" id="{70117F4A-0C43-831D-75DC-2AC5C1D8053D}"/>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6493885" y="5728259"/>
            <a:ext cx="1420029" cy="344864"/>
          </a:xfrm>
          <a:prstGeom prst="rect">
            <a:avLst/>
          </a:prstGeom>
        </p:spPr>
      </p:pic>
      <p:pic>
        <p:nvPicPr>
          <p:cNvPr id="59" name="Picture 58">
            <a:extLst>
              <a:ext uri="{FF2B5EF4-FFF2-40B4-BE49-F238E27FC236}">
                <a16:creationId xmlns:a16="http://schemas.microsoft.com/office/drawing/2014/main" id="{00A038BE-B900-AB38-3E77-3C08D171AB58}"/>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4606117" y="5670087"/>
            <a:ext cx="1448159" cy="443500"/>
          </a:xfrm>
          <a:prstGeom prst="rect">
            <a:avLst/>
          </a:prstGeom>
        </p:spPr>
      </p:pic>
      <p:pic>
        <p:nvPicPr>
          <p:cNvPr id="60" name="Picture 59" descr="A close up of a logo&#10;&#10;Description automatically generated">
            <a:extLst>
              <a:ext uri="{FF2B5EF4-FFF2-40B4-BE49-F238E27FC236}">
                <a16:creationId xmlns:a16="http://schemas.microsoft.com/office/drawing/2014/main" id="{AA30235C-7CC6-D208-E7E3-6AF140A69F0B}"/>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533228" y="5936927"/>
            <a:ext cx="982816" cy="239561"/>
          </a:xfrm>
          <a:prstGeom prst="rect">
            <a:avLst/>
          </a:prstGeom>
        </p:spPr>
      </p:pic>
      <p:pic>
        <p:nvPicPr>
          <p:cNvPr id="61" name="Picture 60" descr="Logo, company name&#10;&#10;Description automatically generated">
            <a:extLst>
              <a:ext uri="{FF2B5EF4-FFF2-40B4-BE49-F238E27FC236}">
                <a16:creationId xmlns:a16="http://schemas.microsoft.com/office/drawing/2014/main" id="{D2368093-01D6-0D88-BD3C-1699C748E268}"/>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9582120" y="4124590"/>
            <a:ext cx="1228122" cy="377884"/>
          </a:xfrm>
          <a:prstGeom prst="rect">
            <a:avLst/>
          </a:prstGeom>
        </p:spPr>
      </p:pic>
      <p:pic>
        <p:nvPicPr>
          <p:cNvPr id="62" name="Picture 61" descr="A green and white sign&#10;&#10;Description automatically generated with low confidence">
            <a:extLst>
              <a:ext uri="{FF2B5EF4-FFF2-40B4-BE49-F238E27FC236}">
                <a16:creationId xmlns:a16="http://schemas.microsoft.com/office/drawing/2014/main" id="{E1B63E8B-E501-DDE5-4D79-2E1A8F63F41F}"/>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9495318" y="1963233"/>
            <a:ext cx="1198475" cy="535034"/>
          </a:xfrm>
          <a:prstGeom prst="rect">
            <a:avLst/>
          </a:prstGeom>
        </p:spPr>
      </p:pic>
      <p:pic>
        <p:nvPicPr>
          <p:cNvPr id="63" name="Picture 62" descr="Logo&#10;&#10;Description automatically generated">
            <a:extLst>
              <a:ext uri="{FF2B5EF4-FFF2-40B4-BE49-F238E27FC236}">
                <a16:creationId xmlns:a16="http://schemas.microsoft.com/office/drawing/2014/main" id="{95C035B2-3E11-924B-3CF3-B7DC1397D1C6}"/>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3096557" y="5480493"/>
            <a:ext cx="1014586" cy="720587"/>
          </a:xfrm>
          <a:prstGeom prst="rect">
            <a:avLst/>
          </a:prstGeom>
        </p:spPr>
      </p:pic>
      <p:pic>
        <p:nvPicPr>
          <p:cNvPr id="64" name="Picture 63" descr="A picture containing text&#10;&#10;Description automatically generated">
            <a:extLst>
              <a:ext uri="{FF2B5EF4-FFF2-40B4-BE49-F238E27FC236}">
                <a16:creationId xmlns:a16="http://schemas.microsoft.com/office/drawing/2014/main" id="{DA907021-19D4-556D-E7AE-789586A2DFC4}"/>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1577599" y="2056508"/>
            <a:ext cx="1205994" cy="678373"/>
          </a:xfrm>
          <a:prstGeom prst="rect">
            <a:avLst/>
          </a:prstGeom>
        </p:spPr>
      </p:pic>
      <p:pic>
        <p:nvPicPr>
          <p:cNvPr id="65" name="Picture 64" descr="A green and white sign&#10;&#10;Description automatically generated with medium confidence">
            <a:extLst>
              <a:ext uri="{FF2B5EF4-FFF2-40B4-BE49-F238E27FC236}">
                <a16:creationId xmlns:a16="http://schemas.microsoft.com/office/drawing/2014/main" id="{61C5529D-3C89-1649-B7AD-D54304BE3F6C}"/>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4557358" y="2108397"/>
            <a:ext cx="1455612" cy="440445"/>
          </a:xfrm>
          <a:prstGeom prst="rect">
            <a:avLst/>
          </a:prstGeom>
        </p:spPr>
      </p:pic>
      <p:pic>
        <p:nvPicPr>
          <p:cNvPr id="66" name="Picture 65" descr="A picture containing text, clipart&#10;&#10;Description automatically generated">
            <a:extLst>
              <a:ext uri="{FF2B5EF4-FFF2-40B4-BE49-F238E27FC236}">
                <a16:creationId xmlns:a16="http://schemas.microsoft.com/office/drawing/2014/main" id="{832E2EFB-CAF4-A05F-87EC-F3F722542107}"/>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7827937" y="4033946"/>
            <a:ext cx="1427995" cy="559173"/>
          </a:xfrm>
          <a:prstGeom prst="rect">
            <a:avLst/>
          </a:prstGeom>
        </p:spPr>
      </p:pic>
      <p:pic>
        <p:nvPicPr>
          <p:cNvPr id="67" name="Picture 66" descr="Logo&#10;&#10;Description automatically generated">
            <a:extLst>
              <a:ext uri="{FF2B5EF4-FFF2-40B4-BE49-F238E27FC236}">
                <a16:creationId xmlns:a16="http://schemas.microsoft.com/office/drawing/2014/main" id="{547AF0A2-3979-F0FE-665A-6F61C454E35C}"/>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1532840" y="1136781"/>
            <a:ext cx="1295512" cy="586791"/>
          </a:xfrm>
          <a:prstGeom prst="rect">
            <a:avLst/>
          </a:prstGeom>
        </p:spPr>
      </p:pic>
      <p:pic>
        <p:nvPicPr>
          <p:cNvPr id="3" name="Picture 2" descr="Logo, company name&#10;&#10;Description automatically generated">
            <a:extLst>
              <a:ext uri="{FF2B5EF4-FFF2-40B4-BE49-F238E27FC236}">
                <a16:creationId xmlns:a16="http://schemas.microsoft.com/office/drawing/2014/main" id="{4BDDE9D5-9324-93D1-6E96-453B28B21B3A}"/>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489325" y="4628063"/>
            <a:ext cx="995263" cy="1066889"/>
          </a:xfrm>
          <a:prstGeom prst="rect">
            <a:avLst/>
          </a:prstGeom>
        </p:spPr>
      </p:pic>
      <p:pic>
        <p:nvPicPr>
          <p:cNvPr id="5" name="Picture 4" descr="Logo, company name&#10;&#10;Description automatically generated">
            <a:extLst>
              <a:ext uri="{FF2B5EF4-FFF2-40B4-BE49-F238E27FC236}">
                <a16:creationId xmlns:a16="http://schemas.microsoft.com/office/drawing/2014/main" id="{79A2696D-4DF3-B9B7-E30D-C3C419AEFB5A}"/>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4574324" y="4579975"/>
            <a:ext cx="976593" cy="842551"/>
          </a:xfrm>
          <a:prstGeom prst="rect">
            <a:avLst/>
          </a:prstGeom>
        </p:spPr>
      </p:pic>
      <p:pic>
        <p:nvPicPr>
          <p:cNvPr id="7" name="Picture 6" descr="Logo, company name&#10;&#10;Description automatically generated">
            <a:extLst>
              <a:ext uri="{FF2B5EF4-FFF2-40B4-BE49-F238E27FC236}">
                <a16:creationId xmlns:a16="http://schemas.microsoft.com/office/drawing/2014/main" id="{CEFDAB5A-9FA9-998A-E169-DE442B5A707D}"/>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2771313" y="3969659"/>
            <a:ext cx="1295511" cy="723586"/>
          </a:xfrm>
          <a:prstGeom prst="rect">
            <a:avLst/>
          </a:prstGeom>
        </p:spPr>
      </p:pic>
      <p:pic>
        <p:nvPicPr>
          <p:cNvPr id="4" name="Picture 3">
            <a:extLst>
              <a:ext uri="{FF2B5EF4-FFF2-40B4-BE49-F238E27FC236}">
                <a16:creationId xmlns:a16="http://schemas.microsoft.com/office/drawing/2014/main" id="{109E4A76-BEE7-8422-2416-482E6A88F1BA}"/>
              </a:ext>
            </a:extLst>
          </p:cNvPr>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2807293" y="1092240"/>
            <a:ext cx="1163673" cy="727309"/>
          </a:xfrm>
          <a:prstGeom prst="rect">
            <a:avLst/>
          </a:prstGeom>
        </p:spPr>
      </p:pic>
    </p:spTree>
    <p:extLst>
      <p:ext uri="{BB962C8B-B14F-4D97-AF65-F5344CB8AC3E}">
        <p14:creationId xmlns:p14="http://schemas.microsoft.com/office/powerpoint/2010/main" val="22201641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partners">
    <p:spTree>
      <p:nvGrpSpPr>
        <p:cNvPr id="1" name=""/>
        <p:cNvGrpSpPr/>
        <p:nvPr/>
      </p:nvGrpSpPr>
      <p:grpSpPr>
        <a:xfrm>
          <a:off x="0" y="0"/>
          <a:ext cx="0" cy="0"/>
          <a:chOff x="0" y="0"/>
          <a:chExt cx="0" cy="0"/>
        </a:xfrm>
      </p:grpSpPr>
      <p:sp>
        <p:nvSpPr>
          <p:cNvPr id="2" name="Tekstvak 1"/>
          <p:cNvSpPr txBox="1"/>
          <p:nvPr userDrawn="1"/>
        </p:nvSpPr>
        <p:spPr>
          <a:xfrm>
            <a:off x="6671734" y="6762750"/>
            <a:ext cx="184731" cy="369332"/>
          </a:xfrm>
          <a:prstGeom prst="rect">
            <a:avLst/>
          </a:prstGeom>
          <a:noFill/>
        </p:spPr>
        <p:txBody>
          <a:bodyPr wrap="none" rtlCol="0">
            <a:spAutoFit/>
          </a:bodyPr>
          <a:lstStyle/>
          <a:p>
            <a:endParaRPr lang="nl-NL" sz="1800" dirty="0"/>
          </a:p>
        </p:txBody>
      </p:sp>
      <p:pic>
        <p:nvPicPr>
          <p:cNvPr id="4" name="Afbeelding 2">
            <a:extLst>
              <a:ext uri="{FF2B5EF4-FFF2-40B4-BE49-F238E27FC236}">
                <a16:creationId xmlns:a16="http://schemas.microsoft.com/office/drawing/2014/main" id="{1D421EB7-6EB9-4C0C-976C-BCE3197F09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1205" y="2636912"/>
            <a:ext cx="8149590" cy="3589020"/>
          </a:xfrm>
          <a:prstGeom prst="rect">
            <a:avLst/>
          </a:prstGeom>
          <a:solidFill>
            <a:schemeClr val="bg1"/>
          </a:solidFill>
        </p:spPr>
      </p:pic>
    </p:spTree>
    <p:extLst>
      <p:ext uri="{BB962C8B-B14F-4D97-AF65-F5344CB8AC3E}">
        <p14:creationId xmlns:p14="http://schemas.microsoft.com/office/powerpoint/2010/main" val="14274416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partners">
    <p:bg>
      <p:bgPr>
        <a:solidFill>
          <a:schemeClr val="accent1"/>
        </a:solidFill>
        <a:effectLst/>
      </p:bgPr>
    </p:bg>
    <p:spTree>
      <p:nvGrpSpPr>
        <p:cNvPr id="1" name=""/>
        <p:cNvGrpSpPr/>
        <p:nvPr/>
      </p:nvGrpSpPr>
      <p:grpSpPr>
        <a:xfrm>
          <a:off x="0" y="0"/>
          <a:ext cx="0" cy="0"/>
          <a:chOff x="0" y="0"/>
          <a:chExt cx="0" cy="0"/>
        </a:xfrm>
      </p:grpSpPr>
      <p:pic>
        <p:nvPicPr>
          <p:cNvPr id="3" name="Afbeelding 4" descr="LOGO_LINES.eps">
            <a:extLst>
              <a:ext uri="{FF2B5EF4-FFF2-40B4-BE49-F238E27FC236}">
                <a16:creationId xmlns:a16="http://schemas.microsoft.com/office/drawing/2014/main" id="{BAD6A92A-0DFF-4BC7-93D4-D345929B07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1205" y="2636912"/>
            <a:ext cx="8149590" cy="3589020"/>
          </a:xfrm>
          <a:prstGeom prst="rect">
            <a:avLst/>
          </a:prstGeom>
        </p:spPr>
      </p:pic>
    </p:spTree>
    <p:extLst>
      <p:ext uri="{BB962C8B-B14F-4D97-AF65-F5344CB8AC3E}">
        <p14:creationId xmlns:p14="http://schemas.microsoft.com/office/powerpoint/2010/main" val="37041403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163DFD0-8913-417C-B2AC-409820F77741}" type="datetime1">
              <a:rPr lang="nl-BE" smtClean="0"/>
              <a:t>30/05/2023</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D94918E1-5C2D-4B61-B8EB-091E2E1E0D19}" type="slidenum">
              <a:rPr lang="nl-BE" smtClean="0"/>
              <a:t>‹nr.›</a:t>
            </a:fld>
            <a:endParaRPr lang="nl-BE"/>
          </a:p>
        </p:txBody>
      </p:sp>
    </p:spTree>
    <p:extLst>
      <p:ext uri="{BB962C8B-B14F-4D97-AF65-F5344CB8AC3E}">
        <p14:creationId xmlns:p14="http://schemas.microsoft.com/office/powerpoint/2010/main" val="999780206"/>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163DFD0-8913-417C-B2AC-409820F77741}" type="datetime1">
              <a:rPr lang="nl-BE" smtClean="0"/>
              <a:t>30/05/2023</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D94918E1-5C2D-4B61-B8EB-091E2E1E0D19}" type="slidenum">
              <a:rPr lang="nl-BE" smtClean="0"/>
              <a:t>‹nr.›</a:t>
            </a:fld>
            <a:endParaRPr lang="nl-BE"/>
          </a:p>
        </p:txBody>
      </p:sp>
    </p:spTree>
    <p:extLst>
      <p:ext uri="{BB962C8B-B14F-4D97-AF65-F5344CB8AC3E}">
        <p14:creationId xmlns:p14="http://schemas.microsoft.com/office/powerpoint/2010/main" val="126009380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10" name="Picture 9" descr="A picture containing sky, outdoor, grass, day&#10;&#10;Description automatically generated">
            <a:extLst>
              <a:ext uri="{FF2B5EF4-FFF2-40B4-BE49-F238E27FC236}">
                <a16:creationId xmlns:a16="http://schemas.microsoft.com/office/drawing/2014/main" id="{7C83D873-A726-4462-9D77-7E4E955F068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1288" b="3787"/>
          <a:stretch/>
        </p:blipFill>
        <p:spPr>
          <a:xfrm>
            <a:off x="0" y="0"/>
            <a:ext cx="12192000" cy="6092826"/>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3753687695"/>
      </p:ext>
    </p:extLst>
  </p:cSld>
  <p:clrMapOvr>
    <a:masterClrMapping/>
  </p:clrMapOvr>
  <p:extLst>
    <p:ext uri="{DCECCB84-F9BA-43D5-87BE-67443E8EF086}">
      <p15:sldGuideLst xmlns:p15="http://schemas.microsoft.com/office/powerpoint/2012/main">
        <p15:guide id="1" orient="horz" pos="3838"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163DFD0-8913-417C-B2AC-409820F77741}" type="datetime1">
              <a:rPr lang="nl-BE" smtClean="0"/>
              <a:t>30/05/2023</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D94918E1-5C2D-4B61-B8EB-091E2E1E0D19}" type="slidenum">
              <a:rPr lang="nl-BE" smtClean="0"/>
              <a:t>‹nr.›</a:t>
            </a:fld>
            <a:endParaRPr lang="nl-BE"/>
          </a:p>
        </p:txBody>
      </p:sp>
    </p:spTree>
    <p:extLst>
      <p:ext uri="{BB962C8B-B14F-4D97-AF65-F5344CB8AC3E}">
        <p14:creationId xmlns:p14="http://schemas.microsoft.com/office/powerpoint/2010/main" val="616127265"/>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163DFD0-8913-417C-B2AC-409820F77741}" type="datetime1">
              <a:rPr lang="nl-BE" smtClean="0"/>
              <a:t>30/05/2023</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D94918E1-5C2D-4B61-B8EB-091E2E1E0D19}" type="slidenum">
              <a:rPr lang="nl-BE" smtClean="0"/>
              <a:t>‹nr.›</a:t>
            </a:fld>
            <a:endParaRPr lang="nl-BE"/>
          </a:p>
        </p:txBody>
      </p:sp>
    </p:spTree>
    <p:extLst>
      <p:ext uri="{BB962C8B-B14F-4D97-AF65-F5344CB8AC3E}">
        <p14:creationId xmlns:p14="http://schemas.microsoft.com/office/powerpoint/2010/main" val="1582885524"/>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163DFD0-8913-417C-B2AC-409820F77741}" type="datetime1">
              <a:rPr lang="nl-BE" smtClean="0"/>
              <a:t>30/05/2023</a:t>
            </a:fld>
            <a:endParaRPr lang="nl-BE"/>
          </a:p>
        </p:txBody>
      </p:sp>
      <p:sp>
        <p:nvSpPr>
          <p:cNvPr id="8" name="Footer Placeholder 7"/>
          <p:cNvSpPr>
            <a:spLocks noGrp="1"/>
          </p:cNvSpPr>
          <p:nvPr>
            <p:ph type="ftr" sz="quarter" idx="11"/>
          </p:nvPr>
        </p:nvSpPr>
        <p:spPr/>
        <p:txBody>
          <a:bodyPr/>
          <a:lstStyle/>
          <a:p>
            <a:endParaRPr lang="nl-BE"/>
          </a:p>
        </p:txBody>
      </p:sp>
      <p:sp>
        <p:nvSpPr>
          <p:cNvPr id="9" name="Slide Number Placeholder 8"/>
          <p:cNvSpPr>
            <a:spLocks noGrp="1"/>
          </p:cNvSpPr>
          <p:nvPr>
            <p:ph type="sldNum" sz="quarter" idx="12"/>
          </p:nvPr>
        </p:nvSpPr>
        <p:spPr/>
        <p:txBody>
          <a:bodyPr/>
          <a:lstStyle/>
          <a:p>
            <a:fld id="{D94918E1-5C2D-4B61-B8EB-091E2E1E0D19}" type="slidenum">
              <a:rPr lang="nl-BE" smtClean="0"/>
              <a:t>‹nr.›</a:t>
            </a:fld>
            <a:endParaRPr lang="nl-BE"/>
          </a:p>
        </p:txBody>
      </p:sp>
    </p:spTree>
    <p:extLst>
      <p:ext uri="{BB962C8B-B14F-4D97-AF65-F5344CB8AC3E}">
        <p14:creationId xmlns:p14="http://schemas.microsoft.com/office/powerpoint/2010/main" val="2740426755"/>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63DFD0-8913-417C-B2AC-409820F77741}" type="datetime1">
              <a:rPr lang="nl-BE" smtClean="0"/>
              <a:t>30/05/2023</a:t>
            </a:fld>
            <a:endParaRPr lang="nl-BE"/>
          </a:p>
        </p:txBody>
      </p:sp>
      <p:sp>
        <p:nvSpPr>
          <p:cNvPr id="4" name="Footer Placeholder 3"/>
          <p:cNvSpPr>
            <a:spLocks noGrp="1"/>
          </p:cNvSpPr>
          <p:nvPr>
            <p:ph type="ftr" sz="quarter" idx="11"/>
          </p:nvPr>
        </p:nvSpPr>
        <p:spPr/>
        <p:txBody>
          <a:bodyPr/>
          <a:lstStyle/>
          <a:p>
            <a:endParaRPr lang="nl-BE"/>
          </a:p>
        </p:txBody>
      </p:sp>
      <p:sp>
        <p:nvSpPr>
          <p:cNvPr id="5" name="Slide Number Placeholder 4"/>
          <p:cNvSpPr>
            <a:spLocks noGrp="1"/>
          </p:cNvSpPr>
          <p:nvPr>
            <p:ph type="sldNum" sz="quarter" idx="12"/>
          </p:nvPr>
        </p:nvSpPr>
        <p:spPr/>
        <p:txBody>
          <a:bodyPr/>
          <a:lstStyle/>
          <a:p>
            <a:fld id="{D94918E1-5C2D-4B61-B8EB-091E2E1E0D19}" type="slidenum">
              <a:rPr lang="nl-BE" smtClean="0"/>
              <a:t>‹nr.›</a:t>
            </a:fld>
            <a:endParaRPr lang="nl-BE"/>
          </a:p>
        </p:txBody>
      </p:sp>
    </p:spTree>
    <p:extLst>
      <p:ext uri="{BB962C8B-B14F-4D97-AF65-F5344CB8AC3E}">
        <p14:creationId xmlns:p14="http://schemas.microsoft.com/office/powerpoint/2010/main" val="1924379956"/>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63DFD0-8913-417C-B2AC-409820F77741}" type="datetime1">
              <a:rPr lang="nl-BE" smtClean="0"/>
              <a:t>30/05/2023</a:t>
            </a:fld>
            <a:endParaRPr lang="nl-BE"/>
          </a:p>
        </p:txBody>
      </p:sp>
      <p:sp>
        <p:nvSpPr>
          <p:cNvPr id="3" name="Footer Placeholder 2"/>
          <p:cNvSpPr>
            <a:spLocks noGrp="1"/>
          </p:cNvSpPr>
          <p:nvPr>
            <p:ph type="ftr" sz="quarter" idx="11"/>
          </p:nvPr>
        </p:nvSpPr>
        <p:spPr/>
        <p:txBody>
          <a:bodyPr/>
          <a:lstStyle/>
          <a:p>
            <a:endParaRPr lang="nl-BE"/>
          </a:p>
        </p:txBody>
      </p:sp>
      <p:sp>
        <p:nvSpPr>
          <p:cNvPr id="4" name="Slide Number Placeholder 3"/>
          <p:cNvSpPr>
            <a:spLocks noGrp="1"/>
          </p:cNvSpPr>
          <p:nvPr>
            <p:ph type="sldNum" sz="quarter" idx="12"/>
          </p:nvPr>
        </p:nvSpPr>
        <p:spPr/>
        <p:txBody>
          <a:bodyPr/>
          <a:lstStyle/>
          <a:p>
            <a:fld id="{D94918E1-5C2D-4B61-B8EB-091E2E1E0D19}" type="slidenum">
              <a:rPr lang="nl-BE" smtClean="0"/>
              <a:t>‹nr.›</a:t>
            </a:fld>
            <a:endParaRPr lang="nl-BE"/>
          </a:p>
        </p:txBody>
      </p:sp>
    </p:spTree>
    <p:extLst>
      <p:ext uri="{BB962C8B-B14F-4D97-AF65-F5344CB8AC3E}">
        <p14:creationId xmlns:p14="http://schemas.microsoft.com/office/powerpoint/2010/main" val="2393769822"/>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163DFD0-8913-417C-B2AC-409820F77741}" type="datetime1">
              <a:rPr lang="nl-BE" smtClean="0"/>
              <a:t>30/05/2023</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D94918E1-5C2D-4B61-B8EB-091E2E1E0D19}" type="slidenum">
              <a:rPr lang="nl-BE" smtClean="0"/>
              <a:t>‹nr.›</a:t>
            </a:fld>
            <a:endParaRPr lang="nl-BE"/>
          </a:p>
        </p:txBody>
      </p:sp>
    </p:spTree>
    <p:extLst>
      <p:ext uri="{BB962C8B-B14F-4D97-AF65-F5344CB8AC3E}">
        <p14:creationId xmlns:p14="http://schemas.microsoft.com/office/powerpoint/2010/main" val="2208012484"/>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163DFD0-8913-417C-B2AC-409820F77741}" type="datetime1">
              <a:rPr lang="nl-BE" smtClean="0"/>
              <a:t>30/05/2023</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D94918E1-5C2D-4B61-B8EB-091E2E1E0D19}" type="slidenum">
              <a:rPr lang="nl-BE" smtClean="0"/>
              <a:t>‹nr.›</a:t>
            </a:fld>
            <a:endParaRPr lang="nl-BE"/>
          </a:p>
        </p:txBody>
      </p:sp>
    </p:spTree>
    <p:extLst>
      <p:ext uri="{BB962C8B-B14F-4D97-AF65-F5344CB8AC3E}">
        <p14:creationId xmlns:p14="http://schemas.microsoft.com/office/powerpoint/2010/main" val="2780192814"/>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163DFD0-8913-417C-B2AC-409820F77741}" type="datetime1">
              <a:rPr lang="nl-BE" smtClean="0"/>
              <a:t>30/05/2023</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D94918E1-5C2D-4B61-B8EB-091E2E1E0D19}" type="slidenum">
              <a:rPr lang="nl-BE" smtClean="0"/>
              <a:t>‹nr.›</a:t>
            </a:fld>
            <a:endParaRPr lang="nl-BE"/>
          </a:p>
        </p:txBody>
      </p:sp>
    </p:spTree>
    <p:extLst>
      <p:ext uri="{BB962C8B-B14F-4D97-AF65-F5344CB8AC3E}">
        <p14:creationId xmlns:p14="http://schemas.microsoft.com/office/powerpoint/2010/main" val="2686828057"/>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163DFD0-8913-417C-B2AC-409820F77741}" type="datetime1">
              <a:rPr lang="nl-BE" smtClean="0"/>
              <a:t>30/05/2023</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D94918E1-5C2D-4B61-B8EB-091E2E1E0D19}" type="slidenum">
              <a:rPr lang="nl-BE" smtClean="0"/>
              <a:t>‹nr.›</a:t>
            </a:fld>
            <a:endParaRPr lang="nl-BE"/>
          </a:p>
        </p:txBody>
      </p:sp>
    </p:spTree>
    <p:extLst>
      <p:ext uri="{BB962C8B-B14F-4D97-AF65-F5344CB8AC3E}">
        <p14:creationId xmlns:p14="http://schemas.microsoft.com/office/powerpoint/2010/main" val="36673797"/>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Aangepaste indeling">
    <p:bg>
      <p:bgPr>
        <a:solidFill>
          <a:srgbClr val="C62B37"/>
        </a:solidFill>
        <a:effectLst/>
      </p:bgPr>
    </p:bg>
    <p:spTree>
      <p:nvGrpSpPr>
        <p:cNvPr id="1" name=""/>
        <p:cNvGrpSpPr/>
        <p:nvPr/>
      </p:nvGrpSpPr>
      <p:grpSpPr>
        <a:xfrm>
          <a:off x="0" y="0"/>
          <a:ext cx="0" cy="0"/>
          <a:chOff x="0" y="0"/>
          <a:chExt cx="0" cy="0"/>
        </a:xfrm>
      </p:grpSpPr>
      <p:sp>
        <p:nvSpPr>
          <p:cNvPr id="7" name="Rechthoek 6"/>
          <p:cNvSpPr/>
          <p:nvPr userDrawn="1"/>
        </p:nvSpPr>
        <p:spPr>
          <a:xfrm>
            <a:off x="0" y="5429250"/>
            <a:ext cx="12192000" cy="142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8" name="Tekstvak 7"/>
          <p:cNvSpPr txBox="1"/>
          <p:nvPr userDrawn="1"/>
        </p:nvSpPr>
        <p:spPr>
          <a:xfrm>
            <a:off x="555787" y="6003410"/>
            <a:ext cx="2036135" cy="369332"/>
          </a:xfrm>
          <a:prstGeom prst="rect">
            <a:avLst/>
          </a:prstGeom>
          <a:noFill/>
        </p:spPr>
        <p:txBody>
          <a:bodyPr wrap="none" rtlCol="0">
            <a:spAutoFit/>
          </a:bodyPr>
          <a:lstStyle/>
          <a:p>
            <a:r>
              <a:rPr lang="en-GB" sz="600" b="1"/>
              <a:t>Federatie van de Belgische Elektriciteits- en Gasbedrijven </a:t>
            </a:r>
          </a:p>
          <a:p>
            <a:r>
              <a:rPr lang="en-GB" sz="600" b="1"/>
              <a:t>Fédération Belge des Entreprises Électriques et Gazières</a:t>
            </a:r>
          </a:p>
          <a:p>
            <a:r>
              <a:rPr lang="en-GB" sz="600" b="1"/>
              <a:t>Federation of Belgian Electricity and Gas Companies</a:t>
            </a:r>
          </a:p>
        </p:txBody>
      </p:sp>
      <p:pic>
        <p:nvPicPr>
          <p:cNvPr id="5" name="Picture 22" descr="C:\4PPS\2015\Typographics\Febeg 01\_USE\FEBEG_Q.png">
            <a:extLst>
              <a:ext uri="{FF2B5EF4-FFF2-40B4-BE49-F238E27FC236}">
                <a16:creationId xmlns:a16="http://schemas.microsoft.com/office/drawing/2014/main" id="{97FA4974-3AEB-436C-8C1A-F4B58987F16E}"/>
              </a:ext>
            </a:extLst>
          </p:cNvPr>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a:ext>
            </a:extLst>
          </a:blip>
          <a:srcRect l="62995" t="32777" b="6087"/>
          <a:stretch/>
        </p:blipFill>
        <p:spPr bwMode="auto">
          <a:xfrm>
            <a:off x="0" y="-1"/>
            <a:ext cx="8528640" cy="685800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258792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7" name="Picture 6" descr="A person holding a pair of scissors&#10;&#10;Description automatically generated with medium confidence">
            <a:extLst>
              <a:ext uri="{FF2B5EF4-FFF2-40B4-BE49-F238E27FC236}">
                <a16:creationId xmlns:a16="http://schemas.microsoft.com/office/drawing/2014/main" id="{D36CAC88-FF12-46CD-947B-B091EF3F37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1466" b="3779"/>
          <a:stretch/>
        </p:blipFill>
        <p:spPr>
          <a:xfrm>
            <a:off x="-32388" y="-1"/>
            <a:ext cx="12224387"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1655745832"/>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eldia">
    <p:bg>
      <p:bgPr>
        <a:solidFill>
          <a:srgbClr val="C62B37"/>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bg1"/>
                </a:solidFill>
              </a:defRPr>
            </a:lvl1pPr>
          </a:lstStyle>
          <a:p>
            <a:r>
              <a:rPr lang="nl-NL" err="1"/>
              <a:t>Title</a:t>
            </a:r>
            <a:r>
              <a:rPr lang="nl-NL"/>
              <a:t> </a:t>
            </a:r>
            <a:r>
              <a:rPr lang="nl-NL" err="1"/>
              <a:t>presentation</a:t>
            </a:r>
            <a:endParaRPr lang="nl-BE"/>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date + </a:t>
            </a:r>
            <a:r>
              <a:rPr lang="nl-NL" err="1"/>
              <a:t>subtitle</a:t>
            </a:r>
            <a:r>
              <a:rPr lang="nl-NL"/>
              <a:t> </a:t>
            </a:r>
            <a:r>
              <a:rPr lang="nl-NL" err="1"/>
              <a:t>presentation</a:t>
            </a:r>
            <a:endParaRPr lang="nl-BE"/>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bg1"/>
                </a:solidFill>
              </a:defRPr>
            </a:lvl1pPr>
          </a:lstStyle>
          <a:p>
            <a:fld id="{022FBEFF-EBBF-4E87-8B40-6CCE83520150}" type="datetime1">
              <a:rPr lang="nl-BE" smtClean="0"/>
              <a:t>30/05/2023</a:t>
            </a:fld>
            <a:endParaRPr lang="nl-BE"/>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bg1"/>
                </a:solidFill>
              </a:defRPr>
            </a:lvl1pPr>
          </a:lstStyle>
          <a:p>
            <a:endParaRPr lang="nl-BE"/>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bg1"/>
                </a:solidFill>
              </a:defRPr>
            </a:lvl1pPr>
          </a:lstStyle>
          <a:p>
            <a:fld id="{9BE375CD-4755-4D83-B134-E6AD5007676A}" type="slidenum">
              <a:rPr lang="nl-BE" smtClean="0"/>
              <a:pPr/>
              <a:t>‹nr.›</a:t>
            </a:fld>
            <a:endParaRPr lang="nl-BE"/>
          </a:p>
        </p:txBody>
      </p:sp>
      <p:grpSp>
        <p:nvGrpSpPr>
          <p:cNvPr id="7" name="Group 7"/>
          <p:cNvGrpSpPr>
            <a:grpSpLocks noChangeAspect="1"/>
          </p:cNvGrpSpPr>
          <p:nvPr userDrawn="1"/>
        </p:nvGrpSpPr>
        <p:grpSpPr bwMode="auto">
          <a:xfrm>
            <a:off x="11064875" y="6416042"/>
            <a:ext cx="600076" cy="258577"/>
            <a:chOff x="4371" y="191"/>
            <a:chExt cx="5592" cy="2723"/>
          </a:xfrm>
        </p:grpSpPr>
        <p:sp>
          <p:nvSpPr>
            <p:cNvPr id="8" name="Freeform 9"/>
            <p:cNvSpPr>
              <a:spLocks/>
            </p:cNvSpPr>
            <p:nvPr/>
          </p:nvSpPr>
          <p:spPr bwMode="auto">
            <a:xfrm>
              <a:off x="4649" y="1284"/>
              <a:ext cx="1811" cy="920"/>
            </a:xfrm>
            <a:custGeom>
              <a:avLst/>
              <a:gdLst>
                <a:gd name="T0" fmla="*/ 68 w 1811"/>
                <a:gd name="T1" fmla="*/ 0 h 920"/>
                <a:gd name="T2" fmla="*/ 611 w 1811"/>
                <a:gd name="T3" fmla="*/ 58 h 920"/>
                <a:gd name="T4" fmla="*/ 581 w 1811"/>
                <a:gd name="T5" fmla="*/ 189 h 920"/>
                <a:gd name="T6" fmla="*/ 582 w 1811"/>
                <a:gd name="T7" fmla="*/ 330 h 920"/>
                <a:gd name="T8" fmla="*/ 616 w 1811"/>
                <a:gd name="T9" fmla="*/ 454 h 920"/>
                <a:gd name="T10" fmla="*/ 686 w 1811"/>
                <a:gd name="T11" fmla="*/ 564 h 920"/>
                <a:gd name="T12" fmla="*/ 786 w 1811"/>
                <a:gd name="T13" fmla="*/ 657 h 920"/>
                <a:gd name="T14" fmla="*/ 903 w 1811"/>
                <a:gd name="T15" fmla="*/ 722 h 920"/>
                <a:gd name="T16" fmla="*/ 1032 w 1811"/>
                <a:gd name="T17" fmla="*/ 754 h 920"/>
                <a:gd name="T18" fmla="*/ 1641 w 1811"/>
                <a:gd name="T19" fmla="*/ 757 h 920"/>
                <a:gd name="T20" fmla="*/ 1657 w 1811"/>
                <a:gd name="T21" fmla="*/ 776 h 920"/>
                <a:gd name="T22" fmla="*/ 1672 w 1811"/>
                <a:gd name="T23" fmla="*/ 795 h 920"/>
                <a:gd name="T24" fmla="*/ 1689 w 1811"/>
                <a:gd name="T25" fmla="*/ 813 h 920"/>
                <a:gd name="T26" fmla="*/ 1758 w 1811"/>
                <a:gd name="T27" fmla="*/ 880 h 920"/>
                <a:gd name="T28" fmla="*/ 1102 w 1811"/>
                <a:gd name="T29" fmla="*/ 920 h 920"/>
                <a:gd name="T30" fmla="*/ 951 w 1811"/>
                <a:gd name="T31" fmla="*/ 905 h 920"/>
                <a:gd name="T32" fmla="*/ 811 w 1811"/>
                <a:gd name="T33" fmla="*/ 858 h 920"/>
                <a:gd name="T34" fmla="*/ 682 w 1811"/>
                <a:gd name="T35" fmla="*/ 780 h 920"/>
                <a:gd name="T36" fmla="*/ 569 w 1811"/>
                <a:gd name="T37" fmla="*/ 671 h 920"/>
                <a:gd name="T38" fmla="*/ 486 w 1811"/>
                <a:gd name="T39" fmla="*/ 549 h 920"/>
                <a:gd name="T40" fmla="*/ 435 w 1811"/>
                <a:gd name="T41" fmla="*/ 413 h 920"/>
                <a:gd name="T42" fmla="*/ 418 w 1811"/>
                <a:gd name="T43" fmla="*/ 263 h 920"/>
                <a:gd name="T44" fmla="*/ 426 w 1811"/>
                <a:gd name="T45" fmla="*/ 146 h 920"/>
                <a:gd name="T46" fmla="*/ 153 w 1811"/>
                <a:gd name="T47" fmla="*/ 839 h 920"/>
                <a:gd name="T48" fmla="*/ 150 w 1811"/>
                <a:gd name="T49" fmla="*/ 868 h 920"/>
                <a:gd name="T50" fmla="*/ 122 w 1811"/>
                <a:gd name="T51" fmla="*/ 905 h 920"/>
                <a:gd name="T52" fmla="*/ 77 w 1811"/>
                <a:gd name="T53" fmla="*/ 920 h 920"/>
                <a:gd name="T54" fmla="*/ 33 w 1811"/>
                <a:gd name="T55" fmla="*/ 905 h 920"/>
                <a:gd name="T56" fmla="*/ 5 w 1811"/>
                <a:gd name="T57" fmla="*/ 868 h 920"/>
                <a:gd name="T58" fmla="*/ 2 w 1811"/>
                <a:gd name="T59" fmla="*/ 842 h 920"/>
                <a:gd name="T60" fmla="*/ 0 w 1811"/>
                <a:gd name="T61" fmla="*/ 70 h 920"/>
                <a:gd name="T62" fmla="*/ 2 w 1811"/>
                <a:gd name="T63" fmla="*/ 60 h 920"/>
                <a:gd name="T64" fmla="*/ 9 w 1811"/>
                <a:gd name="T65" fmla="*/ 36 h 920"/>
                <a:gd name="T66" fmla="*/ 27 w 1811"/>
                <a:gd name="T67" fmla="*/ 11 h 920"/>
                <a:gd name="T68" fmla="*/ 68 w 1811"/>
                <a:gd name="T69"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1" h="920">
                  <a:moveTo>
                    <a:pt x="68" y="0"/>
                  </a:moveTo>
                  <a:lnTo>
                    <a:pt x="68" y="0"/>
                  </a:lnTo>
                  <a:lnTo>
                    <a:pt x="637" y="0"/>
                  </a:lnTo>
                  <a:lnTo>
                    <a:pt x="611" y="58"/>
                  </a:lnTo>
                  <a:lnTo>
                    <a:pt x="593" y="121"/>
                  </a:lnTo>
                  <a:lnTo>
                    <a:pt x="581" y="189"/>
                  </a:lnTo>
                  <a:lnTo>
                    <a:pt x="577" y="263"/>
                  </a:lnTo>
                  <a:lnTo>
                    <a:pt x="582" y="330"/>
                  </a:lnTo>
                  <a:lnTo>
                    <a:pt x="594" y="392"/>
                  </a:lnTo>
                  <a:lnTo>
                    <a:pt x="616" y="454"/>
                  </a:lnTo>
                  <a:lnTo>
                    <a:pt x="647" y="510"/>
                  </a:lnTo>
                  <a:lnTo>
                    <a:pt x="686" y="564"/>
                  </a:lnTo>
                  <a:lnTo>
                    <a:pt x="733" y="613"/>
                  </a:lnTo>
                  <a:lnTo>
                    <a:pt x="786" y="657"/>
                  </a:lnTo>
                  <a:lnTo>
                    <a:pt x="844" y="693"/>
                  </a:lnTo>
                  <a:lnTo>
                    <a:pt x="903" y="722"/>
                  </a:lnTo>
                  <a:lnTo>
                    <a:pt x="966" y="742"/>
                  </a:lnTo>
                  <a:lnTo>
                    <a:pt x="1032" y="754"/>
                  </a:lnTo>
                  <a:lnTo>
                    <a:pt x="1102" y="757"/>
                  </a:lnTo>
                  <a:lnTo>
                    <a:pt x="1641" y="757"/>
                  </a:lnTo>
                  <a:lnTo>
                    <a:pt x="1641" y="757"/>
                  </a:lnTo>
                  <a:lnTo>
                    <a:pt x="1657" y="776"/>
                  </a:lnTo>
                  <a:lnTo>
                    <a:pt x="1658" y="778"/>
                  </a:lnTo>
                  <a:lnTo>
                    <a:pt x="1672" y="795"/>
                  </a:lnTo>
                  <a:lnTo>
                    <a:pt x="1677" y="802"/>
                  </a:lnTo>
                  <a:lnTo>
                    <a:pt x="1689" y="813"/>
                  </a:lnTo>
                  <a:lnTo>
                    <a:pt x="1707" y="832"/>
                  </a:lnTo>
                  <a:lnTo>
                    <a:pt x="1758" y="880"/>
                  </a:lnTo>
                  <a:lnTo>
                    <a:pt x="1811" y="920"/>
                  </a:lnTo>
                  <a:lnTo>
                    <a:pt x="1102" y="920"/>
                  </a:lnTo>
                  <a:lnTo>
                    <a:pt x="1025" y="917"/>
                  </a:lnTo>
                  <a:lnTo>
                    <a:pt x="951" y="905"/>
                  </a:lnTo>
                  <a:lnTo>
                    <a:pt x="879" y="885"/>
                  </a:lnTo>
                  <a:lnTo>
                    <a:pt x="811" y="858"/>
                  </a:lnTo>
                  <a:lnTo>
                    <a:pt x="745" y="822"/>
                  </a:lnTo>
                  <a:lnTo>
                    <a:pt x="682" y="780"/>
                  </a:lnTo>
                  <a:lnTo>
                    <a:pt x="623" y="729"/>
                  </a:lnTo>
                  <a:lnTo>
                    <a:pt x="569" y="671"/>
                  </a:lnTo>
                  <a:lnTo>
                    <a:pt x="523" y="611"/>
                  </a:lnTo>
                  <a:lnTo>
                    <a:pt x="486" y="549"/>
                  </a:lnTo>
                  <a:lnTo>
                    <a:pt x="457" y="482"/>
                  </a:lnTo>
                  <a:lnTo>
                    <a:pt x="435" y="413"/>
                  </a:lnTo>
                  <a:lnTo>
                    <a:pt x="423" y="340"/>
                  </a:lnTo>
                  <a:lnTo>
                    <a:pt x="418" y="263"/>
                  </a:lnTo>
                  <a:lnTo>
                    <a:pt x="421" y="204"/>
                  </a:lnTo>
                  <a:lnTo>
                    <a:pt x="426" y="146"/>
                  </a:lnTo>
                  <a:lnTo>
                    <a:pt x="153" y="146"/>
                  </a:lnTo>
                  <a:lnTo>
                    <a:pt x="153" y="839"/>
                  </a:lnTo>
                  <a:lnTo>
                    <a:pt x="153" y="844"/>
                  </a:lnTo>
                  <a:lnTo>
                    <a:pt x="150" y="868"/>
                  </a:lnTo>
                  <a:lnTo>
                    <a:pt x="138" y="890"/>
                  </a:lnTo>
                  <a:lnTo>
                    <a:pt x="122" y="905"/>
                  </a:lnTo>
                  <a:lnTo>
                    <a:pt x="100" y="917"/>
                  </a:lnTo>
                  <a:lnTo>
                    <a:pt x="77" y="920"/>
                  </a:lnTo>
                  <a:lnTo>
                    <a:pt x="53" y="917"/>
                  </a:lnTo>
                  <a:lnTo>
                    <a:pt x="33" y="905"/>
                  </a:lnTo>
                  <a:lnTo>
                    <a:pt x="16" y="890"/>
                  </a:lnTo>
                  <a:lnTo>
                    <a:pt x="5" y="868"/>
                  </a:lnTo>
                  <a:lnTo>
                    <a:pt x="0" y="844"/>
                  </a:lnTo>
                  <a:lnTo>
                    <a:pt x="2" y="842"/>
                  </a:lnTo>
                  <a:lnTo>
                    <a:pt x="0" y="842"/>
                  </a:lnTo>
                  <a:lnTo>
                    <a:pt x="0" y="70"/>
                  </a:lnTo>
                  <a:lnTo>
                    <a:pt x="0" y="68"/>
                  </a:lnTo>
                  <a:lnTo>
                    <a:pt x="2" y="60"/>
                  </a:lnTo>
                  <a:lnTo>
                    <a:pt x="4" y="48"/>
                  </a:lnTo>
                  <a:lnTo>
                    <a:pt x="9" y="36"/>
                  </a:lnTo>
                  <a:lnTo>
                    <a:pt x="16" y="22"/>
                  </a:lnTo>
                  <a:lnTo>
                    <a:pt x="27" y="11"/>
                  </a:lnTo>
                  <a:lnTo>
                    <a:pt x="44" y="4"/>
                  </a:lnTo>
                  <a:lnTo>
                    <a:pt x="6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9" name="Freeform 10"/>
            <p:cNvSpPr>
              <a:spLocks noEditPoints="1"/>
            </p:cNvSpPr>
            <p:nvPr/>
          </p:nvSpPr>
          <p:spPr bwMode="auto">
            <a:xfrm>
              <a:off x="6528" y="1152"/>
              <a:ext cx="784" cy="789"/>
            </a:xfrm>
            <a:custGeom>
              <a:avLst/>
              <a:gdLst>
                <a:gd name="T0" fmla="*/ 341 w 784"/>
                <a:gd name="T1" fmla="*/ 166 h 789"/>
                <a:gd name="T2" fmla="*/ 259 w 784"/>
                <a:gd name="T3" fmla="*/ 200 h 789"/>
                <a:gd name="T4" fmla="*/ 195 w 784"/>
                <a:gd name="T5" fmla="*/ 266 h 789"/>
                <a:gd name="T6" fmla="*/ 163 w 784"/>
                <a:gd name="T7" fmla="*/ 351 h 789"/>
                <a:gd name="T8" fmla="*/ 163 w 784"/>
                <a:gd name="T9" fmla="*/ 445 h 789"/>
                <a:gd name="T10" fmla="*/ 197 w 784"/>
                <a:gd name="T11" fmla="*/ 526 h 789"/>
                <a:gd name="T12" fmla="*/ 261 w 784"/>
                <a:gd name="T13" fmla="*/ 591 h 789"/>
                <a:gd name="T14" fmla="*/ 343 w 784"/>
                <a:gd name="T15" fmla="*/ 623 h 789"/>
                <a:gd name="T16" fmla="*/ 436 w 784"/>
                <a:gd name="T17" fmla="*/ 623 h 789"/>
                <a:gd name="T18" fmla="*/ 519 w 784"/>
                <a:gd name="T19" fmla="*/ 591 h 789"/>
                <a:gd name="T20" fmla="*/ 585 w 784"/>
                <a:gd name="T21" fmla="*/ 526 h 789"/>
                <a:gd name="T22" fmla="*/ 621 w 784"/>
                <a:gd name="T23" fmla="*/ 445 h 789"/>
                <a:gd name="T24" fmla="*/ 621 w 784"/>
                <a:gd name="T25" fmla="*/ 351 h 789"/>
                <a:gd name="T26" fmla="*/ 587 w 784"/>
                <a:gd name="T27" fmla="*/ 266 h 789"/>
                <a:gd name="T28" fmla="*/ 521 w 784"/>
                <a:gd name="T29" fmla="*/ 200 h 789"/>
                <a:gd name="T30" fmla="*/ 436 w 784"/>
                <a:gd name="T31" fmla="*/ 166 h 789"/>
                <a:gd name="T32" fmla="*/ 388 w 784"/>
                <a:gd name="T33" fmla="*/ 0 h 789"/>
                <a:gd name="T34" fmla="*/ 512 w 784"/>
                <a:gd name="T35" fmla="*/ 19 h 789"/>
                <a:gd name="T36" fmla="*/ 621 w 784"/>
                <a:gd name="T37" fmla="*/ 75 h 789"/>
                <a:gd name="T38" fmla="*/ 711 w 784"/>
                <a:gd name="T39" fmla="*/ 166 h 789"/>
                <a:gd name="T40" fmla="*/ 765 w 784"/>
                <a:gd name="T41" fmla="*/ 275 h 789"/>
                <a:gd name="T42" fmla="*/ 784 w 784"/>
                <a:gd name="T43" fmla="*/ 399 h 789"/>
                <a:gd name="T44" fmla="*/ 765 w 784"/>
                <a:gd name="T45" fmla="*/ 519 h 789"/>
                <a:gd name="T46" fmla="*/ 709 w 784"/>
                <a:gd name="T47" fmla="*/ 626 h 789"/>
                <a:gd name="T48" fmla="*/ 619 w 784"/>
                <a:gd name="T49" fmla="*/ 716 h 789"/>
                <a:gd name="T50" fmla="*/ 512 w 784"/>
                <a:gd name="T51" fmla="*/ 772 h 789"/>
                <a:gd name="T52" fmla="*/ 388 w 784"/>
                <a:gd name="T53" fmla="*/ 789 h 789"/>
                <a:gd name="T54" fmla="*/ 266 w 784"/>
                <a:gd name="T55" fmla="*/ 772 h 789"/>
                <a:gd name="T56" fmla="*/ 159 w 784"/>
                <a:gd name="T57" fmla="*/ 718 h 789"/>
                <a:gd name="T58" fmla="*/ 73 w 784"/>
                <a:gd name="T59" fmla="*/ 630 h 789"/>
                <a:gd name="T60" fmla="*/ 19 w 784"/>
                <a:gd name="T61" fmla="*/ 523 h 789"/>
                <a:gd name="T62" fmla="*/ 0 w 784"/>
                <a:gd name="T63" fmla="*/ 399 h 789"/>
                <a:gd name="T64" fmla="*/ 19 w 784"/>
                <a:gd name="T65" fmla="*/ 275 h 789"/>
                <a:gd name="T66" fmla="*/ 73 w 784"/>
                <a:gd name="T67" fmla="*/ 166 h 789"/>
                <a:gd name="T68" fmla="*/ 163 w 784"/>
                <a:gd name="T69" fmla="*/ 75 h 789"/>
                <a:gd name="T70" fmla="*/ 268 w 784"/>
                <a:gd name="T71" fmla="*/ 19 h 789"/>
                <a:gd name="T72" fmla="*/ 388 w 784"/>
                <a:gd name="T7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4" h="789">
                  <a:moveTo>
                    <a:pt x="388" y="161"/>
                  </a:moveTo>
                  <a:lnTo>
                    <a:pt x="341" y="166"/>
                  </a:lnTo>
                  <a:lnTo>
                    <a:pt x="299" y="178"/>
                  </a:lnTo>
                  <a:lnTo>
                    <a:pt x="259" y="200"/>
                  </a:lnTo>
                  <a:lnTo>
                    <a:pt x="224" y="229"/>
                  </a:lnTo>
                  <a:lnTo>
                    <a:pt x="195" y="266"/>
                  </a:lnTo>
                  <a:lnTo>
                    <a:pt x="175" y="305"/>
                  </a:lnTo>
                  <a:lnTo>
                    <a:pt x="163" y="351"/>
                  </a:lnTo>
                  <a:lnTo>
                    <a:pt x="159" y="399"/>
                  </a:lnTo>
                  <a:lnTo>
                    <a:pt x="163" y="445"/>
                  </a:lnTo>
                  <a:lnTo>
                    <a:pt x="175" y="487"/>
                  </a:lnTo>
                  <a:lnTo>
                    <a:pt x="197" y="526"/>
                  </a:lnTo>
                  <a:lnTo>
                    <a:pt x="226" y="562"/>
                  </a:lnTo>
                  <a:lnTo>
                    <a:pt x="261" y="591"/>
                  </a:lnTo>
                  <a:lnTo>
                    <a:pt x="300" y="611"/>
                  </a:lnTo>
                  <a:lnTo>
                    <a:pt x="343" y="623"/>
                  </a:lnTo>
                  <a:lnTo>
                    <a:pt x="388" y="628"/>
                  </a:lnTo>
                  <a:lnTo>
                    <a:pt x="436" y="623"/>
                  </a:lnTo>
                  <a:lnTo>
                    <a:pt x="478" y="611"/>
                  </a:lnTo>
                  <a:lnTo>
                    <a:pt x="519" y="591"/>
                  </a:lnTo>
                  <a:lnTo>
                    <a:pt x="555" y="562"/>
                  </a:lnTo>
                  <a:lnTo>
                    <a:pt x="585" y="526"/>
                  </a:lnTo>
                  <a:lnTo>
                    <a:pt x="607" y="487"/>
                  </a:lnTo>
                  <a:lnTo>
                    <a:pt x="621" y="445"/>
                  </a:lnTo>
                  <a:lnTo>
                    <a:pt x="624" y="399"/>
                  </a:lnTo>
                  <a:lnTo>
                    <a:pt x="621" y="351"/>
                  </a:lnTo>
                  <a:lnTo>
                    <a:pt x="607" y="305"/>
                  </a:lnTo>
                  <a:lnTo>
                    <a:pt x="587" y="266"/>
                  </a:lnTo>
                  <a:lnTo>
                    <a:pt x="556" y="229"/>
                  </a:lnTo>
                  <a:lnTo>
                    <a:pt x="521" y="200"/>
                  </a:lnTo>
                  <a:lnTo>
                    <a:pt x="480" y="178"/>
                  </a:lnTo>
                  <a:lnTo>
                    <a:pt x="436" y="166"/>
                  </a:lnTo>
                  <a:lnTo>
                    <a:pt x="388" y="161"/>
                  </a:lnTo>
                  <a:close/>
                  <a:moveTo>
                    <a:pt x="388" y="0"/>
                  </a:moveTo>
                  <a:lnTo>
                    <a:pt x="453" y="5"/>
                  </a:lnTo>
                  <a:lnTo>
                    <a:pt x="512" y="19"/>
                  </a:lnTo>
                  <a:lnTo>
                    <a:pt x="570" y="42"/>
                  </a:lnTo>
                  <a:lnTo>
                    <a:pt x="621" y="75"/>
                  </a:lnTo>
                  <a:lnTo>
                    <a:pt x="668" y="117"/>
                  </a:lnTo>
                  <a:lnTo>
                    <a:pt x="711" y="166"/>
                  </a:lnTo>
                  <a:lnTo>
                    <a:pt x="743" y="219"/>
                  </a:lnTo>
                  <a:lnTo>
                    <a:pt x="765" y="275"/>
                  </a:lnTo>
                  <a:lnTo>
                    <a:pt x="779" y="334"/>
                  </a:lnTo>
                  <a:lnTo>
                    <a:pt x="784" y="399"/>
                  </a:lnTo>
                  <a:lnTo>
                    <a:pt x="779" y="462"/>
                  </a:lnTo>
                  <a:lnTo>
                    <a:pt x="765" y="519"/>
                  </a:lnTo>
                  <a:lnTo>
                    <a:pt x="741" y="575"/>
                  </a:lnTo>
                  <a:lnTo>
                    <a:pt x="709" y="626"/>
                  </a:lnTo>
                  <a:lnTo>
                    <a:pt x="668" y="674"/>
                  </a:lnTo>
                  <a:lnTo>
                    <a:pt x="619" y="716"/>
                  </a:lnTo>
                  <a:lnTo>
                    <a:pt x="567" y="749"/>
                  </a:lnTo>
                  <a:lnTo>
                    <a:pt x="512" y="772"/>
                  </a:lnTo>
                  <a:lnTo>
                    <a:pt x="451" y="786"/>
                  </a:lnTo>
                  <a:lnTo>
                    <a:pt x="388" y="789"/>
                  </a:lnTo>
                  <a:lnTo>
                    <a:pt x="326" y="786"/>
                  </a:lnTo>
                  <a:lnTo>
                    <a:pt x="266" y="772"/>
                  </a:lnTo>
                  <a:lnTo>
                    <a:pt x="212" y="750"/>
                  </a:lnTo>
                  <a:lnTo>
                    <a:pt x="159" y="718"/>
                  </a:lnTo>
                  <a:lnTo>
                    <a:pt x="114" y="677"/>
                  </a:lnTo>
                  <a:lnTo>
                    <a:pt x="73" y="630"/>
                  </a:lnTo>
                  <a:lnTo>
                    <a:pt x="41" y="579"/>
                  </a:lnTo>
                  <a:lnTo>
                    <a:pt x="19" y="523"/>
                  </a:lnTo>
                  <a:lnTo>
                    <a:pt x="5" y="463"/>
                  </a:lnTo>
                  <a:lnTo>
                    <a:pt x="0" y="399"/>
                  </a:lnTo>
                  <a:lnTo>
                    <a:pt x="5" y="334"/>
                  </a:lnTo>
                  <a:lnTo>
                    <a:pt x="19" y="275"/>
                  </a:lnTo>
                  <a:lnTo>
                    <a:pt x="41" y="219"/>
                  </a:lnTo>
                  <a:lnTo>
                    <a:pt x="73" y="166"/>
                  </a:lnTo>
                  <a:lnTo>
                    <a:pt x="114" y="117"/>
                  </a:lnTo>
                  <a:lnTo>
                    <a:pt x="163" y="75"/>
                  </a:lnTo>
                  <a:lnTo>
                    <a:pt x="214" y="42"/>
                  </a:lnTo>
                  <a:lnTo>
                    <a:pt x="268" y="19"/>
                  </a:lnTo>
                  <a:lnTo>
                    <a:pt x="327" y="5"/>
                  </a:lnTo>
                  <a:lnTo>
                    <a:pt x="3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0" name="Freeform 11"/>
            <p:cNvSpPr>
              <a:spLocks/>
            </p:cNvSpPr>
            <p:nvPr/>
          </p:nvSpPr>
          <p:spPr bwMode="auto">
            <a:xfrm>
              <a:off x="4371" y="191"/>
              <a:ext cx="5327" cy="2450"/>
            </a:xfrm>
            <a:custGeom>
              <a:avLst/>
              <a:gdLst>
                <a:gd name="T0" fmla="*/ 2282 w 5327"/>
                <a:gd name="T1" fmla="*/ 127 h 2450"/>
                <a:gd name="T2" fmla="*/ 2342 w 5327"/>
                <a:gd name="T3" fmla="*/ 739 h 2450"/>
                <a:gd name="T4" fmla="*/ 2773 w 5327"/>
                <a:gd name="T5" fmla="*/ 737 h 2450"/>
                <a:gd name="T6" fmla="*/ 3136 w 5327"/>
                <a:gd name="T7" fmla="*/ 1061 h 2450"/>
                <a:gd name="T8" fmla="*/ 3448 w 5327"/>
                <a:gd name="T9" fmla="*/ 749 h 2450"/>
                <a:gd name="T10" fmla="*/ 3968 w 5327"/>
                <a:gd name="T11" fmla="*/ 720 h 2450"/>
                <a:gd name="T12" fmla="*/ 4337 w 5327"/>
                <a:gd name="T13" fmla="*/ 1017 h 2450"/>
                <a:gd name="T14" fmla="*/ 4422 w 5327"/>
                <a:gd name="T15" fmla="*/ 1353 h 2450"/>
                <a:gd name="T16" fmla="*/ 4617 w 5327"/>
                <a:gd name="T17" fmla="*/ 1767 h 2450"/>
                <a:gd name="T18" fmla="*/ 5060 w 5327"/>
                <a:gd name="T19" fmla="*/ 1852 h 2450"/>
                <a:gd name="T20" fmla="*/ 5322 w 5327"/>
                <a:gd name="T21" fmla="*/ 2129 h 2450"/>
                <a:gd name="T22" fmla="*/ 5089 w 5327"/>
                <a:gd name="T23" fmla="*/ 2433 h 2450"/>
                <a:gd name="T24" fmla="*/ 4826 w 5327"/>
                <a:gd name="T25" fmla="*/ 2419 h 2450"/>
                <a:gd name="T26" fmla="*/ 4813 w 5327"/>
                <a:gd name="T27" fmla="*/ 2283 h 2450"/>
                <a:gd name="T28" fmla="*/ 4886 w 5327"/>
                <a:gd name="T29" fmla="*/ 2273 h 2450"/>
                <a:gd name="T30" fmla="*/ 5062 w 5327"/>
                <a:gd name="T31" fmla="*/ 2278 h 2450"/>
                <a:gd name="T32" fmla="*/ 5179 w 5327"/>
                <a:gd name="T33" fmla="*/ 2007 h 2450"/>
                <a:gd name="T34" fmla="*/ 4852 w 5327"/>
                <a:gd name="T35" fmla="*/ 2003 h 2450"/>
                <a:gd name="T36" fmla="*/ 4417 w 5327"/>
                <a:gd name="T37" fmla="*/ 1755 h 2450"/>
                <a:gd name="T38" fmla="*/ 4271 w 5327"/>
                <a:gd name="T39" fmla="*/ 1312 h 2450"/>
                <a:gd name="T40" fmla="*/ 4096 w 5327"/>
                <a:gd name="T41" fmla="*/ 961 h 2450"/>
                <a:gd name="T42" fmla="*/ 3679 w 5327"/>
                <a:gd name="T43" fmla="*/ 847 h 2450"/>
                <a:gd name="T44" fmla="*/ 3312 w 5327"/>
                <a:gd name="T45" fmla="*/ 1064 h 2450"/>
                <a:gd name="T46" fmla="*/ 3255 w 5327"/>
                <a:gd name="T47" fmla="*/ 1485 h 2450"/>
                <a:gd name="T48" fmla="*/ 3562 w 5327"/>
                <a:gd name="T49" fmla="*/ 1815 h 2450"/>
                <a:gd name="T50" fmla="*/ 4424 w 5327"/>
                <a:gd name="T51" fmla="*/ 1973 h 2450"/>
                <a:gd name="T52" fmla="*/ 3406 w 5327"/>
                <a:gd name="T53" fmla="*/ 1915 h 2450"/>
                <a:gd name="T54" fmla="*/ 3066 w 5327"/>
                <a:gd name="T55" fmla="*/ 1767 h 2450"/>
                <a:gd name="T56" fmla="*/ 2627 w 5327"/>
                <a:gd name="T57" fmla="*/ 2010 h 2450"/>
                <a:gd name="T58" fmla="*/ 2140 w 5327"/>
                <a:gd name="T59" fmla="*/ 1878 h 2450"/>
                <a:gd name="T60" fmla="*/ 1896 w 5327"/>
                <a:gd name="T61" fmla="*/ 1446 h 2450"/>
                <a:gd name="T62" fmla="*/ 1794 w 5327"/>
                <a:gd name="T63" fmla="*/ 1047 h 2450"/>
                <a:gd name="T64" fmla="*/ 1436 w 5327"/>
                <a:gd name="T65" fmla="*/ 847 h 2450"/>
                <a:gd name="T66" fmla="*/ 348 w 5327"/>
                <a:gd name="T67" fmla="*/ 947 h 2450"/>
                <a:gd name="T68" fmla="*/ 280 w 5327"/>
                <a:gd name="T69" fmla="*/ 888 h 2450"/>
                <a:gd name="T70" fmla="*/ 319 w 5327"/>
                <a:gd name="T71" fmla="*/ 465 h 2450"/>
                <a:gd name="T72" fmla="*/ 555 w 5327"/>
                <a:gd name="T73" fmla="*/ 333 h 2450"/>
                <a:gd name="T74" fmla="*/ 1081 w 5327"/>
                <a:gd name="T75" fmla="*/ 268 h 2450"/>
                <a:gd name="T76" fmla="*/ 531 w 5327"/>
                <a:gd name="T77" fmla="*/ 197 h 2450"/>
                <a:gd name="T78" fmla="*/ 251 w 5327"/>
                <a:gd name="T79" fmla="*/ 324 h 2450"/>
                <a:gd name="T80" fmla="*/ 151 w 5327"/>
                <a:gd name="T81" fmla="*/ 1940 h 2450"/>
                <a:gd name="T82" fmla="*/ 32 w 5327"/>
                <a:gd name="T83" fmla="*/ 2000 h 2450"/>
                <a:gd name="T84" fmla="*/ 10 w 5327"/>
                <a:gd name="T85" fmla="*/ 484 h 2450"/>
                <a:gd name="T86" fmla="*/ 243 w 5327"/>
                <a:gd name="T87" fmla="*/ 136 h 2450"/>
                <a:gd name="T88" fmla="*/ 1032 w 5327"/>
                <a:gd name="T89" fmla="*/ 44 h 2450"/>
                <a:gd name="T90" fmla="*/ 1224 w 5327"/>
                <a:gd name="T91" fmla="*/ 214 h 2450"/>
                <a:gd name="T92" fmla="*/ 1108 w 5327"/>
                <a:gd name="T93" fmla="*/ 452 h 2450"/>
                <a:gd name="T94" fmla="*/ 572 w 5327"/>
                <a:gd name="T95" fmla="*/ 474 h 2450"/>
                <a:gd name="T96" fmla="*/ 416 w 5327"/>
                <a:gd name="T97" fmla="*/ 635 h 2450"/>
                <a:gd name="T98" fmla="*/ 1290 w 5327"/>
                <a:gd name="T99" fmla="*/ 693 h 2450"/>
                <a:gd name="T100" fmla="*/ 1768 w 5327"/>
                <a:gd name="T101" fmla="*/ 808 h 2450"/>
                <a:gd name="T102" fmla="*/ 2028 w 5327"/>
                <a:gd name="T103" fmla="*/ 1226 h 2450"/>
                <a:gd name="T104" fmla="*/ 2147 w 5327"/>
                <a:gd name="T105" fmla="*/ 1660 h 2450"/>
                <a:gd name="T106" fmla="*/ 2554 w 5327"/>
                <a:gd name="T107" fmla="*/ 1852 h 2450"/>
                <a:gd name="T108" fmla="*/ 2954 w 5327"/>
                <a:gd name="T109" fmla="*/ 1662 h 2450"/>
                <a:gd name="T110" fmla="*/ 3041 w 5327"/>
                <a:gd name="T111" fmla="*/ 1226 h 2450"/>
                <a:gd name="T112" fmla="*/ 2751 w 5327"/>
                <a:gd name="T113" fmla="*/ 874 h 2450"/>
                <a:gd name="T114" fmla="*/ 2277 w 5327"/>
                <a:gd name="T115" fmla="*/ 918 h 2450"/>
                <a:gd name="T116" fmla="*/ 2136 w 5327"/>
                <a:gd name="T117" fmla="*/ 165 h 2450"/>
                <a:gd name="T118" fmla="*/ 2021 w 5327"/>
                <a:gd name="T119" fmla="*/ 195 h 2450"/>
                <a:gd name="T120" fmla="*/ 1896 w 5327"/>
                <a:gd name="T121" fmla="*/ 769 h 2450"/>
                <a:gd name="T122" fmla="*/ 1906 w 5327"/>
                <a:gd name="T123" fmla="*/ 93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7" h="2450">
                  <a:moveTo>
                    <a:pt x="2087" y="0"/>
                  </a:moveTo>
                  <a:lnTo>
                    <a:pt x="2130" y="3"/>
                  </a:lnTo>
                  <a:lnTo>
                    <a:pt x="2170" y="15"/>
                  </a:lnTo>
                  <a:lnTo>
                    <a:pt x="2206" y="36"/>
                  </a:lnTo>
                  <a:lnTo>
                    <a:pt x="2237" y="61"/>
                  </a:lnTo>
                  <a:lnTo>
                    <a:pt x="2264" y="92"/>
                  </a:lnTo>
                  <a:lnTo>
                    <a:pt x="2282" y="127"/>
                  </a:lnTo>
                  <a:lnTo>
                    <a:pt x="2296" y="168"/>
                  </a:lnTo>
                  <a:lnTo>
                    <a:pt x="2299" y="212"/>
                  </a:lnTo>
                  <a:lnTo>
                    <a:pt x="2299" y="212"/>
                  </a:lnTo>
                  <a:lnTo>
                    <a:pt x="2301" y="222"/>
                  </a:lnTo>
                  <a:lnTo>
                    <a:pt x="2301" y="233"/>
                  </a:lnTo>
                  <a:lnTo>
                    <a:pt x="2301" y="756"/>
                  </a:lnTo>
                  <a:lnTo>
                    <a:pt x="2342" y="739"/>
                  </a:lnTo>
                  <a:lnTo>
                    <a:pt x="2374" y="727"/>
                  </a:lnTo>
                  <a:lnTo>
                    <a:pt x="2433" y="711"/>
                  </a:lnTo>
                  <a:lnTo>
                    <a:pt x="2495" y="703"/>
                  </a:lnTo>
                  <a:lnTo>
                    <a:pt x="2556" y="699"/>
                  </a:lnTo>
                  <a:lnTo>
                    <a:pt x="2632" y="705"/>
                  </a:lnTo>
                  <a:lnTo>
                    <a:pt x="2703" y="716"/>
                  </a:lnTo>
                  <a:lnTo>
                    <a:pt x="2773" y="737"/>
                  </a:lnTo>
                  <a:lnTo>
                    <a:pt x="2837" y="764"/>
                  </a:lnTo>
                  <a:lnTo>
                    <a:pt x="2900" y="800"/>
                  </a:lnTo>
                  <a:lnTo>
                    <a:pt x="2960" y="844"/>
                  </a:lnTo>
                  <a:lnTo>
                    <a:pt x="3016" y="896"/>
                  </a:lnTo>
                  <a:lnTo>
                    <a:pt x="3063" y="949"/>
                  </a:lnTo>
                  <a:lnTo>
                    <a:pt x="3102" y="1003"/>
                  </a:lnTo>
                  <a:lnTo>
                    <a:pt x="3136" y="1061"/>
                  </a:lnTo>
                  <a:lnTo>
                    <a:pt x="3161" y="1008"/>
                  </a:lnTo>
                  <a:lnTo>
                    <a:pt x="3192" y="959"/>
                  </a:lnTo>
                  <a:lnTo>
                    <a:pt x="3228" y="913"/>
                  </a:lnTo>
                  <a:lnTo>
                    <a:pt x="3267" y="871"/>
                  </a:lnTo>
                  <a:lnTo>
                    <a:pt x="3324" y="822"/>
                  </a:lnTo>
                  <a:lnTo>
                    <a:pt x="3384" y="783"/>
                  </a:lnTo>
                  <a:lnTo>
                    <a:pt x="3448" y="749"/>
                  </a:lnTo>
                  <a:lnTo>
                    <a:pt x="3518" y="723"/>
                  </a:lnTo>
                  <a:lnTo>
                    <a:pt x="3591" y="705"/>
                  </a:lnTo>
                  <a:lnTo>
                    <a:pt x="3667" y="693"/>
                  </a:lnTo>
                  <a:lnTo>
                    <a:pt x="3749" y="689"/>
                  </a:lnTo>
                  <a:lnTo>
                    <a:pt x="3825" y="693"/>
                  </a:lnTo>
                  <a:lnTo>
                    <a:pt x="3898" y="703"/>
                  </a:lnTo>
                  <a:lnTo>
                    <a:pt x="3968" y="720"/>
                  </a:lnTo>
                  <a:lnTo>
                    <a:pt x="4032" y="742"/>
                  </a:lnTo>
                  <a:lnTo>
                    <a:pt x="4093" y="772"/>
                  </a:lnTo>
                  <a:lnTo>
                    <a:pt x="4151" y="808"/>
                  </a:lnTo>
                  <a:lnTo>
                    <a:pt x="4203" y="852"/>
                  </a:lnTo>
                  <a:lnTo>
                    <a:pt x="4253" y="902"/>
                  </a:lnTo>
                  <a:lnTo>
                    <a:pt x="4298" y="958"/>
                  </a:lnTo>
                  <a:lnTo>
                    <a:pt x="4337" y="1017"/>
                  </a:lnTo>
                  <a:lnTo>
                    <a:pt x="4368" y="1078"/>
                  </a:lnTo>
                  <a:lnTo>
                    <a:pt x="4393" y="1141"/>
                  </a:lnTo>
                  <a:lnTo>
                    <a:pt x="4410" y="1207"/>
                  </a:lnTo>
                  <a:lnTo>
                    <a:pt x="4421" y="1277"/>
                  </a:lnTo>
                  <a:lnTo>
                    <a:pt x="4424" y="1348"/>
                  </a:lnTo>
                  <a:lnTo>
                    <a:pt x="4422" y="1350"/>
                  </a:lnTo>
                  <a:lnTo>
                    <a:pt x="4422" y="1353"/>
                  </a:lnTo>
                  <a:lnTo>
                    <a:pt x="4427" y="1423"/>
                  </a:lnTo>
                  <a:lnTo>
                    <a:pt x="4439" y="1489"/>
                  </a:lnTo>
                  <a:lnTo>
                    <a:pt x="4460" y="1552"/>
                  </a:lnTo>
                  <a:lnTo>
                    <a:pt x="4487" y="1611"/>
                  </a:lnTo>
                  <a:lnTo>
                    <a:pt x="4524" y="1667"/>
                  </a:lnTo>
                  <a:lnTo>
                    <a:pt x="4568" y="1721"/>
                  </a:lnTo>
                  <a:lnTo>
                    <a:pt x="4617" y="1767"/>
                  </a:lnTo>
                  <a:lnTo>
                    <a:pt x="4672" y="1806"/>
                  </a:lnTo>
                  <a:lnTo>
                    <a:pt x="4729" y="1835"/>
                  </a:lnTo>
                  <a:lnTo>
                    <a:pt x="4791" y="1857"/>
                  </a:lnTo>
                  <a:lnTo>
                    <a:pt x="4857" y="1869"/>
                  </a:lnTo>
                  <a:lnTo>
                    <a:pt x="4926" y="1874"/>
                  </a:lnTo>
                  <a:lnTo>
                    <a:pt x="4992" y="1869"/>
                  </a:lnTo>
                  <a:lnTo>
                    <a:pt x="5060" y="1852"/>
                  </a:lnTo>
                  <a:lnTo>
                    <a:pt x="5132" y="1827"/>
                  </a:lnTo>
                  <a:lnTo>
                    <a:pt x="5205" y="1789"/>
                  </a:lnTo>
                  <a:lnTo>
                    <a:pt x="5240" y="1767"/>
                  </a:lnTo>
                  <a:lnTo>
                    <a:pt x="5281" y="1738"/>
                  </a:lnTo>
                  <a:lnTo>
                    <a:pt x="5327" y="1703"/>
                  </a:lnTo>
                  <a:lnTo>
                    <a:pt x="5327" y="2068"/>
                  </a:lnTo>
                  <a:lnTo>
                    <a:pt x="5322" y="2129"/>
                  </a:lnTo>
                  <a:lnTo>
                    <a:pt x="5310" y="2185"/>
                  </a:lnTo>
                  <a:lnTo>
                    <a:pt x="5289" y="2237"/>
                  </a:lnTo>
                  <a:lnTo>
                    <a:pt x="5261" y="2288"/>
                  </a:lnTo>
                  <a:lnTo>
                    <a:pt x="5223" y="2336"/>
                  </a:lnTo>
                  <a:lnTo>
                    <a:pt x="5181" y="2377"/>
                  </a:lnTo>
                  <a:lnTo>
                    <a:pt x="5137" y="2409"/>
                  </a:lnTo>
                  <a:lnTo>
                    <a:pt x="5089" y="2433"/>
                  </a:lnTo>
                  <a:lnTo>
                    <a:pt x="5042" y="2446"/>
                  </a:lnTo>
                  <a:lnTo>
                    <a:pt x="4991" y="2450"/>
                  </a:lnTo>
                  <a:lnTo>
                    <a:pt x="4935" y="2448"/>
                  </a:lnTo>
                  <a:lnTo>
                    <a:pt x="4886" y="2440"/>
                  </a:lnTo>
                  <a:lnTo>
                    <a:pt x="4841" y="2426"/>
                  </a:lnTo>
                  <a:lnTo>
                    <a:pt x="4833" y="2423"/>
                  </a:lnTo>
                  <a:lnTo>
                    <a:pt x="4826" y="2419"/>
                  </a:lnTo>
                  <a:lnTo>
                    <a:pt x="4808" y="2407"/>
                  </a:lnTo>
                  <a:lnTo>
                    <a:pt x="4794" y="2390"/>
                  </a:lnTo>
                  <a:lnTo>
                    <a:pt x="4784" y="2370"/>
                  </a:lnTo>
                  <a:lnTo>
                    <a:pt x="4780" y="2348"/>
                  </a:lnTo>
                  <a:lnTo>
                    <a:pt x="4785" y="2322"/>
                  </a:lnTo>
                  <a:lnTo>
                    <a:pt x="4796" y="2300"/>
                  </a:lnTo>
                  <a:lnTo>
                    <a:pt x="4813" y="2283"/>
                  </a:lnTo>
                  <a:lnTo>
                    <a:pt x="4835" y="2273"/>
                  </a:lnTo>
                  <a:lnTo>
                    <a:pt x="4860" y="2268"/>
                  </a:lnTo>
                  <a:lnTo>
                    <a:pt x="4867" y="2268"/>
                  </a:lnTo>
                  <a:lnTo>
                    <a:pt x="4875" y="2270"/>
                  </a:lnTo>
                  <a:lnTo>
                    <a:pt x="4875" y="2270"/>
                  </a:lnTo>
                  <a:lnTo>
                    <a:pt x="4875" y="2270"/>
                  </a:lnTo>
                  <a:lnTo>
                    <a:pt x="4886" y="2273"/>
                  </a:lnTo>
                  <a:lnTo>
                    <a:pt x="4903" y="2277"/>
                  </a:lnTo>
                  <a:lnTo>
                    <a:pt x="4925" y="2282"/>
                  </a:lnTo>
                  <a:lnTo>
                    <a:pt x="4952" y="2285"/>
                  </a:lnTo>
                  <a:lnTo>
                    <a:pt x="4981" y="2288"/>
                  </a:lnTo>
                  <a:lnTo>
                    <a:pt x="5009" y="2288"/>
                  </a:lnTo>
                  <a:lnTo>
                    <a:pt x="5038" y="2287"/>
                  </a:lnTo>
                  <a:lnTo>
                    <a:pt x="5062" y="2278"/>
                  </a:lnTo>
                  <a:lnTo>
                    <a:pt x="5093" y="2260"/>
                  </a:lnTo>
                  <a:lnTo>
                    <a:pt x="5118" y="2236"/>
                  </a:lnTo>
                  <a:lnTo>
                    <a:pt x="5140" y="2205"/>
                  </a:lnTo>
                  <a:lnTo>
                    <a:pt x="5157" y="2166"/>
                  </a:lnTo>
                  <a:lnTo>
                    <a:pt x="5169" y="2120"/>
                  </a:lnTo>
                  <a:lnTo>
                    <a:pt x="5176" y="2068"/>
                  </a:lnTo>
                  <a:lnTo>
                    <a:pt x="5179" y="2007"/>
                  </a:lnTo>
                  <a:lnTo>
                    <a:pt x="5179" y="1952"/>
                  </a:lnTo>
                  <a:lnTo>
                    <a:pt x="5140" y="1968"/>
                  </a:lnTo>
                  <a:lnTo>
                    <a:pt x="5110" y="1978"/>
                  </a:lnTo>
                  <a:lnTo>
                    <a:pt x="5047" y="1995"/>
                  </a:lnTo>
                  <a:lnTo>
                    <a:pt x="4986" y="2005"/>
                  </a:lnTo>
                  <a:lnTo>
                    <a:pt x="4926" y="2007"/>
                  </a:lnTo>
                  <a:lnTo>
                    <a:pt x="4852" y="2003"/>
                  </a:lnTo>
                  <a:lnTo>
                    <a:pt x="4780" y="1991"/>
                  </a:lnTo>
                  <a:lnTo>
                    <a:pt x="4711" y="1971"/>
                  </a:lnTo>
                  <a:lnTo>
                    <a:pt x="4646" y="1944"/>
                  </a:lnTo>
                  <a:lnTo>
                    <a:pt x="4584" y="1906"/>
                  </a:lnTo>
                  <a:lnTo>
                    <a:pt x="4522" y="1862"/>
                  </a:lnTo>
                  <a:lnTo>
                    <a:pt x="4466" y="1810"/>
                  </a:lnTo>
                  <a:lnTo>
                    <a:pt x="4417" y="1755"/>
                  </a:lnTo>
                  <a:lnTo>
                    <a:pt x="4375" y="1698"/>
                  </a:lnTo>
                  <a:lnTo>
                    <a:pt x="4339" y="1638"/>
                  </a:lnTo>
                  <a:lnTo>
                    <a:pt x="4312" y="1577"/>
                  </a:lnTo>
                  <a:lnTo>
                    <a:pt x="4292" y="1511"/>
                  </a:lnTo>
                  <a:lnTo>
                    <a:pt x="4280" y="1443"/>
                  </a:lnTo>
                  <a:lnTo>
                    <a:pt x="4273" y="1370"/>
                  </a:lnTo>
                  <a:lnTo>
                    <a:pt x="4271" y="1312"/>
                  </a:lnTo>
                  <a:lnTo>
                    <a:pt x="4263" y="1256"/>
                  </a:lnTo>
                  <a:lnTo>
                    <a:pt x="4249" y="1200"/>
                  </a:lnTo>
                  <a:lnTo>
                    <a:pt x="4229" y="1146"/>
                  </a:lnTo>
                  <a:lnTo>
                    <a:pt x="4205" y="1095"/>
                  </a:lnTo>
                  <a:lnTo>
                    <a:pt x="4175" y="1047"/>
                  </a:lnTo>
                  <a:lnTo>
                    <a:pt x="4141" y="1003"/>
                  </a:lnTo>
                  <a:lnTo>
                    <a:pt x="4096" y="961"/>
                  </a:lnTo>
                  <a:lnTo>
                    <a:pt x="4049" y="925"/>
                  </a:lnTo>
                  <a:lnTo>
                    <a:pt x="3998" y="896"/>
                  </a:lnTo>
                  <a:lnTo>
                    <a:pt x="3942" y="873"/>
                  </a:lnTo>
                  <a:lnTo>
                    <a:pt x="3881" y="856"/>
                  </a:lnTo>
                  <a:lnTo>
                    <a:pt x="3818" y="847"/>
                  </a:lnTo>
                  <a:lnTo>
                    <a:pt x="3749" y="844"/>
                  </a:lnTo>
                  <a:lnTo>
                    <a:pt x="3679" y="847"/>
                  </a:lnTo>
                  <a:lnTo>
                    <a:pt x="3613" y="859"/>
                  </a:lnTo>
                  <a:lnTo>
                    <a:pt x="3550" y="878"/>
                  </a:lnTo>
                  <a:lnTo>
                    <a:pt x="3491" y="903"/>
                  </a:lnTo>
                  <a:lnTo>
                    <a:pt x="3436" y="937"/>
                  </a:lnTo>
                  <a:lnTo>
                    <a:pt x="3385" y="978"/>
                  </a:lnTo>
                  <a:lnTo>
                    <a:pt x="3345" y="1019"/>
                  </a:lnTo>
                  <a:lnTo>
                    <a:pt x="3312" y="1064"/>
                  </a:lnTo>
                  <a:lnTo>
                    <a:pt x="3285" y="1114"/>
                  </a:lnTo>
                  <a:lnTo>
                    <a:pt x="3265" y="1168"/>
                  </a:lnTo>
                  <a:lnTo>
                    <a:pt x="3250" y="1226"/>
                  </a:lnTo>
                  <a:lnTo>
                    <a:pt x="3240" y="1289"/>
                  </a:lnTo>
                  <a:lnTo>
                    <a:pt x="3238" y="1356"/>
                  </a:lnTo>
                  <a:lnTo>
                    <a:pt x="3241" y="1423"/>
                  </a:lnTo>
                  <a:lnTo>
                    <a:pt x="3255" y="1485"/>
                  </a:lnTo>
                  <a:lnTo>
                    <a:pt x="3275" y="1547"/>
                  </a:lnTo>
                  <a:lnTo>
                    <a:pt x="3306" y="1603"/>
                  </a:lnTo>
                  <a:lnTo>
                    <a:pt x="3345" y="1657"/>
                  </a:lnTo>
                  <a:lnTo>
                    <a:pt x="3392" y="1706"/>
                  </a:lnTo>
                  <a:lnTo>
                    <a:pt x="3447" y="1750"/>
                  </a:lnTo>
                  <a:lnTo>
                    <a:pt x="3503" y="1786"/>
                  </a:lnTo>
                  <a:lnTo>
                    <a:pt x="3562" y="1815"/>
                  </a:lnTo>
                  <a:lnTo>
                    <a:pt x="3625" y="1835"/>
                  </a:lnTo>
                  <a:lnTo>
                    <a:pt x="3691" y="1847"/>
                  </a:lnTo>
                  <a:lnTo>
                    <a:pt x="3760" y="1850"/>
                  </a:lnTo>
                  <a:lnTo>
                    <a:pt x="4307" y="1850"/>
                  </a:lnTo>
                  <a:lnTo>
                    <a:pt x="4339" y="1889"/>
                  </a:lnTo>
                  <a:lnTo>
                    <a:pt x="4375" y="1925"/>
                  </a:lnTo>
                  <a:lnTo>
                    <a:pt x="4424" y="1973"/>
                  </a:lnTo>
                  <a:lnTo>
                    <a:pt x="4477" y="2013"/>
                  </a:lnTo>
                  <a:lnTo>
                    <a:pt x="3760" y="2013"/>
                  </a:lnTo>
                  <a:lnTo>
                    <a:pt x="3684" y="2010"/>
                  </a:lnTo>
                  <a:lnTo>
                    <a:pt x="3611" y="1998"/>
                  </a:lnTo>
                  <a:lnTo>
                    <a:pt x="3540" y="1978"/>
                  </a:lnTo>
                  <a:lnTo>
                    <a:pt x="3470" y="1951"/>
                  </a:lnTo>
                  <a:lnTo>
                    <a:pt x="3406" y="1915"/>
                  </a:lnTo>
                  <a:lnTo>
                    <a:pt x="3343" y="1873"/>
                  </a:lnTo>
                  <a:lnTo>
                    <a:pt x="3284" y="1822"/>
                  </a:lnTo>
                  <a:lnTo>
                    <a:pt x="3229" y="1766"/>
                  </a:lnTo>
                  <a:lnTo>
                    <a:pt x="3184" y="1706"/>
                  </a:lnTo>
                  <a:lnTo>
                    <a:pt x="3146" y="1643"/>
                  </a:lnTo>
                  <a:lnTo>
                    <a:pt x="3111" y="1708"/>
                  </a:lnTo>
                  <a:lnTo>
                    <a:pt x="3066" y="1767"/>
                  </a:lnTo>
                  <a:lnTo>
                    <a:pt x="3016" y="1825"/>
                  </a:lnTo>
                  <a:lnTo>
                    <a:pt x="2958" y="1876"/>
                  </a:lnTo>
                  <a:lnTo>
                    <a:pt x="2898" y="1918"/>
                  </a:lnTo>
                  <a:lnTo>
                    <a:pt x="2836" y="1952"/>
                  </a:lnTo>
                  <a:lnTo>
                    <a:pt x="2769" y="1979"/>
                  </a:lnTo>
                  <a:lnTo>
                    <a:pt x="2700" y="2000"/>
                  </a:lnTo>
                  <a:lnTo>
                    <a:pt x="2627" y="2010"/>
                  </a:lnTo>
                  <a:lnTo>
                    <a:pt x="2551" y="2015"/>
                  </a:lnTo>
                  <a:lnTo>
                    <a:pt x="2472" y="2010"/>
                  </a:lnTo>
                  <a:lnTo>
                    <a:pt x="2400" y="2000"/>
                  </a:lnTo>
                  <a:lnTo>
                    <a:pt x="2330" y="1979"/>
                  </a:lnTo>
                  <a:lnTo>
                    <a:pt x="2262" y="1954"/>
                  </a:lnTo>
                  <a:lnTo>
                    <a:pt x="2199" y="1918"/>
                  </a:lnTo>
                  <a:lnTo>
                    <a:pt x="2140" y="1878"/>
                  </a:lnTo>
                  <a:lnTo>
                    <a:pt x="2082" y="1828"/>
                  </a:lnTo>
                  <a:lnTo>
                    <a:pt x="2033" y="1772"/>
                  </a:lnTo>
                  <a:lnTo>
                    <a:pt x="1989" y="1715"/>
                  </a:lnTo>
                  <a:lnTo>
                    <a:pt x="1955" y="1654"/>
                  </a:lnTo>
                  <a:lnTo>
                    <a:pt x="1926" y="1587"/>
                  </a:lnTo>
                  <a:lnTo>
                    <a:pt x="1907" y="1519"/>
                  </a:lnTo>
                  <a:lnTo>
                    <a:pt x="1896" y="1446"/>
                  </a:lnTo>
                  <a:lnTo>
                    <a:pt x="1890" y="1370"/>
                  </a:lnTo>
                  <a:lnTo>
                    <a:pt x="1889" y="1312"/>
                  </a:lnTo>
                  <a:lnTo>
                    <a:pt x="1880" y="1256"/>
                  </a:lnTo>
                  <a:lnTo>
                    <a:pt x="1867" y="1200"/>
                  </a:lnTo>
                  <a:lnTo>
                    <a:pt x="1848" y="1146"/>
                  </a:lnTo>
                  <a:lnTo>
                    <a:pt x="1823" y="1095"/>
                  </a:lnTo>
                  <a:lnTo>
                    <a:pt x="1794" y="1047"/>
                  </a:lnTo>
                  <a:lnTo>
                    <a:pt x="1758" y="1003"/>
                  </a:lnTo>
                  <a:lnTo>
                    <a:pt x="1716" y="961"/>
                  </a:lnTo>
                  <a:lnTo>
                    <a:pt x="1668" y="925"/>
                  </a:lnTo>
                  <a:lnTo>
                    <a:pt x="1616" y="896"/>
                  </a:lnTo>
                  <a:lnTo>
                    <a:pt x="1560" y="873"/>
                  </a:lnTo>
                  <a:lnTo>
                    <a:pt x="1500" y="856"/>
                  </a:lnTo>
                  <a:lnTo>
                    <a:pt x="1436" y="847"/>
                  </a:lnTo>
                  <a:lnTo>
                    <a:pt x="1368" y="844"/>
                  </a:lnTo>
                  <a:lnTo>
                    <a:pt x="1295" y="847"/>
                  </a:lnTo>
                  <a:lnTo>
                    <a:pt x="1224" y="859"/>
                  </a:lnTo>
                  <a:lnTo>
                    <a:pt x="1159" y="881"/>
                  </a:lnTo>
                  <a:lnTo>
                    <a:pt x="1098" y="910"/>
                  </a:lnTo>
                  <a:lnTo>
                    <a:pt x="1040" y="947"/>
                  </a:lnTo>
                  <a:lnTo>
                    <a:pt x="348" y="947"/>
                  </a:lnTo>
                  <a:lnTo>
                    <a:pt x="346" y="947"/>
                  </a:lnTo>
                  <a:lnTo>
                    <a:pt x="322" y="944"/>
                  </a:lnTo>
                  <a:lnTo>
                    <a:pt x="305" y="935"/>
                  </a:lnTo>
                  <a:lnTo>
                    <a:pt x="294" y="925"/>
                  </a:lnTo>
                  <a:lnTo>
                    <a:pt x="287" y="912"/>
                  </a:lnTo>
                  <a:lnTo>
                    <a:pt x="282" y="898"/>
                  </a:lnTo>
                  <a:lnTo>
                    <a:pt x="280" y="888"/>
                  </a:lnTo>
                  <a:lnTo>
                    <a:pt x="278" y="879"/>
                  </a:lnTo>
                  <a:lnTo>
                    <a:pt x="278" y="876"/>
                  </a:lnTo>
                  <a:lnTo>
                    <a:pt x="278" y="621"/>
                  </a:lnTo>
                  <a:lnTo>
                    <a:pt x="282" y="582"/>
                  </a:lnTo>
                  <a:lnTo>
                    <a:pt x="288" y="543"/>
                  </a:lnTo>
                  <a:lnTo>
                    <a:pt x="302" y="504"/>
                  </a:lnTo>
                  <a:lnTo>
                    <a:pt x="319" y="465"/>
                  </a:lnTo>
                  <a:lnTo>
                    <a:pt x="343" y="430"/>
                  </a:lnTo>
                  <a:lnTo>
                    <a:pt x="370" y="399"/>
                  </a:lnTo>
                  <a:lnTo>
                    <a:pt x="402" y="374"/>
                  </a:lnTo>
                  <a:lnTo>
                    <a:pt x="436" y="355"/>
                  </a:lnTo>
                  <a:lnTo>
                    <a:pt x="473" y="343"/>
                  </a:lnTo>
                  <a:lnTo>
                    <a:pt x="512" y="336"/>
                  </a:lnTo>
                  <a:lnTo>
                    <a:pt x="555" y="333"/>
                  </a:lnTo>
                  <a:lnTo>
                    <a:pt x="599" y="331"/>
                  </a:lnTo>
                  <a:lnTo>
                    <a:pt x="1018" y="331"/>
                  </a:lnTo>
                  <a:lnTo>
                    <a:pt x="1039" y="328"/>
                  </a:lnTo>
                  <a:lnTo>
                    <a:pt x="1056" y="319"/>
                  </a:lnTo>
                  <a:lnTo>
                    <a:pt x="1069" y="304"/>
                  </a:lnTo>
                  <a:lnTo>
                    <a:pt x="1078" y="287"/>
                  </a:lnTo>
                  <a:lnTo>
                    <a:pt x="1081" y="268"/>
                  </a:lnTo>
                  <a:lnTo>
                    <a:pt x="1079" y="250"/>
                  </a:lnTo>
                  <a:lnTo>
                    <a:pt x="1071" y="228"/>
                  </a:lnTo>
                  <a:lnTo>
                    <a:pt x="1059" y="211"/>
                  </a:lnTo>
                  <a:lnTo>
                    <a:pt x="1044" y="200"/>
                  </a:lnTo>
                  <a:lnTo>
                    <a:pt x="1027" y="195"/>
                  </a:lnTo>
                  <a:lnTo>
                    <a:pt x="570" y="195"/>
                  </a:lnTo>
                  <a:lnTo>
                    <a:pt x="531" y="197"/>
                  </a:lnTo>
                  <a:lnTo>
                    <a:pt x="490" y="200"/>
                  </a:lnTo>
                  <a:lnTo>
                    <a:pt x="450" y="205"/>
                  </a:lnTo>
                  <a:lnTo>
                    <a:pt x="407" y="217"/>
                  </a:lnTo>
                  <a:lnTo>
                    <a:pt x="367" y="233"/>
                  </a:lnTo>
                  <a:lnTo>
                    <a:pt x="326" y="256"/>
                  </a:lnTo>
                  <a:lnTo>
                    <a:pt x="287" y="287"/>
                  </a:lnTo>
                  <a:lnTo>
                    <a:pt x="251" y="324"/>
                  </a:lnTo>
                  <a:lnTo>
                    <a:pt x="214" y="375"/>
                  </a:lnTo>
                  <a:lnTo>
                    <a:pt x="187" y="430"/>
                  </a:lnTo>
                  <a:lnTo>
                    <a:pt x="166" y="486"/>
                  </a:lnTo>
                  <a:lnTo>
                    <a:pt x="156" y="547"/>
                  </a:lnTo>
                  <a:lnTo>
                    <a:pt x="151" y="610"/>
                  </a:lnTo>
                  <a:lnTo>
                    <a:pt x="151" y="1940"/>
                  </a:lnTo>
                  <a:lnTo>
                    <a:pt x="151" y="1940"/>
                  </a:lnTo>
                  <a:lnTo>
                    <a:pt x="148" y="1964"/>
                  </a:lnTo>
                  <a:lnTo>
                    <a:pt x="136" y="1983"/>
                  </a:lnTo>
                  <a:lnTo>
                    <a:pt x="119" y="2000"/>
                  </a:lnTo>
                  <a:lnTo>
                    <a:pt x="98" y="2010"/>
                  </a:lnTo>
                  <a:lnTo>
                    <a:pt x="76" y="2013"/>
                  </a:lnTo>
                  <a:lnTo>
                    <a:pt x="53" y="2010"/>
                  </a:lnTo>
                  <a:lnTo>
                    <a:pt x="32" y="2000"/>
                  </a:lnTo>
                  <a:lnTo>
                    <a:pt x="15" y="1983"/>
                  </a:lnTo>
                  <a:lnTo>
                    <a:pt x="5" y="1964"/>
                  </a:lnTo>
                  <a:lnTo>
                    <a:pt x="0" y="1940"/>
                  </a:lnTo>
                  <a:lnTo>
                    <a:pt x="0" y="1940"/>
                  </a:lnTo>
                  <a:lnTo>
                    <a:pt x="0" y="611"/>
                  </a:lnTo>
                  <a:lnTo>
                    <a:pt x="3" y="545"/>
                  </a:lnTo>
                  <a:lnTo>
                    <a:pt x="10" y="484"/>
                  </a:lnTo>
                  <a:lnTo>
                    <a:pt x="24" y="426"/>
                  </a:lnTo>
                  <a:lnTo>
                    <a:pt x="44" y="374"/>
                  </a:lnTo>
                  <a:lnTo>
                    <a:pt x="70" y="321"/>
                  </a:lnTo>
                  <a:lnTo>
                    <a:pt x="104" y="272"/>
                  </a:lnTo>
                  <a:lnTo>
                    <a:pt x="143" y="222"/>
                  </a:lnTo>
                  <a:lnTo>
                    <a:pt x="190" y="177"/>
                  </a:lnTo>
                  <a:lnTo>
                    <a:pt x="243" y="136"/>
                  </a:lnTo>
                  <a:lnTo>
                    <a:pt x="299" y="104"/>
                  </a:lnTo>
                  <a:lnTo>
                    <a:pt x="361" y="78"/>
                  </a:lnTo>
                  <a:lnTo>
                    <a:pt x="426" y="60"/>
                  </a:lnTo>
                  <a:lnTo>
                    <a:pt x="496" y="48"/>
                  </a:lnTo>
                  <a:lnTo>
                    <a:pt x="570" y="44"/>
                  </a:lnTo>
                  <a:lnTo>
                    <a:pt x="1023" y="44"/>
                  </a:lnTo>
                  <a:lnTo>
                    <a:pt x="1032" y="44"/>
                  </a:lnTo>
                  <a:lnTo>
                    <a:pt x="1050" y="46"/>
                  </a:lnTo>
                  <a:lnTo>
                    <a:pt x="1093" y="58"/>
                  </a:lnTo>
                  <a:lnTo>
                    <a:pt x="1130" y="76"/>
                  </a:lnTo>
                  <a:lnTo>
                    <a:pt x="1162" y="104"/>
                  </a:lnTo>
                  <a:lnTo>
                    <a:pt x="1190" y="136"/>
                  </a:lnTo>
                  <a:lnTo>
                    <a:pt x="1210" y="173"/>
                  </a:lnTo>
                  <a:lnTo>
                    <a:pt x="1224" y="214"/>
                  </a:lnTo>
                  <a:lnTo>
                    <a:pt x="1229" y="258"/>
                  </a:lnTo>
                  <a:lnTo>
                    <a:pt x="1224" y="299"/>
                  </a:lnTo>
                  <a:lnTo>
                    <a:pt x="1213" y="338"/>
                  </a:lnTo>
                  <a:lnTo>
                    <a:pt x="1195" y="374"/>
                  </a:lnTo>
                  <a:lnTo>
                    <a:pt x="1171" y="404"/>
                  </a:lnTo>
                  <a:lnTo>
                    <a:pt x="1142" y="430"/>
                  </a:lnTo>
                  <a:lnTo>
                    <a:pt x="1108" y="452"/>
                  </a:lnTo>
                  <a:lnTo>
                    <a:pt x="1081" y="460"/>
                  </a:lnTo>
                  <a:lnTo>
                    <a:pt x="1056" y="467"/>
                  </a:lnTo>
                  <a:lnTo>
                    <a:pt x="1037" y="470"/>
                  </a:lnTo>
                  <a:lnTo>
                    <a:pt x="1022" y="472"/>
                  </a:lnTo>
                  <a:lnTo>
                    <a:pt x="1016" y="472"/>
                  </a:lnTo>
                  <a:lnTo>
                    <a:pt x="623" y="472"/>
                  </a:lnTo>
                  <a:lnTo>
                    <a:pt x="572" y="474"/>
                  </a:lnTo>
                  <a:lnTo>
                    <a:pt x="529" y="481"/>
                  </a:lnTo>
                  <a:lnTo>
                    <a:pt x="494" y="491"/>
                  </a:lnTo>
                  <a:lnTo>
                    <a:pt x="467" y="506"/>
                  </a:lnTo>
                  <a:lnTo>
                    <a:pt x="445" y="528"/>
                  </a:lnTo>
                  <a:lnTo>
                    <a:pt x="429" y="557"/>
                  </a:lnTo>
                  <a:lnTo>
                    <a:pt x="419" y="593"/>
                  </a:lnTo>
                  <a:lnTo>
                    <a:pt x="416" y="635"/>
                  </a:lnTo>
                  <a:lnTo>
                    <a:pt x="416" y="815"/>
                  </a:lnTo>
                  <a:lnTo>
                    <a:pt x="954" y="815"/>
                  </a:lnTo>
                  <a:lnTo>
                    <a:pt x="1013" y="778"/>
                  </a:lnTo>
                  <a:lnTo>
                    <a:pt x="1076" y="745"/>
                  </a:lnTo>
                  <a:lnTo>
                    <a:pt x="1142" y="722"/>
                  </a:lnTo>
                  <a:lnTo>
                    <a:pt x="1213" y="705"/>
                  </a:lnTo>
                  <a:lnTo>
                    <a:pt x="1290" y="693"/>
                  </a:lnTo>
                  <a:lnTo>
                    <a:pt x="1368" y="689"/>
                  </a:lnTo>
                  <a:lnTo>
                    <a:pt x="1444" y="693"/>
                  </a:lnTo>
                  <a:lnTo>
                    <a:pt x="1517" y="703"/>
                  </a:lnTo>
                  <a:lnTo>
                    <a:pt x="1585" y="720"/>
                  </a:lnTo>
                  <a:lnTo>
                    <a:pt x="1649" y="742"/>
                  </a:lnTo>
                  <a:lnTo>
                    <a:pt x="1711" y="772"/>
                  </a:lnTo>
                  <a:lnTo>
                    <a:pt x="1768" y="808"/>
                  </a:lnTo>
                  <a:lnTo>
                    <a:pt x="1823" y="852"/>
                  </a:lnTo>
                  <a:lnTo>
                    <a:pt x="1872" y="902"/>
                  </a:lnTo>
                  <a:lnTo>
                    <a:pt x="1918" y="959"/>
                  </a:lnTo>
                  <a:lnTo>
                    <a:pt x="1957" y="1020"/>
                  </a:lnTo>
                  <a:lnTo>
                    <a:pt x="1987" y="1087"/>
                  </a:lnTo>
                  <a:lnTo>
                    <a:pt x="2011" y="1154"/>
                  </a:lnTo>
                  <a:lnTo>
                    <a:pt x="2028" y="1226"/>
                  </a:lnTo>
                  <a:lnTo>
                    <a:pt x="2038" y="1297"/>
                  </a:lnTo>
                  <a:lnTo>
                    <a:pt x="2041" y="1370"/>
                  </a:lnTo>
                  <a:lnTo>
                    <a:pt x="2047" y="1435"/>
                  </a:lnTo>
                  <a:lnTo>
                    <a:pt x="2060" y="1496"/>
                  </a:lnTo>
                  <a:lnTo>
                    <a:pt x="2080" y="1555"/>
                  </a:lnTo>
                  <a:lnTo>
                    <a:pt x="2111" y="1609"/>
                  </a:lnTo>
                  <a:lnTo>
                    <a:pt x="2147" y="1660"/>
                  </a:lnTo>
                  <a:lnTo>
                    <a:pt x="2192" y="1710"/>
                  </a:lnTo>
                  <a:lnTo>
                    <a:pt x="2245" y="1754"/>
                  </a:lnTo>
                  <a:lnTo>
                    <a:pt x="2301" y="1789"/>
                  </a:lnTo>
                  <a:lnTo>
                    <a:pt x="2359" y="1816"/>
                  </a:lnTo>
                  <a:lnTo>
                    <a:pt x="2420" y="1837"/>
                  </a:lnTo>
                  <a:lnTo>
                    <a:pt x="2484" y="1849"/>
                  </a:lnTo>
                  <a:lnTo>
                    <a:pt x="2554" y="1852"/>
                  </a:lnTo>
                  <a:lnTo>
                    <a:pt x="2620" y="1849"/>
                  </a:lnTo>
                  <a:lnTo>
                    <a:pt x="2685" y="1837"/>
                  </a:lnTo>
                  <a:lnTo>
                    <a:pt x="2746" y="1816"/>
                  </a:lnTo>
                  <a:lnTo>
                    <a:pt x="2803" y="1789"/>
                  </a:lnTo>
                  <a:lnTo>
                    <a:pt x="2858" y="1754"/>
                  </a:lnTo>
                  <a:lnTo>
                    <a:pt x="2909" y="1711"/>
                  </a:lnTo>
                  <a:lnTo>
                    <a:pt x="2954" y="1662"/>
                  </a:lnTo>
                  <a:lnTo>
                    <a:pt x="2992" y="1609"/>
                  </a:lnTo>
                  <a:lnTo>
                    <a:pt x="3021" y="1553"/>
                  </a:lnTo>
                  <a:lnTo>
                    <a:pt x="3041" y="1494"/>
                  </a:lnTo>
                  <a:lnTo>
                    <a:pt x="3053" y="1429"/>
                  </a:lnTo>
                  <a:lnTo>
                    <a:pt x="3056" y="1363"/>
                  </a:lnTo>
                  <a:lnTo>
                    <a:pt x="3053" y="1292"/>
                  </a:lnTo>
                  <a:lnTo>
                    <a:pt x="3041" y="1226"/>
                  </a:lnTo>
                  <a:lnTo>
                    <a:pt x="3021" y="1163"/>
                  </a:lnTo>
                  <a:lnTo>
                    <a:pt x="2992" y="1102"/>
                  </a:lnTo>
                  <a:lnTo>
                    <a:pt x="2956" y="1046"/>
                  </a:lnTo>
                  <a:lnTo>
                    <a:pt x="2912" y="991"/>
                  </a:lnTo>
                  <a:lnTo>
                    <a:pt x="2861" y="944"/>
                  </a:lnTo>
                  <a:lnTo>
                    <a:pt x="2808" y="905"/>
                  </a:lnTo>
                  <a:lnTo>
                    <a:pt x="2751" y="874"/>
                  </a:lnTo>
                  <a:lnTo>
                    <a:pt x="2690" y="854"/>
                  </a:lnTo>
                  <a:lnTo>
                    <a:pt x="2625" y="840"/>
                  </a:lnTo>
                  <a:lnTo>
                    <a:pt x="2556" y="835"/>
                  </a:lnTo>
                  <a:lnTo>
                    <a:pt x="2489" y="840"/>
                  </a:lnTo>
                  <a:lnTo>
                    <a:pt x="2420" y="857"/>
                  </a:lnTo>
                  <a:lnTo>
                    <a:pt x="2350" y="883"/>
                  </a:lnTo>
                  <a:lnTo>
                    <a:pt x="2277" y="918"/>
                  </a:lnTo>
                  <a:lnTo>
                    <a:pt x="2243" y="939"/>
                  </a:lnTo>
                  <a:lnTo>
                    <a:pt x="2203" y="968"/>
                  </a:lnTo>
                  <a:lnTo>
                    <a:pt x="2157" y="1003"/>
                  </a:lnTo>
                  <a:lnTo>
                    <a:pt x="2157" y="212"/>
                  </a:lnTo>
                  <a:lnTo>
                    <a:pt x="2153" y="192"/>
                  </a:lnTo>
                  <a:lnTo>
                    <a:pt x="2147" y="177"/>
                  </a:lnTo>
                  <a:lnTo>
                    <a:pt x="2136" y="165"/>
                  </a:lnTo>
                  <a:lnTo>
                    <a:pt x="2121" y="156"/>
                  </a:lnTo>
                  <a:lnTo>
                    <a:pt x="2106" y="153"/>
                  </a:lnTo>
                  <a:lnTo>
                    <a:pt x="2087" y="151"/>
                  </a:lnTo>
                  <a:lnTo>
                    <a:pt x="2065" y="155"/>
                  </a:lnTo>
                  <a:lnTo>
                    <a:pt x="2047" y="163"/>
                  </a:lnTo>
                  <a:lnTo>
                    <a:pt x="2031" y="178"/>
                  </a:lnTo>
                  <a:lnTo>
                    <a:pt x="2021" y="195"/>
                  </a:lnTo>
                  <a:lnTo>
                    <a:pt x="2018" y="212"/>
                  </a:lnTo>
                  <a:lnTo>
                    <a:pt x="2016" y="216"/>
                  </a:lnTo>
                  <a:lnTo>
                    <a:pt x="2016" y="915"/>
                  </a:lnTo>
                  <a:lnTo>
                    <a:pt x="1991" y="874"/>
                  </a:lnTo>
                  <a:lnTo>
                    <a:pt x="1960" y="837"/>
                  </a:lnTo>
                  <a:lnTo>
                    <a:pt x="1928" y="801"/>
                  </a:lnTo>
                  <a:lnTo>
                    <a:pt x="1896" y="769"/>
                  </a:lnTo>
                  <a:lnTo>
                    <a:pt x="1867" y="744"/>
                  </a:lnTo>
                  <a:lnTo>
                    <a:pt x="1867" y="216"/>
                  </a:lnTo>
                  <a:lnTo>
                    <a:pt x="1867" y="212"/>
                  </a:lnTo>
                  <a:lnTo>
                    <a:pt x="1867" y="212"/>
                  </a:lnTo>
                  <a:lnTo>
                    <a:pt x="1870" y="168"/>
                  </a:lnTo>
                  <a:lnTo>
                    <a:pt x="1884" y="129"/>
                  </a:lnTo>
                  <a:lnTo>
                    <a:pt x="1906" y="93"/>
                  </a:lnTo>
                  <a:lnTo>
                    <a:pt x="1933" y="61"/>
                  </a:lnTo>
                  <a:lnTo>
                    <a:pt x="1967" y="36"/>
                  </a:lnTo>
                  <a:lnTo>
                    <a:pt x="2004" y="15"/>
                  </a:lnTo>
                  <a:lnTo>
                    <a:pt x="2045" y="3"/>
                  </a:lnTo>
                  <a:lnTo>
                    <a:pt x="208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1" name="Freeform 12"/>
            <p:cNvSpPr>
              <a:spLocks noEditPoints="1"/>
            </p:cNvSpPr>
            <p:nvPr/>
          </p:nvSpPr>
          <p:spPr bwMode="auto">
            <a:xfrm>
              <a:off x="5354" y="1162"/>
              <a:ext cx="860" cy="761"/>
            </a:xfrm>
            <a:custGeom>
              <a:avLst/>
              <a:gdLst>
                <a:gd name="T0" fmla="*/ 344 w 860"/>
                <a:gd name="T1" fmla="*/ 151 h 761"/>
                <a:gd name="T2" fmla="*/ 264 w 860"/>
                <a:gd name="T3" fmla="*/ 185 h 761"/>
                <a:gd name="T4" fmla="*/ 205 w 860"/>
                <a:gd name="T5" fmla="*/ 245 h 761"/>
                <a:gd name="T6" fmla="*/ 169 w 860"/>
                <a:gd name="T7" fmla="*/ 324 h 761"/>
                <a:gd name="T8" fmla="*/ 593 w 860"/>
                <a:gd name="T9" fmla="*/ 282 h 761"/>
                <a:gd name="T10" fmla="*/ 544 w 860"/>
                <a:gd name="T11" fmla="*/ 211 h 761"/>
                <a:gd name="T12" fmla="*/ 475 w 860"/>
                <a:gd name="T13" fmla="*/ 165 h 761"/>
                <a:gd name="T14" fmla="*/ 388 w 860"/>
                <a:gd name="T15" fmla="*/ 146 h 761"/>
                <a:gd name="T16" fmla="*/ 449 w 860"/>
                <a:gd name="T17" fmla="*/ 3 h 761"/>
                <a:gd name="T18" fmla="*/ 548 w 860"/>
                <a:gd name="T19" fmla="*/ 29 h 761"/>
                <a:gd name="T20" fmla="*/ 631 w 860"/>
                <a:gd name="T21" fmla="*/ 82 h 761"/>
                <a:gd name="T22" fmla="*/ 697 w 860"/>
                <a:gd name="T23" fmla="*/ 161 h 761"/>
                <a:gd name="T24" fmla="*/ 755 w 860"/>
                <a:gd name="T25" fmla="*/ 280 h 761"/>
                <a:gd name="T26" fmla="*/ 773 w 860"/>
                <a:gd name="T27" fmla="*/ 399 h 761"/>
                <a:gd name="T28" fmla="*/ 760 w 860"/>
                <a:gd name="T29" fmla="*/ 452 h 761"/>
                <a:gd name="T30" fmla="*/ 722 w 860"/>
                <a:gd name="T31" fmla="*/ 477 h 761"/>
                <a:gd name="T32" fmla="*/ 195 w 860"/>
                <a:gd name="T33" fmla="*/ 481 h 761"/>
                <a:gd name="T34" fmla="*/ 247 w 860"/>
                <a:gd name="T35" fmla="*/ 543 h 761"/>
                <a:gd name="T36" fmla="*/ 319 w 860"/>
                <a:gd name="T37" fmla="*/ 586 h 761"/>
                <a:gd name="T38" fmla="*/ 405 w 860"/>
                <a:gd name="T39" fmla="*/ 599 h 761"/>
                <a:gd name="T40" fmla="*/ 814 w 860"/>
                <a:gd name="T41" fmla="*/ 655 h 761"/>
                <a:gd name="T42" fmla="*/ 860 w 860"/>
                <a:gd name="T43" fmla="*/ 761 h 761"/>
                <a:gd name="T44" fmla="*/ 341 w 860"/>
                <a:gd name="T45" fmla="*/ 757 h 761"/>
                <a:gd name="T46" fmla="*/ 222 w 860"/>
                <a:gd name="T47" fmla="*/ 720 h 761"/>
                <a:gd name="T48" fmla="*/ 118 w 860"/>
                <a:gd name="T49" fmla="*/ 645 h 761"/>
                <a:gd name="T50" fmla="*/ 52 w 860"/>
                <a:gd name="T51" fmla="*/ 562 h 761"/>
                <a:gd name="T52" fmla="*/ 13 w 860"/>
                <a:gd name="T53" fmla="*/ 467 h 761"/>
                <a:gd name="T54" fmla="*/ 0 w 860"/>
                <a:gd name="T55" fmla="*/ 357 h 761"/>
                <a:gd name="T56" fmla="*/ 13 w 860"/>
                <a:gd name="T57" fmla="*/ 258 h 761"/>
                <a:gd name="T58" fmla="*/ 52 w 860"/>
                <a:gd name="T59" fmla="*/ 172 h 761"/>
                <a:gd name="T60" fmla="*/ 117 w 860"/>
                <a:gd name="T61" fmla="*/ 99 h 761"/>
                <a:gd name="T62" fmla="*/ 218 w 860"/>
                <a:gd name="T63" fmla="*/ 36 h 761"/>
                <a:gd name="T64" fmla="*/ 332 w 860"/>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0" h="761">
                  <a:moveTo>
                    <a:pt x="388" y="146"/>
                  </a:moveTo>
                  <a:lnTo>
                    <a:pt x="344" y="151"/>
                  </a:lnTo>
                  <a:lnTo>
                    <a:pt x="303" y="165"/>
                  </a:lnTo>
                  <a:lnTo>
                    <a:pt x="264" y="185"/>
                  </a:lnTo>
                  <a:lnTo>
                    <a:pt x="232" y="211"/>
                  </a:lnTo>
                  <a:lnTo>
                    <a:pt x="205" y="245"/>
                  </a:lnTo>
                  <a:lnTo>
                    <a:pt x="183" y="282"/>
                  </a:lnTo>
                  <a:lnTo>
                    <a:pt x="169" y="324"/>
                  </a:lnTo>
                  <a:lnTo>
                    <a:pt x="609" y="324"/>
                  </a:lnTo>
                  <a:lnTo>
                    <a:pt x="593" y="282"/>
                  </a:lnTo>
                  <a:lnTo>
                    <a:pt x="571" y="245"/>
                  </a:lnTo>
                  <a:lnTo>
                    <a:pt x="544" y="211"/>
                  </a:lnTo>
                  <a:lnTo>
                    <a:pt x="512" y="185"/>
                  </a:lnTo>
                  <a:lnTo>
                    <a:pt x="475" y="165"/>
                  </a:lnTo>
                  <a:lnTo>
                    <a:pt x="432" y="151"/>
                  </a:lnTo>
                  <a:lnTo>
                    <a:pt x="388" y="146"/>
                  </a:lnTo>
                  <a:close/>
                  <a:moveTo>
                    <a:pt x="393" y="0"/>
                  </a:moveTo>
                  <a:lnTo>
                    <a:pt x="449" y="3"/>
                  </a:lnTo>
                  <a:lnTo>
                    <a:pt x="500" y="14"/>
                  </a:lnTo>
                  <a:lnTo>
                    <a:pt x="548" y="29"/>
                  </a:lnTo>
                  <a:lnTo>
                    <a:pt x="590" y="53"/>
                  </a:lnTo>
                  <a:lnTo>
                    <a:pt x="631" y="82"/>
                  </a:lnTo>
                  <a:lnTo>
                    <a:pt x="666" y="119"/>
                  </a:lnTo>
                  <a:lnTo>
                    <a:pt x="697" y="161"/>
                  </a:lnTo>
                  <a:lnTo>
                    <a:pt x="731" y="221"/>
                  </a:lnTo>
                  <a:lnTo>
                    <a:pt x="755" y="280"/>
                  </a:lnTo>
                  <a:lnTo>
                    <a:pt x="768" y="340"/>
                  </a:lnTo>
                  <a:lnTo>
                    <a:pt x="773" y="399"/>
                  </a:lnTo>
                  <a:lnTo>
                    <a:pt x="770" y="428"/>
                  </a:lnTo>
                  <a:lnTo>
                    <a:pt x="760" y="452"/>
                  </a:lnTo>
                  <a:lnTo>
                    <a:pt x="745" y="467"/>
                  </a:lnTo>
                  <a:lnTo>
                    <a:pt x="722" y="477"/>
                  </a:lnTo>
                  <a:lnTo>
                    <a:pt x="695" y="481"/>
                  </a:lnTo>
                  <a:lnTo>
                    <a:pt x="195" y="481"/>
                  </a:lnTo>
                  <a:lnTo>
                    <a:pt x="218" y="514"/>
                  </a:lnTo>
                  <a:lnTo>
                    <a:pt x="247" y="543"/>
                  </a:lnTo>
                  <a:lnTo>
                    <a:pt x="281" y="567"/>
                  </a:lnTo>
                  <a:lnTo>
                    <a:pt x="319" y="586"/>
                  </a:lnTo>
                  <a:lnTo>
                    <a:pt x="361" y="596"/>
                  </a:lnTo>
                  <a:lnTo>
                    <a:pt x="405" y="599"/>
                  </a:lnTo>
                  <a:lnTo>
                    <a:pt x="799" y="599"/>
                  </a:lnTo>
                  <a:lnTo>
                    <a:pt x="814" y="655"/>
                  </a:lnTo>
                  <a:lnTo>
                    <a:pt x="834" y="710"/>
                  </a:lnTo>
                  <a:lnTo>
                    <a:pt x="860" y="761"/>
                  </a:lnTo>
                  <a:lnTo>
                    <a:pt x="405" y="761"/>
                  </a:lnTo>
                  <a:lnTo>
                    <a:pt x="341" y="757"/>
                  </a:lnTo>
                  <a:lnTo>
                    <a:pt x="280" y="744"/>
                  </a:lnTo>
                  <a:lnTo>
                    <a:pt x="222" y="720"/>
                  </a:lnTo>
                  <a:lnTo>
                    <a:pt x="168" y="688"/>
                  </a:lnTo>
                  <a:lnTo>
                    <a:pt x="118" y="645"/>
                  </a:lnTo>
                  <a:lnTo>
                    <a:pt x="83" y="606"/>
                  </a:lnTo>
                  <a:lnTo>
                    <a:pt x="52" y="562"/>
                  </a:lnTo>
                  <a:lnTo>
                    <a:pt x="30" y="516"/>
                  </a:lnTo>
                  <a:lnTo>
                    <a:pt x="13" y="467"/>
                  </a:lnTo>
                  <a:lnTo>
                    <a:pt x="3" y="414"/>
                  </a:lnTo>
                  <a:lnTo>
                    <a:pt x="0" y="357"/>
                  </a:lnTo>
                  <a:lnTo>
                    <a:pt x="3" y="306"/>
                  </a:lnTo>
                  <a:lnTo>
                    <a:pt x="13" y="258"/>
                  </a:lnTo>
                  <a:lnTo>
                    <a:pt x="30" y="214"/>
                  </a:lnTo>
                  <a:lnTo>
                    <a:pt x="52" y="172"/>
                  </a:lnTo>
                  <a:lnTo>
                    <a:pt x="81" y="134"/>
                  </a:lnTo>
                  <a:lnTo>
                    <a:pt x="117" y="99"/>
                  </a:lnTo>
                  <a:lnTo>
                    <a:pt x="166" y="63"/>
                  </a:lnTo>
                  <a:lnTo>
                    <a:pt x="218" y="36"/>
                  </a:lnTo>
                  <a:lnTo>
                    <a:pt x="273" y="15"/>
                  </a:lnTo>
                  <a:lnTo>
                    <a:pt x="332" y="3"/>
                  </a:lnTo>
                  <a:lnTo>
                    <a:pt x="39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2" name="Freeform 13"/>
            <p:cNvSpPr>
              <a:spLocks/>
            </p:cNvSpPr>
            <p:nvPr/>
          </p:nvSpPr>
          <p:spPr bwMode="auto">
            <a:xfrm>
              <a:off x="8809" y="880"/>
              <a:ext cx="1154" cy="2034"/>
            </a:xfrm>
            <a:custGeom>
              <a:avLst/>
              <a:gdLst>
                <a:gd name="T0" fmla="*/ 571 w 1154"/>
                <a:gd name="T1" fmla="*/ 5 h 2034"/>
                <a:gd name="T2" fmla="*/ 716 w 1154"/>
                <a:gd name="T3" fmla="*/ 36 h 2034"/>
                <a:gd name="T4" fmla="*/ 846 w 1154"/>
                <a:gd name="T5" fmla="*/ 97 h 2034"/>
                <a:gd name="T6" fmla="*/ 963 w 1154"/>
                <a:gd name="T7" fmla="*/ 189 h 2034"/>
                <a:gd name="T8" fmla="*/ 1057 w 1154"/>
                <a:gd name="T9" fmla="*/ 304 h 2034"/>
                <a:gd name="T10" fmla="*/ 1120 w 1154"/>
                <a:gd name="T11" fmla="*/ 433 h 2034"/>
                <a:gd name="T12" fmla="*/ 1150 w 1154"/>
                <a:gd name="T13" fmla="*/ 577 h 2034"/>
                <a:gd name="T14" fmla="*/ 1154 w 1154"/>
                <a:gd name="T15" fmla="*/ 1431 h 2034"/>
                <a:gd name="T16" fmla="*/ 1138 w 1154"/>
                <a:gd name="T17" fmla="*/ 1576 h 2034"/>
                <a:gd name="T18" fmla="*/ 1091 w 1154"/>
                <a:gd name="T19" fmla="*/ 1705 h 2034"/>
                <a:gd name="T20" fmla="*/ 1011 w 1154"/>
                <a:gd name="T21" fmla="*/ 1820 h 2034"/>
                <a:gd name="T22" fmla="*/ 897 w 1154"/>
                <a:gd name="T23" fmla="*/ 1920 h 2034"/>
                <a:gd name="T24" fmla="*/ 762 w 1154"/>
                <a:gd name="T25" fmla="*/ 1993 h 2034"/>
                <a:gd name="T26" fmla="*/ 610 w 1154"/>
                <a:gd name="T27" fmla="*/ 2029 h 2034"/>
                <a:gd name="T28" fmla="*/ 463 w 1154"/>
                <a:gd name="T29" fmla="*/ 2031 h 2034"/>
                <a:gd name="T30" fmla="*/ 339 w 1154"/>
                <a:gd name="T31" fmla="*/ 2010 h 2034"/>
                <a:gd name="T32" fmla="*/ 246 w 1154"/>
                <a:gd name="T33" fmla="*/ 1976 h 2034"/>
                <a:gd name="T34" fmla="*/ 193 w 1154"/>
                <a:gd name="T35" fmla="*/ 1941 h 2034"/>
                <a:gd name="T36" fmla="*/ 191 w 1154"/>
                <a:gd name="T37" fmla="*/ 1939 h 2034"/>
                <a:gd name="T38" fmla="*/ 186 w 1154"/>
                <a:gd name="T39" fmla="*/ 1932 h 2034"/>
                <a:gd name="T40" fmla="*/ 173 w 1154"/>
                <a:gd name="T41" fmla="*/ 1908 h 2034"/>
                <a:gd name="T42" fmla="*/ 171 w 1154"/>
                <a:gd name="T43" fmla="*/ 1883 h 2034"/>
                <a:gd name="T44" fmla="*/ 173 w 1154"/>
                <a:gd name="T45" fmla="*/ 1868 h 2034"/>
                <a:gd name="T46" fmla="*/ 186 w 1154"/>
                <a:gd name="T47" fmla="*/ 1842 h 2034"/>
                <a:gd name="T48" fmla="*/ 222 w 1154"/>
                <a:gd name="T49" fmla="*/ 1820 h 2034"/>
                <a:gd name="T50" fmla="*/ 273 w 1154"/>
                <a:gd name="T51" fmla="*/ 1825 h 2034"/>
                <a:gd name="T52" fmla="*/ 273 w 1154"/>
                <a:gd name="T53" fmla="*/ 1825 h 2034"/>
                <a:gd name="T54" fmla="*/ 288 w 1154"/>
                <a:gd name="T55" fmla="*/ 1830 h 2034"/>
                <a:gd name="T56" fmla="*/ 307 w 1154"/>
                <a:gd name="T57" fmla="*/ 1840 h 2034"/>
                <a:gd name="T58" fmla="*/ 398 w 1154"/>
                <a:gd name="T59" fmla="*/ 1874 h 2034"/>
                <a:gd name="T60" fmla="*/ 405 w 1154"/>
                <a:gd name="T61" fmla="*/ 1876 h 2034"/>
                <a:gd name="T62" fmla="*/ 427 w 1154"/>
                <a:gd name="T63" fmla="*/ 1881 h 2034"/>
                <a:gd name="T64" fmla="*/ 521 w 1154"/>
                <a:gd name="T65" fmla="*/ 1886 h 2034"/>
                <a:gd name="T66" fmla="*/ 646 w 1154"/>
                <a:gd name="T67" fmla="*/ 1871 h 2034"/>
                <a:gd name="T68" fmla="*/ 760 w 1154"/>
                <a:gd name="T69" fmla="*/ 1827 h 2034"/>
                <a:gd name="T70" fmla="*/ 860 w 1154"/>
                <a:gd name="T71" fmla="*/ 1754 h 2034"/>
                <a:gd name="T72" fmla="*/ 940 w 1154"/>
                <a:gd name="T73" fmla="*/ 1661 h 2034"/>
                <a:gd name="T74" fmla="*/ 987 w 1154"/>
                <a:gd name="T75" fmla="*/ 1552 h 2034"/>
                <a:gd name="T76" fmla="*/ 1004 w 1154"/>
                <a:gd name="T77" fmla="*/ 1431 h 2034"/>
                <a:gd name="T78" fmla="*/ 999 w 1154"/>
                <a:gd name="T79" fmla="*/ 594 h 2034"/>
                <a:gd name="T80" fmla="*/ 965 w 1154"/>
                <a:gd name="T81" fmla="*/ 467 h 2034"/>
                <a:gd name="T82" fmla="*/ 899 w 1154"/>
                <a:gd name="T83" fmla="*/ 355 h 2034"/>
                <a:gd name="T84" fmla="*/ 799 w 1154"/>
                <a:gd name="T85" fmla="*/ 262 h 2034"/>
                <a:gd name="T86" fmla="*/ 685 w 1154"/>
                <a:gd name="T87" fmla="*/ 199 h 2034"/>
                <a:gd name="T88" fmla="*/ 560 w 1154"/>
                <a:gd name="T89" fmla="*/ 167 h 2034"/>
                <a:gd name="T90" fmla="*/ 424 w 1154"/>
                <a:gd name="T91" fmla="*/ 167 h 2034"/>
                <a:gd name="T92" fmla="*/ 298 w 1154"/>
                <a:gd name="T93" fmla="*/ 199 h 2034"/>
                <a:gd name="T94" fmla="*/ 185 w 1154"/>
                <a:gd name="T95" fmla="*/ 265 h 2034"/>
                <a:gd name="T96" fmla="*/ 108 w 1154"/>
                <a:gd name="T97" fmla="*/ 338 h 2034"/>
                <a:gd name="T98" fmla="*/ 45 w 1154"/>
                <a:gd name="T99" fmla="*/ 297 h 2034"/>
                <a:gd name="T100" fmla="*/ 6 w 1154"/>
                <a:gd name="T101" fmla="*/ 214 h 2034"/>
                <a:gd name="T102" fmla="*/ 17 w 1154"/>
                <a:gd name="T103" fmla="*/ 202 h 2034"/>
                <a:gd name="T104" fmla="*/ 22 w 1154"/>
                <a:gd name="T105" fmla="*/ 196 h 2034"/>
                <a:gd name="T106" fmla="*/ 28 w 1154"/>
                <a:gd name="T107" fmla="*/ 189 h 2034"/>
                <a:gd name="T108" fmla="*/ 146 w 1154"/>
                <a:gd name="T109" fmla="*/ 97 h 2034"/>
                <a:gd name="T110" fmla="*/ 276 w 1154"/>
                <a:gd name="T111" fmla="*/ 36 h 2034"/>
                <a:gd name="T112" fmla="*/ 419 w 1154"/>
                <a:gd name="T113" fmla="*/ 5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4" h="2034">
                  <a:moveTo>
                    <a:pt x="495" y="0"/>
                  </a:moveTo>
                  <a:lnTo>
                    <a:pt x="571" y="5"/>
                  </a:lnTo>
                  <a:lnTo>
                    <a:pt x="646" y="16"/>
                  </a:lnTo>
                  <a:lnTo>
                    <a:pt x="716" y="36"/>
                  </a:lnTo>
                  <a:lnTo>
                    <a:pt x="784" y="63"/>
                  </a:lnTo>
                  <a:lnTo>
                    <a:pt x="846" y="97"/>
                  </a:lnTo>
                  <a:lnTo>
                    <a:pt x="907" y="140"/>
                  </a:lnTo>
                  <a:lnTo>
                    <a:pt x="963" y="189"/>
                  </a:lnTo>
                  <a:lnTo>
                    <a:pt x="1014" y="245"/>
                  </a:lnTo>
                  <a:lnTo>
                    <a:pt x="1057" y="304"/>
                  </a:lnTo>
                  <a:lnTo>
                    <a:pt x="1092" y="367"/>
                  </a:lnTo>
                  <a:lnTo>
                    <a:pt x="1120" y="433"/>
                  </a:lnTo>
                  <a:lnTo>
                    <a:pt x="1138" y="504"/>
                  </a:lnTo>
                  <a:lnTo>
                    <a:pt x="1150" y="577"/>
                  </a:lnTo>
                  <a:lnTo>
                    <a:pt x="1154" y="656"/>
                  </a:lnTo>
                  <a:lnTo>
                    <a:pt x="1154" y="1431"/>
                  </a:lnTo>
                  <a:lnTo>
                    <a:pt x="1150" y="1506"/>
                  </a:lnTo>
                  <a:lnTo>
                    <a:pt x="1138" y="1576"/>
                  </a:lnTo>
                  <a:lnTo>
                    <a:pt x="1118" y="1642"/>
                  </a:lnTo>
                  <a:lnTo>
                    <a:pt x="1091" y="1705"/>
                  </a:lnTo>
                  <a:lnTo>
                    <a:pt x="1055" y="1764"/>
                  </a:lnTo>
                  <a:lnTo>
                    <a:pt x="1011" y="1820"/>
                  </a:lnTo>
                  <a:lnTo>
                    <a:pt x="960" y="1871"/>
                  </a:lnTo>
                  <a:lnTo>
                    <a:pt x="897" y="1920"/>
                  </a:lnTo>
                  <a:lnTo>
                    <a:pt x="831" y="1961"/>
                  </a:lnTo>
                  <a:lnTo>
                    <a:pt x="762" y="1993"/>
                  </a:lnTo>
                  <a:lnTo>
                    <a:pt x="687" y="2015"/>
                  </a:lnTo>
                  <a:lnTo>
                    <a:pt x="610" y="2029"/>
                  </a:lnTo>
                  <a:lnTo>
                    <a:pt x="529" y="2034"/>
                  </a:lnTo>
                  <a:lnTo>
                    <a:pt x="463" y="2031"/>
                  </a:lnTo>
                  <a:lnTo>
                    <a:pt x="398" y="2024"/>
                  </a:lnTo>
                  <a:lnTo>
                    <a:pt x="339" y="2010"/>
                  </a:lnTo>
                  <a:lnTo>
                    <a:pt x="281" y="1992"/>
                  </a:lnTo>
                  <a:lnTo>
                    <a:pt x="246" y="1976"/>
                  </a:lnTo>
                  <a:lnTo>
                    <a:pt x="215" y="1959"/>
                  </a:lnTo>
                  <a:lnTo>
                    <a:pt x="193" y="1941"/>
                  </a:lnTo>
                  <a:lnTo>
                    <a:pt x="191" y="1939"/>
                  </a:lnTo>
                  <a:lnTo>
                    <a:pt x="191" y="1939"/>
                  </a:lnTo>
                  <a:lnTo>
                    <a:pt x="186" y="1932"/>
                  </a:lnTo>
                  <a:lnTo>
                    <a:pt x="186" y="1932"/>
                  </a:lnTo>
                  <a:lnTo>
                    <a:pt x="183" y="1927"/>
                  </a:lnTo>
                  <a:lnTo>
                    <a:pt x="173" y="1908"/>
                  </a:lnTo>
                  <a:lnTo>
                    <a:pt x="169" y="1888"/>
                  </a:lnTo>
                  <a:lnTo>
                    <a:pt x="171" y="1883"/>
                  </a:lnTo>
                  <a:lnTo>
                    <a:pt x="171" y="1876"/>
                  </a:lnTo>
                  <a:lnTo>
                    <a:pt x="173" y="1868"/>
                  </a:lnTo>
                  <a:lnTo>
                    <a:pt x="176" y="1861"/>
                  </a:lnTo>
                  <a:lnTo>
                    <a:pt x="186" y="1842"/>
                  </a:lnTo>
                  <a:lnTo>
                    <a:pt x="202" y="1829"/>
                  </a:lnTo>
                  <a:lnTo>
                    <a:pt x="222" y="1820"/>
                  </a:lnTo>
                  <a:lnTo>
                    <a:pt x="244" y="1818"/>
                  </a:lnTo>
                  <a:lnTo>
                    <a:pt x="273" y="1825"/>
                  </a:lnTo>
                  <a:lnTo>
                    <a:pt x="273" y="1825"/>
                  </a:lnTo>
                  <a:lnTo>
                    <a:pt x="273" y="1825"/>
                  </a:lnTo>
                  <a:lnTo>
                    <a:pt x="274" y="1825"/>
                  </a:lnTo>
                  <a:lnTo>
                    <a:pt x="288" y="1830"/>
                  </a:lnTo>
                  <a:lnTo>
                    <a:pt x="303" y="1839"/>
                  </a:lnTo>
                  <a:lnTo>
                    <a:pt x="307" y="1840"/>
                  </a:lnTo>
                  <a:lnTo>
                    <a:pt x="353" y="1863"/>
                  </a:lnTo>
                  <a:lnTo>
                    <a:pt x="398" y="1874"/>
                  </a:lnTo>
                  <a:lnTo>
                    <a:pt x="400" y="1876"/>
                  </a:lnTo>
                  <a:lnTo>
                    <a:pt x="405" y="1876"/>
                  </a:lnTo>
                  <a:lnTo>
                    <a:pt x="417" y="1880"/>
                  </a:lnTo>
                  <a:lnTo>
                    <a:pt x="427" y="1881"/>
                  </a:lnTo>
                  <a:lnTo>
                    <a:pt x="471" y="1885"/>
                  </a:lnTo>
                  <a:lnTo>
                    <a:pt x="521" y="1886"/>
                  </a:lnTo>
                  <a:lnTo>
                    <a:pt x="585" y="1883"/>
                  </a:lnTo>
                  <a:lnTo>
                    <a:pt x="646" y="1871"/>
                  </a:lnTo>
                  <a:lnTo>
                    <a:pt x="704" y="1852"/>
                  </a:lnTo>
                  <a:lnTo>
                    <a:pt x="760" y="1827"/>
                  </a:lnTo>
                  <a:lnTo>
                    <a:pt x="811" y="1795"/>
                  </a:lnTo>
                  <a:lnTo>
                    <a:pt x="860" y="1754"/>
                  </a:lnTo>
                  <a:lnTo>
                    <a:pt x="904" y="1708"/>
                  </a:lnTo>
                  <a:lnTo>
                    <a:pt x="940" y="1661"/>
                  </a:lnTo>
                  <a:lnTo>
                    <a:pt x="969" y="1608"/>
                  </a:lnTo>
                  <a:lnTo>
                    <a:pt x="987" y="1552"/>
                  </a:lnTo>
                  <a:lnTo>
                    <a:pt x="999" y="1494"/>
                  </a:lnTo>
                  <a:lnTo>
                    <a:pt x="1004" y="1431"/>
                  </a:lnTo>
                  <a:lnTo>
                    <a:pt x="1004" y="662"/>
                  </a:lnTo>
                  <a:lnTo>
                    <a:pt x="999" y="594"/>
                  </a:lnTo>
                  <a:lnTo>
                    <a:pt x="987" y="528"/>
                  </a:lnTo>
                  <a:lnTo>
                    <a:pt x="965" y="467"/>
                  </a:lnTo>
                  <a:lnTo>
                    <a:pt x="936" y="409"/>
                  </a:lnTo>
                  <a:lnTo>
                    <a:pt x="899" y="355"/>
                  </a:lnTo>
                  <a:lnTo>
                    <a:pt x="851" y="306"/>
                  </a:lnTo>
                  <a:lnTo>
                    <a:pt x="799" y="262"/>
                  </a:lnTo>
                  <a:lnTo>
                    <a:pt x="745" y="226"/>
                  </a:lnTo>
                  <a:lnTo>
                    <a:pt x="685" y="199"/>
                  </a:lnTo>
                  <a:lnTo>
                    <a:pt x="624" y="179"/>
                  </a:lnTo>
                  <a:lnTo>
                    <a:pt x="560" y="167"/>
                  </a:lnTo>
                  <a:lnTo>
                    <a:pt x="492" y="163"/>
                  </a:lnTo>
                  <a:lnTo>
                    <a:pt x="424" y="167"/>
                  </a:lnTo>
                  <a:lnTo>
                    <a:pt x="359" y="179"/>
                  </a:lnTo>
                  <a:lnTo>
                    <a:pt x="298" y="199"/>
                  </a:lnTo>
                  <a:lnTo>
                    <a:pt x="241" y="228"/>
                  </a:lnTo>
                  <a:lnTo>
                    <a:pt x="185" y="265"/>
                  </a:lnTo>
                  <a:lnTo>
                    <a:pt x="134" y="309"/>
                  </a:lnTo>
                  <a:lnTo>
                    <a:pt x="108" y="338"/>
                  </a:lnTo>
                  <a:lnTo>
                    <a:pt x="83" y="377"/>
                  </a:lnTo>
                  <a:lnTo>
                    <a:pt x="45" y="297"/>
                  </a:lnTo>
                  <a:lnTo>
                    <a:pt x="0" y="221"/>
                  </a:lnTo>
                  <a:lnTo>
                    <a:pt x="6" y="214"/>
                  </a:lnTo>
                  <a:lnTo>
                    <a:pt x="11" y="207"/>
                  </a:lnTo>
                  <a:lnTo>
                    <a:pt x="17" y="202"/>
                  </a:lnTo>
                  <a:lnTo>
                    <a:pt x="20" y="199"/>
                  </a:lnTo>
                  <a:lnTo>
                    <a:pt x="22" y="196"/>
                  </a:lnTo>
                  <a:lnTo>
                    <a:pt x="22" y="196"/>
                  </a:lnTo>
                  <a:lnTo>
                    <a:pt x="28" y="189"/>
                  </a:lnTo>
                  <a:lnTo>
                    <a:pt x="84" y="140"/>
                  </a:lnTo>
                  <a:lnTo>
                    <a:pt x="146" y="97"/>
                  </a:lnTo>
                  <a:lnTo>
                    <a:pt x="208" y="63"/>
                  </a:lnTo>
                  <a:lnTo>
                    <a:pt x="276" y="36"/>
                  </a:lnTo>
                  <a:lnTo>
                    <a:pt x="346" y="16"/>
                  </a:lnTo>
                  <a:lnTo>
                    <a:pt x="419" y="5"/>
                  </a:lnTo>
                  <a:lnTo>
                    <a:pt x="495"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3" name="Freeform 14"/>
            <p:cNvSpPr>
              <a:spLocks noEditPoints="1"/>
            </p:cNvSpPr>
            <p:nvPr/>
          </p:nvSpPr>
          <p:spPr bwMode="auto">
            <a:xfrm>
              <a:off x="7736" y="1162"/>
              <a:ext cx="866" cy="761"/>
            </a:xfrm>
            <a:custGeom>
              <a:avLst/>
              <a:gdLst>
                <a:gd name="T0" fmla="*/ 346 w 866"/>
                <a:gd name="T1" fmla="*/ 151 h 761"/>
                <a:gd name="T2" fmla="*/ 268 w 866"/>
                <a:gd name="T3" fmla="*/ 185 h 761"/>
                <a:gd name="T4" fmla="*/ 207 w 866"/>
                <a:gd name="T5" fmla="*/ 245 h 761"/>
                <a:gd name="T6" fmla="*/ 171 w 866"/>
                <a:gd name="T7" fmla="*/ 324 h 761"/>
                <a:gd name="T8" fmla="*/ 597 w 866"/>
                <a:gd name="T9" fmla="*/ 282 h 761"/>
                <a:gd name="T10" fmla="*/ 548 w 866"/>
                <a:gd name="T11" fmla="*/ 211 h 761"/>
                <a:gd name="T12" fmla="*/ 477 w 866"/>
                <a:gd name="T13" fmla="*/ 165 h 761"/>
                <a:gd name="T14" fmla="*/ 392 w 866"/>
                <a:gd name="T15" fmla="*/ 146 h 761"/>
                <a:gd name="T16" fmla="*/ 448 w 866"/>
                <a:gd name="T17" fmla="*/ 3 h 761"/>
                <a:gd name="T18" fmla="*/ 547 w 866"/>
                <a:gd name="T19" fmla="*/ 29 h 761"/>
                <a:gd name="T20" fmla="*/ 630 w 866"/>
                <a:gd name="T21" fmla="*/ 82 h 761"/>
                <a:gd name="T22" fmla="*/ 698 w 866"/>
                <a:gd name="T23" fmla="*/ 161 h 761"/>
                <a:gd name="T24" fmla="*/ 754 w 866"/>
                <a:gd name="T25" fmla="*/ 280 h 761"/>
                <a:gd name="T26" fmla="*/ 772 w 866"/>
                <a:gd name="T27" fmla="*/ 399 h 761"/>
                <a:gd name="T28" fmla="*/ 760 w 866"/>
                <a:gd name="T29" fmla="*/ 452 h 761"/>
                <a:gd name="T30" fmla="*/ 723 w 866"/>
                <a:gd name="T31" fmla="*/ 477 h 761"/>
                <a:gd name="T32" fmla="*/ 194 w 866"/>
                <a:gd name="T33" fmla="*/ 481 h 761"/>
                <a:gd name="T34" fmla="*/ 246 w 866"/>
                <a:gd name="T35" fmla="*/ 543 h 761"/>
                <a:gd name="T36" fmla="*/ 319 w 866"/>
                <a:gd name="T37" fmla="*/ 586 h 761"/>
                <a:gd name="T38" fmla="*/ 404 w 866"/>
                <a:gd name="T39" fmla="*/ 599 h 761"/>
                <a:gd name="T40" fmla="*/ 821 w 866"/>
                <a:gd name="T41" fmla="*/ 655 h 761"/>
                <a:gd name="T42" fmla="*/ 866 w 866"/>
                <a:gd name="T43" fmla="*/ 761 h 761"/>
                <a:gd name="T44" fmla="*/ 339 w 866"/>
                <a:gd name="T45" fmla="*/ 757 h 761"/>
                <a:gd name="T46" fmla="*/ 221 w 866"/>
                <a:gd name="T47" fmla="*/ 720 h 761"/>
                <a:gd name="T48" fmla="*/ 119 w 866"/>
                <a:gd name="T49" fmla="*/ 645 h 761"/>
                <a:gd name="T50" fmla="*/ 53 w 866"/>
                <a:gd name="T51" fmla="*/ 562 h 761"/>
                <a:gd name="T52" fmla="*/ 12 w 866"/>
                <a:gd name="T53" fmla="*/ 467 h 761"/>
                <a:gd name="T54" fmla="*/ 0 w 866"/>
                <a:gd name="T55" fmla="*/ 357 h 761"/>
                <a:gd name="T56" fmla="*/ 12 w 866"/>
                <a:gd name="T57" fmla="*/ 258 h 761"/>
                <a:gd name="T58" fmla="*/ 51 w 866"/>
                <a:gd name="T59" fmla="*/ 172 h 761"/>
                <a:gd name="T60" fmla="*/ 117 w 866"/>
                <a:gd name="T61" fmla="*/ 99 h 761"/>
                <a:gd name="T62" fmla="*/ 217 w 866"/>
                <a:gd name="T63" fmla="*/ 36 h 761"/>
                <a:gd name="T64" fmla="*/ 331 w 866"/>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6" h="761">
                  <a:moveTo>
                    <a:pt x="392" y="146"/>
                  </a:moveTo>
                  <a:lnTo>
                    <a:pt x="346" y="151"/>
                  </a:lnTo>
                  <a:lnTo>
                    <a:pt x="306" y="165"/>
                  </a:lnTo>
                  <a:lnTo>
                    <a:pt x="268" y="185"/>
                  </a:lnTo>
                  <a:lnTo>
                    <a:pt x="234" y="211"/>
                  </a:lnTo>
                  <a:lnTo>
                    <a:pt x="207" y="245"/>
                  </a:lnTo>
                  <a:lnTo>
                    <a:pt x="187" y="282"/>
                  </a:lnTo>
                  <a:lnTo>
                    <a:pt x="171" y="324"/>
                  </a:lnTo>
                  <a:lnTo>
                    <a:pt x="611" y="324"/>
                  </a:lnTo>
                  <a:lnTo>
                    <a:pt x="597" y="282"/>
                  </a:lnTo>
                  <a:lnTo>
                    <a:pt x="575" y="245"/>
                  </a:lnTo>
                  <a:lnTo>
                    <a:pt x="548" y="211"/>
                  </a:lnTo>
                  <a:lnTo>
                    <a:pt x="514" y="185"/>
                  </a:lnTo>
                  <a:lnTo>
                    <a:pt x="477" y="165"/>
                  </a:lnTo>
                  <a:lnTo>
                    <a:pt x="436" y="151"/>
                  </a:lnTo>
                  <a:lnTo>
                    <a:pt x="392" y="146"/>
                  </a:lnTo>
                  <a:close/>
                  <a:moveTo>
                    <a:pt x="394" y="0"/>
                  </a:moveTo>
                  <a:lnTo>
                    <a:pt x="448" y="3"/>
                  </a:lnTo>
                  <a:lnTo>
                    <a:pt x="499" y="14"/>
                  </a:lnTo>
                  <a:lnTo>
                    <a:pt x="547" y="29"/>
                  </a:lnTo>
                  <a:lnTo>
                    <a:pt x="591" y="53"/>
                  </a:lnTo>
                  <a:lnTo>
                    <a:pt x="630" y="82"/>
                  </a:lnTo>
                  <a:lnTo>
                    <a:pt x="665" y="119"/>
                  </a:lnTo>
                  <a:lnTo>
                    <a:pt x="698" y="161"/>
                  </a:lnTo>
                  <a:lnTo>
                    <a:pt x="730" y="221"/>
                  </a:lnTo>
                  <a:lnTo>
                    <a:pt x="754" y="280"/>
                  </a:lnTo>
                  <a:lnTo>
                    <a:pt x="767" y="340"/>
                  </a:lnTo>
                  <a:lnTo>
                    <a:pt x="772" y="399"/>
                  </a:lnTo>
                  <a:lnTo>
                    <a:pt x="769" y="428"/>
                  </a:lnTo>
                  <a:lnTo>
                    <a:pt x="760" y="452"/>
                  </a:lnTo>
                  <a:lnTo>
                    <a:pt x="743" y="467"/>
                  </a:lnTo>
                  <a:lnTo>
                    <a:pt x="723" y="477"/>
                  </a:lnTo>
                  <a:lnTo>
                    <a:pt x="694" y="481"/>
                  </a:lnTo>
                  <a:lnTo>
                    <a:pt x="194" y="481"/>
                  </a:lnTo>
                  <a:lnTo>
                    <a:pt x="217" y="514"/>
                  </a:lnTo>
                  <a:lnTo>
                    <a:pt x="246" y="543"/>
                  </a:lnTo>
                  <a:lnTo>
                    <a:pt x="280" y="567"/>
                  </a:lnTo>
                  <a:lnTo>
                    <a:pt x="319" y="586"/>
                  </a:lnTo>
                  <a:lnTo>
                    <a:pt x="360" y="596"/>
                  </a:lnTo>
                  <a:lnTo>
                    <a:pt x="404" y="599"/>
                  </a:lnTo>
                  <a:lnTo>
                    <a:pt x="804" y="599"/>
                  </a:lnTo>
                  <a:lnTo>
                    <a:pt x="821" y="655"/>
                  </a:lnTo>
                  <a:lnTo>
                    <a:pt x="842" y="710"/>
                  </a:lnTo>
                  <a:lnTo>
                    <a:pt x="866" y="761"/>
                  </a:lnTo>
                  <a:lnTo>
                    <a:pt x="404" y="761"/>
                  </a:lnTo>
                  <a:lnTo>
                    <a:pt x="339" y="757"/>
                  </a:lnTo>
                  <a:lnTo>
                    <a:pt x="278" y="744"/>
                  </a:lnTo>
                  <a:lnTo>
                    <a:pt x="221" y="720"/>
                  </a:lnTo>
                  <a:lnTo>
                    <a:pt x="168" y="688"/>
                  </a:lnTo>
                  <a:lnTo>
                    <a:pt x="119" y="645"/>
                  </a:lnTo>
                  <a:lnTo>
                    <a:pt x="82" y="606"/>
                  </a:lnTo>
                  <a:lnTo>
                    <a:pt x="53" y="562"/>
                  </a:lnTo>
                  <a:lnTo>
                    <a:pt x="29" y="516"/>
                  </a:lnTo>
                  <a:lnTo>
                    <a:pt x="12" y="467"/>
                  </a:lnTo>
                  <a:lnTo>
                    <a:pt x="3" y="414"/>
                  </a:lnTo>
                  <a:lnTo>
                    <a:pt x="0" y="357"/>
                  </a:lnTo>
                  <a:lnTo>
                    <a:pt x="3" y="306"/>
                  </a:lnTo>
                  <a:lnTo>
                    <a:pt x="12" y="258"/>
                  </a:lnTo>
                  <a:lnTo>
                    <a:pt x="29" y="214"/>
                  </a:lnTo>
                  <a:lnTo>
                    <a:pt x="51" y="172"/>
                  </a:lnTo>
                  <a:lnTo>
                    <a:pt x="82" y="134"/>
                  </a:lnTo>
                  <a:lnTo>
                    <a:pt x="117" y="99"/>
                  </a:lnTo>
                  <a:lnTo>
                    <a:pt x="165" y="63"/>
                  </a:lnTo>
                  <a:lnTo>
                    <a:pt x="217" y="36"/>
                  </a:lnTo>
                  <a:lnTo>
                    <a:pt x="272" y="15"/>
                  </a:lnTo>
                  <a:lnTo>
                    <a:pt x="331" y="3"/>
                  </a:lnTo>
                  <a:lnTo>
                    <a:pt x="394"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4" name="Freeform 15"/>
            <p:cNvSpPr>
              <a:spLocks noEditPoints="1"/>
            </p:cNvSpPr>
            <p:nvPr/>
          </p:nvSpPr>
          <p:spPr bwMode="auto">
            <a:xfrm>
              <a:off x="8919" y="1164"/>
              <a:ext cx="779" cy="794"/>
            </a:xfrm>
            <a:custGeom>
              <a:avLst/>
              <a:gdLst>
                <a:gd name="T0" fmla="*/ 343 w 779"/>
                <a:gd name="T1" fmla="*/ 168 h 794"/>
                <a:gd name="T2" fmla="*/ 261 w 779"/>
                <a:gd name="T3" fmla="*/ 202 h 794"/>
                <a:gd name="T4" fmla="*/ 197 w 779"/>
                <a:gd name="T5" fmla="*/ 266 h 794"/>
                <a:gd name="T6" fmla="*/ 163 w 779"/>
                <a:gd name="T7" fmla="*/ 350 h 794"/>
                <a:gd name="T8" fmla="*/ 163 w 779"/>
                <a:gd name="T9" fmla="*/ 443 h 794"/>
                <a:gd name="T10" fmla="*/ 195 w 779"/>
                <a:gd name="T11" fmla="*/ 526 h 794"/>
                <a:gd name="T12" fmla="*/ 260 w 779"/>
                <a:gd name="T13" fmla="*/ 592 h 794"/>
                <a:gd name="T14" fmla="*/ 341 w 779"/>
                <a:gd name="T15" fmla="*/ 628 h 794"/>
                <a:gd name="T16" fmla="*/ 433 w 779"/>
                <a:gd name="T17" fmla="*/ 628 h 794"/>
                <a:gd name="T18" fmla="*/ 514 w 779"/>
                <a:gd name="T19" fmla="*/ 592 h 794"/>
                <a:gd name="T20" fmla="*/ 580 w 779"/>
                <a:gd name="T21" fmla="*/ 526 h 794"/>
                <a:gd name="T22" fmla="*/ 614 w 779"/>
                <a:gd name="T23" fmla="*/ 443 h 794"/>
                <a:gd name="T24" fmla="*/ 614 w 779"/>
                <a:gd name="T25" fmla="*/ 350 h 794"/>
                <a:gd name="T26" fmla="*/ 580 w 779"/>
                <a:gd name="T27" fmla="*/ 266 h 794"/>
                <a:gd name="T28" fmla="*/ 516 w 779"/>
                <a:gd name="T29" fmla="*/ 202 h 794"/>
                <a:gd name="T30" fmla="*/ 434 w 779"/>
                <a:gd name="T31" fmla="*/ 168 h 794"/>
                <a:gd name="T32" fmla="*/ 388 w 779"/>
                <a:gd name="T33" fmla="*/ 0 h 794"/>
                <a:gd name="T34" fmla="*/ 511 w 779"/>
                <a:gd name="T35" fmla="*/ 18 h 794"/>
                <a:gd name="T36" fmla="*/ 616 w 779"/>
                <a:gd name="T37" fmla="*/ 74 h 794"/>
                <a:gd name="T38" fmla="*/ 706 w 779"/>
                <a:gd name="T39" fmla="*/ 163 h 794"/>
                <a:gd name="T40" fmla="*/ 760 w 779"/>
                <a:gd name="T41" fmla="*/ 273 h 794"/>
                <a:gd name="T42" fmla="*/ 779 w 779"/>
                <a:gd name="T43" fmla="*/ 399 h 794"/>
                <a:gd name="T44" fmla="*/ 760 w 779"/>
                <a:gd name="T45" fmla="*/ 521 h 794"/>
                <a:gd name="T46" fmla="*/ 706 w 779"/>
                <a:gd name="T47" fmla="*/ 630 h 794"/>
                <a:gd name="T48" fmla="*/ 618 w 779"/>
                <a:gd name="T49" fmla="*/ 720 h 794"/>
                <a:gd name="T50" fmla="*/ 512 w 779"/>
                <a:gd name="T51" fmla="*/ 776 h 794"/>
                <a:gd name="T52" fmla="*/ 388 w 779"/>
                <a:gd name="T53" fmla="*/ 794 h 794"/>
                <a:gd name="T54" fmla="*/ 266 w 779"/>
                <a:gd name="T55" fmla="*/ 776 h 794"/>
                <a:gd name="T56" fmla="*/ 161 w 779"/>
                <a:gd name="T57" fmla="*/ 721 h 794"/>
                <a:gd name="T58" fmla="*/ 73 w 779"/>
                <a:gd name="T59" fmla="*/ 631 h 794"/>
                <a:gd name="T60" fmla="*/ 17 w 779"/>
                <a:gd name="T61" fmla="*/ 523 h 794"/>
                <a:gd name="T62" fmla="*/ 0 w 779"/>
                <a:gd name="T63" fmla="*/ 399 h 794"/>
                <a:gd name="T64" fmla="*/ 17 w 779"/>
                <a:gd name="T65" fmla="*/ 275 h 794"/>
                <a:gd name="T66" fmla="*/ 71 w 779"/>
                <a:gd name="T67" fmla="*/ 166 h 794"/>
                <a:gd name="T68" fmla="*/ 159 w 779"/>
                <a:gd name="T69" fmla="*/ 74 h 794"/>
                <a:gd name="T70" fmla="*/ 265 w 779"/>
                <a:gd name="T71" fmla="*/ 18 h 794"/>
                <a:gd name="T72" fmla="*/ 388 w 779"/>
                <a:gd name="T73"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9" h="794">
                  <a:moveTo>
                    <a:pt x="388" y="163"/>
                  </a:moveTo>
                  <a:lnTo>
                    <a:pt x="343" y="168"/>
                  </a:lnTo>
                  <a:lnTo>
                    <a:pt x="300" y="180"/>
                  </a:lnTo>
                  <a:lnTo>
                    <a:pt x="261" y="202"/>
                  </a:lnTo>
                  <a:lnTo>
                    <a:pt x="226" y="231"/>
                  </a:lnTo>
                  <a:lnTo>
                    <a:pt x="197" y="266"/>
                  </a:lnTo>
                  <a:lnTo>
                    <a:pt x="175" y="307"/>
                  </a:lnTo>
                  <a:lnTo>
                    <a:pt x="163" y="350"/>
                  </a:lnTo>
                  <a:lnTo>
                    <a:pt x="158" y="397"/>
                  </a:lnTo>
                  <a:lnTo>
                    <a:pt x="163" y="443"/>
                  </a:lnTo>
                  <a:lnTo>
                    <a:pt x="175" y="487"/>
                  </a:lnTo>
                  <a:lnTo>
                    <a:pt x="195" y="526"/>
                  </a:lnTo>
                  <a:lnTo>
                    <a:pt x="224" y="562"/>
                  </a:lnTo>
                  <a:lnTo>
                    <a:pt x="260" y="592"/>
                  </a:lnTo>
                  <a:lnTo>
                    <a:pt x="299" y="614"/>
                  </a:lnTo>
                  <a:lnTo>
                    <a:pt x="341" y="628"/>
                  </a:lnTo>
                  <a:lnTo>
                    <a:pt x="388" y="631"/>
                  </a:lnTo>
                  <a:lnTo>
                    <a:pt x="433" y="628"/>
                  </a:lnTo>
                  <a:lnTo>
                    <a:pt x="475" y="614"/>
                  </a:lnTo>
                  <a:lnTo>
                    <a:pt x="514" y="592"/>
                  </a:lnTo>
                  <a:lnTo>
                    <a:pt x="550" y="562"/>
                  </a:lnTo>
                  <a:lnTo>
                    <a:pt x="580" y="526"/>
                  </a:lnTo>
                  <a:lnTo>
                    <a:pt x="602" y="487"/>
                  </a:lnTo>
                  <a:lnTo>
                    <a:pt x="614" y="443"/>
                  </a:lnTo>
                  <a:lnTo>
                    <a:pt x="619" y="397"/>
                  </a:lnTo>
                  <a:lnTo>
                    <a:pt x="614" y="350"/>
                  </a:lnTo>
                  <a:lnTo>
                    <a:pt x="602" y="307"/>
                  </a:lnTo>
                  <a:lnTo>
                    <a:pt x="580" y="266"/>
                  </a:lnTo>
                  <a:lnTo>
                    <a:pt x="551" y="231"/>
                  </a:lnTo>
                  <a:lnTo>
                    <a:pt x="516" y="202"/>
                  </a:lnTo>
                  <a:lnTo>
                    <a:pt x="477" y="180"/>
                  </a:lnTo>
                  <a:lnTo>
                    <a:pt x="434" y="168"/>
                  </a:lnTo>
                  <a:lnTo>
                    <a:pt x="388" y="163"/>
                  </a:lnTo>
                  <a:close/>
                  <a:moveTo>
                    <a:pt x="388" y="0"/>
                  </a:moveTo>
                  <a:lnTo>
                    <a:pt x="451" y="5"/>
                  </a:lnTo>
                  <a:lnTo>
                    <a:pt x="511" y="18"/>
                  </a:lnTo>
                  <a:lnTo>
                    <a:pt x="565" y="42"/>
                  </a:lnTo>
                  <a:lnTo>
                    <a:pt x="616" y="74"/>
                  </a:lnTo>
                  <a:lnTo>
                    <a:pt x="663" y="115"/>
                  </a:lnTo>
                  <a:lnTo>
                    <a:pt x="706" y="163"/>
                  </a:lnTo>
                  <a:lnTo>
                    <a:pt x="736" y="215"/>
                  </a:lnTo>
                  <a:lnTo>
                    <a:pt x="760" y="273"/>
                  </a:lnTo>
                  <a:lnTo>
                    <a:pt x="774" y="334"/>
                  </a:lnTo>
                  <a:lnTo>
                    <a:pt x="779" y="399"/>
                  </a:lnTo>
                  <a:lnTo>
                    <a:pt x="774" y="462"/>
                  </a:lnTo>
                  <a:lnTo>
                    <a:pt x="760" y="521"/>
                  </a:lnTo>
                  <a:lnTo>
                    <a:pt x="738" y="577"/>
                  </a:lnTo>
                  <a:lnTo>
                    <a:pt x="706" y="630"/>
                  </a:lnTo>
                  <a:lnTo>
                    <a:pt x="665" y="677"/>
                  </a:lnTo>
                  <a:lnTo>
                    <a:pt x="618" y="720"/>
                  </a:lnTo>
                  <a:lnTo>
                    <a:pt x="567" y="752"/>
                  </a:lnTo>
                  <a:lnTo>
                    <a:pt x="512" y="776"/>
                  </a:lnTo>
                  <a:lnTo>
                    <a:pt x="453" y="789"/>
                  </a:lnTo>
                  <a:lnTo>
                    <a:pt x="388" y="794"/>
                  </a:lnTo>
                  <a:lnTo>
                    <a:pt x="326" y="789"/>
                  </a:lnTo>
                  <a:lnTo>
                    <a:pt x="266" y="776"/>
                  </a:lnTo>
                  <a:lnTo>
                    <a:pt x="212" y="754"/>
                  </a:lnTo>
                  <a:lnTo>
                    <a:pt x="161" y="721"/>
                  </a:lnTo>
                  <a:lnTo>
                    <a:pt x="114" y="679"/>
                  </a:lnTo>
                  <a:lnTo>
                    <a:pt x="73" y="631"/>
                  </a:lnTo>
                  <a:lnTo>
                    <a:pt x="41" y="579"/>
                  </a:lnTo>
                  <a:lnTo>
                    <a:pt x="17" y="523"/>
                  </a:lnTo>
                  <a:lnTo>
                    <a:pt x="3" y="463"/>
                  </a:lnTo>
                  <a:lnTo>
                    <a:pt x="0" y="399"/>
                  </a:lnTo>
                  <a:lnTo>
                    <a:pt x="3" y="334"/>
                  </a:lnTo>
                  <a:lnTo>
                    <a:pt x="17" y="275"/>
                  </a:lnTo>
                  <a:lnTo>
                    <a:pt x="41" y="217"/>
                  </a:lnTo>
                  <a:lnTo>
                    <a:pt x="71" y="166"/>
                  </a:lnTo>
                  <a:lnTo>
                    <a:pt x="112" y="117"/>
                  </a:lnTo>
                  <a:lnTo>
                    <a:pt x="159" y="74"/>
                  </a:lnTo>
                  <a:lnTo>
                    <a:pt x="210" y="42"/>
                  </a:lnTo>
                  <a:lnTo>
                    <a:pt x="265" y="18"/>
                  </a:lnTo>
                  <a:lnTo>
                    <a:pt x="326" y="5"/>
                  </a:lnTo>
                  <a:lnTo>
                    <a:pt x="3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grpSp>
    </p:spTree>
    <p:extLst>
      <p:ext uri="{BB962C8B-B14F-4D97-AF65-F5344CB8AC3E}">
        <p14:creationId xmlns:p14="http://schemas.microsoft.com/office/powerpoint/2010/main" val="560490103"/>
      </p:ext>
    </p:extLst>
  </p:cSld>
  <p:clrMapOvr>
    <a:masterClrMapping/>
  </p:clrMapOvr>
  <p:extLst>
    <p:ext uri="{DCECCB84-F9BA-43D5-87BE-67443E8EF086}">
      <p15:sldGuideLst xmlns:p15="http://schemas.microsoft.com/office/powerpoint/2012/main">
        <p15:guide id="1" orient="horz" pos="2160">
          <p15:clr>
            <a:srgbClr val="FBAE40"/>
          </p15:clr>
        </p15:guide>
        <p15:guide id="2" pos="697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1_Titeldia">
    <p:bg>
      <p:bgPr>
        <a:solidFill>
          <a:schemeClr val="accent2"/>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bg1"/>
                </a:solidFill>
              </a:defRPr>
            </a:lvl1pPr>
          </a:lstStyle>
          <a:p>
            <a:r>
              <a:rPr lang="nl-NL" err="1"/>
              <a:t>Title</a:t>
            </a:r>
            <a:r>
              <a:rPr lang="nl-NL"/>
              <a:t> </a:t>
            </a:r>
            <a:r>
              <a:rPr lang="nl-NL" err="1"/>
              <a:t>presentation</a:t>
            </a:r>
            <a:endParaRPr lang="nl-BE"/>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date + </a:t>
            </a:r>
            <a:r>
              <a:rPr lang="nl-NL" err="1"/>
              <a:t>subtitle</a:t>
            </a:r>
            <a:r>
              <a:rPr lang="nl-NL"/>
              <a:t> </a:t>
            </a:r>
            <a:r>
              <a:rPr lang="nl-NL" err="1"/>
              <a:t>presentation</a:t>
            </a:r>
            <a:endParaRPr lang="nl-BE"/>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bg1"/>
                </a:solidFill>
              </a:defRPr>
            </a:lvl1pPr>
          </a:lstStyle>
          <a:p>
            <a:fld id="{022FBEFF-EBBF-4E87-8B40-6CCE83520150}" type="datetime1">
              <a:rPr lang="nl-BE" smtClean="0"/>
              <a:t>30/05/2023</a:t>
            </a:fld>
            <a:endParaRPr lang="nl-BE"/>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bg1"/>
                </a:solidFill>
              </a:defRPr>
            </a:lvl1pPr>
          </a:lstStyle>
          <a:p>
            <a:endParaRPr lang="nl-BE"/>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bg1"/>
                </a:solidFill>
              </a:defRPr>
            </a:lvl1pPr>
          </a:lstStyle>
          <a:p>
            <a:fld id="{9BE375CD-4755-4D83-B134-E6AD5007676A}" type="slidenum">
              <a:rPr lang="nl-BE" smtClean="0"/>
              <a:pPr/>
              <a:t>‹nr.›</a:t>
            </a:fld>
            <a:endParaRPr lang="nl-BE"/>
          </a:p>
        </p:txBody>
      </p:sp>
    </p:spTree>
    <p:extLst>
      <p:ext uri="{BB962C8B-B14F-4D97-AF65-F5344CB8AC3E}">
        <p14:creationId xmlns:p14="http://schemas.microsoft.com/office/powerpoint/2010/main" val="333856601"/>
      </p:ext>
    </p:extLst>
  </p:cSld>
  <p:clrMapOvr>
    <a:masterClrMapping/>
  </p:clrMapOvr>
  <p:extLst>
    <p:ext uri="{DCECCB84-F9BA-43D5-87BE-67443E8EF086}">
      <p15:sldGuideLst xmlns:p15="http://schemas.microsoft.com/office/powerpoint/2012/main">
        <p15:guide id="1" orient="horz" pos="2160">
          <p15:clr>
            <a:srgbClr val="FBAE40"/>
          </p15:clr>
        </p15:guide>
        <p15:guide id="2" pos="701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2_Titeldia">
    <p:bg>
      <p:bgPr>
        <a:solidFill>
          <a:schemeClr val="accent3"/>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accent5">
                    <a:lumMod val="75000"/>
                    <a:lumOff val="25000"/>
                  </a:schemeClr>
                </a:solidFill>
              </a:defRPr>
            </a:lvl1pPr>
          </a:lstStyle>
          <a:p>
            <a:r>
              <a:rPr lang="nl-NL" err="1"/>
              <a:t>Title</a:t>
            </a:r>
            <a:r>
              <a:rPr lang="nl-NL"/>
              <a:t> </a:t>
            </a:r>
            <a:r>
              <a:rPr lang="nl-NL" err="1"/>
              <a:t>presentation</a:t>
            </a:r>
            <a:endParaRPr lang="nl-BE"/>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accent5">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date + </a:t>
            </a:r>
            <a:r>
              <a:rPr lang="nl-NL" err="1"/>
              <a:t>subtitle</a:t>
            </a:r>
            <a:r>
              <a:rPr lang="nl-NL"/>
              <a:t> </a:t>
            </a:r>
            <a:r>
              <a:rPr lang="nl-NL" err="1"/>
              <a:t>presentation</a:t>
            </a:r>
            <a:endParaRPr lang="nl-BE"/>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accent5">
                    <a:lumMod val="75000"/>
                    <a:lumOff val="25000"/>
                  </a:schemeClr>
                </a:solidFill>
              </a:defRPr>
            </a:lvl1pPr>
          </a:lstStyle>
          <a:p>
            <a:fld id="{022FBEFF-EBBF-4E87-8B40-6CCE83520150}" type="datetime1">
              <a:rPr lang="nl-BE" smtClean="0"/>
              <a:pPr/>
              <a:t>30/05/2023</a:t>
            </a:fld>
            <a:endParaRPr lang="nl-BE"/>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accent5">
                    <a:lumMod val="75000"/>
                    <a:lumOff val="25000"/>
                  </a:schemeClr>
                </a:solidFill>
              </a:defRPr>
            </a:lvl1pPr>
          </a:lstStyle>
          <a:p>
            <a:endParaRPr lang="nl-BE">
              <a:solidFill>
                <a:schemeClr val="accent5">
                  <a:lumMod val="75000"/>
                  <a:lumOff val="25000"/>
                </a:schemeClr>
              </a:solidFill>
            </a:endParaRPr>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accent5">
                    <a:lumMod val="75000"/>
                    <a:lumOff val="25000"/>
                  </a:schemeClr>
                </a:solidFill>
              </a:defRPr>
            </a:lvl1pPr>
          </a:lstStyle>
          <a:p>
            <a:fld id="{9BE375CD-4755-4D83-B134-E6AD5007676A}" type="slidenum">
              <a:rPr lang="nl-BE" smtClean="0"/>
              <a:pPr/>
              <a:t>‹nr.›</a:t>
            </a:fld>
            <a:endParaRPr lang="nl-BE"/>
          </a:p>
        </p:txBody>
      </p:sp>
    </p:spTree>
    <p:extLst>
      <p:ext uri="{BB962C8B-B14F-4D97-AF65-F5344CB8AC3E}">
        <p14:creationId xmlns:p14="http://schemas.microsoft.com/office/powerpoint/2010/main" val="12371236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3_Titeldia">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09600" y="730800"/>
            <a:ext cx="10972800" cy="565200"/>
          </a:xfrm>
        </p:spPr>
        <p:txBody>
          <a:bodyPr>
            <a:normAutofit/>
          </a:bodyPr>
          <a:lstStyle>
            <a:lvl1pPr algn="l">
              <a:defRPr sz="2400">
                <a:solidFill>
                  <a:schemeClr val="accent5">
                    <a:lumMod val="75000"/>
                    <a:lumOff val="25000"/>
                  </a:schemeClr>
                </a:solidFill>
              </a:defRPr>
            </a:lvl1pPr>
          </a:lstStyle>
          <a:p>
            <a:r>
              <a:rPr lang="nl-NL" err="1"/>
              <a:t>Title</a:t>
            </a:r>
            <a:r>
              <a:rPr lang="nl-NL"/>
              <a:t> </a:t>
            </a:r>
            <a:r>
              <a:rPr lang="nl-NL" err="1"/>
              <a:t>presentation</a:t>
            </a:r>
            <a:endParaRPr lang="nl-BE"/>
          </a:p>
        </p:txBody>
      </p:sp>
      <p:sp>
        <p:nvSpPr>
          <p:cNvPr id="3" name="Ondertitel 2"/>
          <p:cNvSpPr>
            <a:spLocks noGrp="1"/>
          </p:cNvSpPr>
          <p:nvPr>
            <p:ph type="subTitle" idx="1" hasCustomPrompt="1"/>
          </p:nvPr>
        </p:nvSpPr>
        <p:spPr>
          <a:xfrm>
            <a:off x="609600" y="1296000"/>
            <a:ext cx="10972800" cy="4853022"/>
          </a:xfrm>
        </p:spPr>
        <p:txBody>
          <a:bodyPr lIns="90000">
            <a:noAutofit/>
          </a:bodyPr>
          <a:lstStyle>
            <a:lvl1pPr marL="0" indent="0" algn="l">
              <a:buNone/>
              <a:defRPr sz="1400">
                <a:solidFill>
                  <a:schemeClr val="accent5">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date + </a:t>
            </a:r>
            <a:r>
              <a:rPr lang="nl-NL" err="1"/>
              <a:t>subtitle</a:t>
            </a:r>
            <a:r>
              <a:rPr lang="nl-NL"/>
              <a:t> </a:t>
            </a:r>
            <a:r>
              <a:rPr lang="nl-NL" err="1"/>
              <a:t>presentation</a:t>
            </a:r>
            <a:endParaRPr lang="nl-BE"/>
          </a:p>
        </p:txBody>
      </p:sp>
      <p:sp>
        <p:nvSpPr>
          <p:cNvPr id="4" name="Tijdelijke aanduiding voor datum 3"/>
          <p:cNvSpPr>
            <a:spLocks noGrp="1"/>
          </p:cNvSpPr>
          <p:nvPr>
            <p:ph type="dt" sz="half" idx="10"/>
          </p:nvPr>
        </p:nvSpPr>
        <p:spPr>
          <a:xfrm>
            <a:off x="1200067" y="6400800"/>
            <a:ext cx="916800" cy="277200"/>
          </a:xfrm>
        </p:spPr>
        <p:txBody>
          <a:bodyPr/>
          <a:lstStyle>
            <a:lvl1pPr>
              <a:defRPr>
                <a:solidFill>
                  <a:schemeClr val="accent5">
                    <a:lumMod val="75000"/>
                    <a:lumOff val="25000"/>
                  </a:schemeClr>
                </a:solidFill>
              </a:defRPr>
            </a:lvl1pPr>
          </a:lstStyle>
          <a:p>
            <a:fld id="{022FBEFF-EBBF-4E87-8B40-6CCE83520150}" type="datetime1">
              <a:rPr lang="nl-BE" smtClean="0"/>
              <a:pPr/>
              <a:t>30/05/2023</a:t>
            </a:fld>
            <a:endParaRPr lang="nl-BE"/>
          </a:p>
        </p:txBody>
      </p:sp>
      <p:sp>
        <p:nvSpPr>
          <p:cNvPr id="5" name="Tijdelijke aanduiding voor voettekst 4"/>
          <p:cNvSpPr>
            <a:spLocks noGrp="1"/>
          </p:cNvSpPr>
          <p:nvPr>
            <p:ph type="ftr" sz="quarter" idx="11"/>
          </p:nvPr>
        </p:nvSpPr>
        <p:spPr>
          <a:xfrm>
            <a:off x="2116867" y="6400800"/>
            <a:ext cx="8313600" cy="277200"/>
          </a:xfrm>
        </p:spPr>
        <p:txBody>
          <a:bodyPr/>
          <a:lstStyle>
            <a:lvl1pPr>
              <a:buClr>
                <a:schemeClr val="bg1"/>
              </a:buClr>
              <a:defRPr>
                <a:solidFill>
                  <a:schemeClr val="accent5">
                    <a:lumMod val="75000"/>
                    <a:lumOff val="25000"/>
                  </a:schemeClr>
                </a:solidFill>
              </a:defRPr>
            </a:lvl1pPr>
          </a:lstStyle>
          <a:p>
            <a:endParaRPr lang="nl-BE">
              <a:solidFill>
                <a:schemeClr val="accent5">
                  <a:lumMod val="75000"/>
                  <a:lumOff val="25000"/>
                </a:schemeClr>
              </a:solidFill>
            </a:endParaRPr>
          </a:p>
        </p:txBody>
      </p:sp>
      <p:sp>
        <p:nvSpPr>
          <p:cNvPr id="6" name="Tijdelijke aanduiding voor dianummer 5"/>
          <p:cNvSpPr>
            <a:spLocks noGrp="1"/>
          </p:cNvSpPr>
          <p:nvPr>
            <p:ph type="sldNum" sz="quarter" idx="12"/>
          </p:nvPr>
        </p:nvSpPr>
        <p:spPr>
          <a:xfrm>
            <a:off x="609600" y="6400800"/>
            <a:ext cx="590400" cy="277200"/>
          </a:xfrm>
        </p:spPr>
        <p:txBody>
          <a:bodyPr/>
          <a:lstStyle>
            <a:lvl1pPr>
              <a:defRPr>
                <a:solidFill>
                  <a:schemeClr val="accent5">
                    <a:lumMod val="75000"/>
                    <a:lumOff val="25000"/>
                  </a:schemeClr>
                </a:solidFill>
              </a:defRPr>
            </a:lvl1pPr>
          </a:lstStyle>
          <a:p>
            <a:fld id="{9BE375CD-4755-4D83-B134-E6AD5007676A}" type="slidenum">
              <a:rPr lang="nl-BE" smtClean="0"/>
              <a:pPr/>
              <a:t>‹nr.›</a:t>
            </a:fld>
            <a:endParaRPr lang="nl-BE"/>
          </a:p>
        </p:txBody>
      </p:sp>
    </p:spTree>
    <p:extLst>
      <p:ext uri="{BB962C8B-B14F-4D97-AF65-F5344CB8AC3E}">
        <p14:creationId xmlns:p14="http://schemas.microsoft.com/office/powerpoint/2010/main" val="11588089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352189670"/>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pic>
        <p:nvPicPr>
          <p:cNvPr id="10" name="Picture 9" descr="A picture containing sky, outdoor, grass, day&#10;&#10;Description automatically generated">
            <a:extLst>
              <a:ext uri="{FF2B5EF4-FFF2-40B4-BE49-F238E27FC236}">
                <a16:creationId xmlns:a16="http://schemas.microsoft.com/office/drawing/2014/main" id="{7C83D873-A726-4462-9D77-7E4E955F068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1288" b="3787"/>
          <a:stretch/>
        </p:blipFill>
        <p:spPr>
          <a:xfrm>
            <a:off x="0" y="0"/>
            <a:ext cx="12192000" cy="6092826"/>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2269485648"/>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pic>
        <p:nvPicPr>
          <p:cNvPr id="7" name="Picture 6" descr="A person holding a pair of scissors&#10;&#10;Description automatically generated with medium confidence">
            <a:extLst>
              <a:ext uri="{FF2B5EF4-FFF2-40B4-BE49-F238E27FC236}">
                <a16:creationId xmlns:a16="http://schemas.microsoft.com/office/drawing/2014/main" id="{D36CAC88-FF12-46CD-947B-B091EF3F37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1466" b="3779"/>
          <a:stretch/>
        </p:blipFill>
        <p:spPr>
          <a:xfrm>
            <a:off x="-32388" y="-1"/>
            <a:ext cx="12224387"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3954338630"/>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7" name="Picture 6" descr="A close - up of a circuit board&#10;&#10;Description automatically generated with low confidence">
            <a:extLst>
              <a:ext uri="{FF2B5EF4-FFF2-40B4-BE49-F238E27FC236}">
                <a16:creationId xmlns:a16="http://schemas.microsoft.com/office/drawing/2014/main" id="{E646E93E-512C-464C-9CED-F40B18EC0F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5764"/>
          <a:stretch/>
        </p:blipFill>
        <p:spPr>
          <a:xfrm>
            <a:off x="0" y="0"/>
            <a:ext cx="12192000"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2762119"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1694022060"/>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10" name="Picture 9" descr="A person holding a cell phone&#10;&#10;Description automatically generated with medium confidence">
            <a:extLst>
              <a:ext uri="{FF2B5EF4-FFF2-40B4-BE49-F238E27FC236}">
                <a16:creationId xmlns:a16="http://schemas.microsoft.com/office/drawing/2014/main" id="{934182A7-9427-4408-AC29-18553F1200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0062" b="15127"/>
          <a:stretch/>
        </p:blipFill>
        <p:spPr>
          <a:xfrm>
            <a:off x="0" y="0"/>
            <a:ext cx="12192000"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2137726224"/>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pic>
        <p:nvPicPr>
          <p:cNvPr id="9" name="Picture 8" descr="A picture containing person&#10;&#10;Description automatically generated">
            <a:extLst>
              <a:ext uri="{FF2B5EF4-FFF2-40B4-BE49-F238E27FC236}">
                <a16:creationId xmlns:a16="http://schemas.microsoft.com/office/drawing/2014/main" id="{D5A955CA-2D72-426A-B610-88A732D7E35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637" t="4420" r="3637" b="26072"/>
          <a:stretch/>
        </p:blipFill>
        <p:spPr>
          <a:xfrm>
            <a:off x="-1" y="0"/>
            <a:ext cx="12192001" cy="6092826"/>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346492558"/>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pic>
        <p:nvPicPr>
          <p:cNvPr id="7" name="Picture 6" descr="A close - up of a circuit board&#10;&#10;Description automatically generated with low confidence">
            <a:extLst>
              <a:ext uri="{FF2B5EF4-FFF2-40B4-BE49-F238E27FC236}">
                <a16:creationId xmlns:a16="http://schemas.microsoft.com/office/drawing/2014/main" id="{E646E93E-512C-464C-9CED-F40B18EC0F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5764"/>
          <a:stretch/>
        </p:blipFill>
        <p:spPr>
          <a:xfrm>
            <a:off x="0" y="0"/>
            <a:ext cx="12192000"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2762119" cy="394184"/>
          </a:xfrm>
          <a:solidFill>
            <a:schemeClr val="accent4">
              <a:lumMod val="60000"/>
              <a:lumOff val="40000"/>
              <a:alpha val="70000"/>
            </a:schemeClr>
          </a:solidFill>
          <a:effectLst>
            <a:softEdge rad="31750"/>
          </a:effectLst>
        </p:spPr>
        <p:txBody>
          <a:bodyPr/>
          <a:lstStyle/>
          <a:p>
            <a:r>
              <a:rPr lang="en-US"/>
              <a:t>Click to edit Master title style</a:t>
            </a:r>
            <a:endParaRPr lang="fr-BE" dirty="0"/>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136457753"/>
      </p:ext>
    </p:extLst>
  </p:cSld>
  <p:clrMapOvr>
    <a:masterClrMapping/>
  </p:clrMapOvr>
  <p:extLst>
    <p:ext uri="{DCECCB84-F9BA-43D5-87BE-67443E8EF086}">
      <p15:sldGuideLst xmlns:p15="http://schemas.microsoft.com/office/powerpoint/2012/main">
        <p15:guide id="1" orient="horz" pos="3838" userDrawn="1">
          <p15:clr>
            <a:srgbClr val="FBAE40"/>
          </p15:clr>
        </p15:guide>
        <p15:guide id="2" pos="384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pic>
        <p:nvPicPr>
          <p:cNvPr id="9" name="Picture 8" descr="A child in a field of flowers&#10;&#10;Description automatically generated with medium confidence">
            <a:extLst>
              <a:ext uri="{FF2B5EF4-FFF2-40B4-BE49-F238E27FC236}">
                <a16:creationId xmlns:a16="http://schemas.microsoft.com/office/drawing/2014/main" id="{B6768249-84BB-436E-95A3-3A281D9F4E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0644" r="9926"/>
          <a:stretch/>
        </p:blipFill>
        <p:spPr>
          <a:xfrm>
            <a:off x="-1" y="0"/>
            <a:ext cx="12192001"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1796499731"/>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pic>
        <p:nvPicPr>
          <p:cNvPr id="7" name="Picture 6" descr="Diagram&#10;&#10;Description automatically generated with medium confidence">
            <a:extLst>
              <a:ext uri="{FF2B5EF4-FFF2-40B4-BE49-F238E27FC236}">
                <a16:creationId xmlns:a16="http://schemas.microsoft.com/office/drawing/2014/main" id="{AFCCF48A-B4D2-4F82-841E-1EB739476C2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960" t="158" r="693" b="1"/>
          <a:stretch/>
        </p:blipFill>
        <p:spPr>
          <a:xfrm>
            <a:off x="-240705" y="0"/>
            <a:ext cx="12432705"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43802099"/>
      </p:ext>
    </p:extLst>
  </p:cSld>
  <p:clrMapOvr>
    <a:masterClrMapping/>
  </p:clrMapOvr>
  <p:extLst>
    <p:ext uri="{DCECCB84-F9BA-43D5-87BE-67443E8EF086}">
      <p15:sldGuideLst xmlns:p15="http://schemas.microsoft.com/office/powerpoint/2012/main">
        <p15:guide id="1" orient="horz" pos="3838">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a:t>This is the title of the subject on this page</a:t>
            </a:r>
            <a:endParaRPr lang="nl-BE"/>
          </a:p>
        </p:txBody>
      </p:sp>
      <p:sp>
        <p:nvSpPr>
          <p:cNvPr id="3" name="Tijdelijke aanduiding voor inhoud 2"/>
          <p:cNvSpPr>
            <a:spLocks noGrp="1"/>
          </p:cNvSpPr>
          <p:nvPr>
            <p:ph idx="1" hasCustomPrompt="1"/>
          </p:nvPr>
        </p:nvSpPr>
        <p:spPr>
          <a:xfrm>
            <a:off x="609600" y="1623061"/>
            <a:ext cx="10972800" cy="4525963"/>
          </a:xfrm>
        </p:spPr>
        <p:txBody>
          <a:bodyPr/>
          <a:lstStyle/>
          <a:p>
            <a:pPr lvl="0"/>
            <a:r>
              <a:rPr lang="en-US"/>
              <a:t>this could be a </a:t>
            </a:r>
            <a:r>
              <a:rPr lang="en-US" err="1"/>
              <a:t>bulletpoint</a:t>
            </a:r>
            <a:endParaRPr lang="en-US"/>
          </a:p>
          <a:p>
            <a:pPr lvl="0"/>
            <a:r>
              <a:rPr lang="en-US"/>
              <a:t>this could be another </a:t>
            </a:r>
            <a:r>
              <a:rPr lang="en-US" err="1"/>
              <a:t>bulletpoint</a:t>
            </a:r>
            <a:endParaRPr lang="en-US"/>
          </a:p>
          <a:p>
            <a:pPr lvl="0"/>
            <a:r>
              <a:rPr lang="en-US"/>
              <a:t>this could be the third </a:t>
            </a:r>
            <a:r>
              <a:rPr lang="en-US" err="1"/>
              <a:t>bulletpoint</a:t>
            </a:r>
            <a:endParaRPr lang="en-US"/>
          </a:p>
          <a:p>
            <a:pPr lvl="0"/>
            <a:r>
              <a:rPr lang="en-US"/>
              <a:t>this </a:t>
            </a:r>
            <a:r>
              <a:rPr lang="en-US" err="1"/>
              <a:t>bulletpoint</a:t>
            </a:r>
            <a:r>
              <a:rPr lang="en-US"/>
              <a:t> needs some </a:t>
            </a:r>
            <a:r>
              <a:rPr lang="en-US" err="1"/>
              <a:t>bodycopy</a:t>
            </a:r>
            <a:endParaRPr lang="en-US"/>
          </a:p>
        </p:txBody>
      </p:sp>
      <p:sp>
        <p:nvSpPr>
          <p:cNvPr id="4" name="Tijdelijke aanduiding voor datum 3"/>
          <p:cNvSpPr>
            <a:spLocks noGrp="1"/>
          </p:cNvSpPr>
          <p:nvPr>
            <p:ph type="dt" sz="half" idx="10"/>
          </p:nvPr>
        </p:nvSpPr>
        <p:spPr>
          <a:xfrm>
            <a:off x="1198966" y="6400801"/>
            <a:ext cx="917701" cy="276224"/>
          </a:xfrm>
        </p:spPr>
        <p:txBody>
          <a:bodyPr/>
          <a:lstStyle/>
          <a:p>
            <a:fld id="{A5BF5FAA-1273-48C9-A418-A52A86AE5014}" type="datetime1">
              <a:rPr lang="nl-BE" smtClean="0"/>
              <a:t>30/05/2023</a:t>
            </a:fld>
            <a:endParaRPr lang="nl-BE"/>
          </a:p>
        </p:txBody>
      </p:sp>
      <p:sp>
        <p:nvSpPr>
          <p:cNvPr id="5" name="Tijdelijke aanduiding voor voettekst 4"/>
          <p:cNvSpPr>
            <a:spLocks noGrp="1"/>
          </p:cNvSpPr>
          <p:nvPr>
            <p:ph type="ftr" sz="quarter" idx="11"/>
          </p:nvPr>
        </p:nvSpPr>
        <p:spPr/>
        <p:txBody>
          <a:bodyPr/>
          <a:lstStyle/>
          <a:p>
            <a:endParaRPr lang="nl-BE"/>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Tree>
    <p:extLst>
      <p:ext uri="{BB962C8B-B14F-4D97-AF65-F5344CB8AC3E}">
        <p14:creationId xmlns:p14="http://schemas.microsoft.com/office/powerpoint/2010/main" val="30283290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a:t>This is the title of the subject on this page</a:t>
            </a:r>
            <a:endParaRPr lang="nl-BE"/>
          </a:p>
        </p:txBody>
      </p:sp>
      <p:sp>
        <p:nvSpPr>
          <p:cNvPr id="3" name="Tijdelijke aanduiding voor inhoud 2"/>
          <p:cNvSpPr>
            <a:spLocks noGrp="1"/>
          </p:cNvSpPr>
          <p:nvPr>
            <p:ph idx="1" hasCustomPrompt="1"/>
          </p:nvPr>
        </p:nvSpPr>
        <p:spPr>
          <a:xfrm>
            <a:off x="609600" y="1623061"/>
            <a:ext cx="10972800" cy="4525963"/>
          </a:xfrm>
        </p:spPr>
        <p:txBody>
          <a:bodyPr/>
          <a:lstStyle/>
          <a:p>
            <a:pPr lvl="0"/>
            <a:r>
              <a:rPr lang="en-US"/>
              <a:t>this could be a </a:t>
            </a:r>
            <a:r>
              <a:rPr lang="en-US" err="1"/>
              <a:t>bulletpoint</a:t>
            </a:r>
            <a:endParaRPr lang="en-US"/>
          </a:p>
          <a:p>
            <a:pPr lvl="0"/>
            <a:r>
              <a:rPr lang="en-US"/>
              <a:t>this could be another </a:t>
            </a:r>
            <a:r>
              <a:rPr lang="en-US" err="1"/>
              <a:t>bulletpoint</a:t>
            </a:r>
            <a:endParaRPr lang="en-US"/>
          </a:p>
          <a:p>
            <a:pPr lvl="0"/>
            <a:r>
              <a:rPr lang="en-US"/>
              <a:t>this could be the third </a:t>
            </a:r>
            <a:r>
              <a:rPr lang="en-US" err="1"/>
              <a:t>bulletpoint</a:t>
            </a:r>
            <a:endParaRPr lang="en-US"/>
          </a:p>
          <a:p>
            <a:pPr lvl="0"/>
            <a:r>
              <a:rPr lang="en-US"/>
              <a:t>this </a:t>
            </a:r>
            <a:r>
              <a:rPr lang="en-US" err="1"/>
              <a:t>bulletpoint</a:t>
            </a:r>
            <a:r>
              <a:rPr lang="en-US"/>
              <a:t> needs some </a:t>
            </a:r>
            <a:r>
              <a:rPr lang="en-US" err="1"/>
              <a:t>bodycopy</a:t>
            </a:r>
            <a:endParaRPr lang="en-US"/>
          </a:p>
        </p:txBody>
      </p:sp>
      <p:sp>
        <p:nvSpPr>
          <p:cNvPr id="4" name="Tijdelijke aanduiding voor datum 3"/>
          <p:cNvSpPr>
            <a:spLocks noGrp="1"/>
          </p:cNvSpPr>
          <p:nvPr>
            <p:ph type="dt" sz="half" idx="10"/>
          </p:nvPr>
        </p:nvSpPr>
        <p:spPr>
          <a:xfrm>
            <a:off x="1198966" y="6400801"/>
            <a:ext cx="917701" cy="276224"/>
          </a:xfrm>
        </p:spPr>
        <p:txBody>
          <a:bodyPr/>
          <a:lstStyle/>
          <a:p>
            <a:fld id="{A5BF5FAA-1273-48C9-A418-A52A86AE5014}" type="datetime1">
              <a:rPr lang="nl-BE" smtClean="0"/>
              <a:t>30/05/2023</a:t>
            </a:fld>
            <a:endParaRPr lang="nl-BE"/>
          </a:p>
        </p:txBody>
      </p:sp>
      <p:sp>
        <p:nvSpPr>
          <p:cNvPr id="5" name="Tijdelijke aanduiding voor voettekst 4"/>
          <p:cNvSpPr>
            <a:spLocks noGrp="1"/>
          </p:cNvSpPr>
          <p:nvPr>
            <p:ph type="ftr" sz="quarter" idx="11"/>
          </p:nvPr>
        </p:nvSpPr>
        <p:spPr/>
        <p:txBody>
          <a:bodyPr/>
          <a:lstStyle/>
          <a:p>
            <a:endParaRPr lang="nl-BE"/>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8" name="Tijdelijke aanduiding voor tekst 9"/>
          <p:cNvSpPr>
            <a:spLocks noGrp="1"/>
          </p:cNvSpPr>
          <p:nvPr>
            <p:ph type="body" sz="quarter" idx="13"/>
          </p:nvPr>
        </p:nvSpPr>
        <p:spPr>
          <a:xfrm>
            <a:off x="1168976" y="3472816"/>
            <a:ext cx="6480000" cy="330860"/>
          </a:xfrm>
          <a:noFill/>
        </p:spPr>
        <p:txBody>
          <a:bodyPr wrap="square" lIns="90000" rtlCol="0">
            <a:spAutoFit/>
          </a:bodyPr>
          <a:lstStyle>
            <a:lvl1pPr marL="0" indent="0">
              <a:buNone/>
              <a:defRPr lang="nl-BE" sz="1300" spc="20" noProof="0" dirty="0">
                <a:solidFill>
                  <a:srgbClr val="C62B37"/>
                </a:solidFill>
              </a:defRPr>
            </a:lvl1pPr>
          </a:lstStyle>
          <a:p>
            <a:pPr marL="0" lvl="0">
              <a:lnSpc>
                <a:spcPts val="2000"/>
              </a:lnSpc>
            </a:pPr>
            <a:r>
              <a:rPr kumimoji="0" lang="en-US" sz="1200" b="0" i="0" u="none" strike="noStrike" kern="1200" cap="none" spc="20" normalizeH="0" baseline="0">
                <a:ln>
                  <a:noFill/>
                </a:ln>
                <a:solidFill>
                  <a:srgbClr val="C62B37"/>
                </a:solidFill>
                <a:effectLst/>
                <a:uLnTx/>
                <a:uFillTx/>
                <a:latin typeface="+mn-lt"/>
                <a:ea typeface="+mn-ea"/>
                <a:cs typeface="+mn-cs"/>
              </a:rPr>
              <a:t>Click to edit Master text styles</a:t>
            </a:r>
          </a:p>
        </p:txBody>
      </p:sp>
    </p:spTree>
    <p:extLst>
      <p:ext uri="{BB962C8B-B14F-4D97-AF65-F5344CB8AC3E}">
        <p14:creationId xmlns:p14="http://schemas.microsoft.com/office/powerpoint/2010/main" val="23218539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a:t>This is the title of the subject on this page</a:t>
            </a:r>
            <a:endParaRPr lang="nl-BE"/>
          </a:p>
        </p:txBody>
      </p:sp>
      <p:sp>
        <p:nvSpPr>
          <p:cNvPr id="3" name="Tijdelijke aanduiding voor inhoud 2"/>
          <p:cNvSpPr>
            <a:spLocks noGrp="1"/>
          </p:cNvSpPr>
          <p:nvPr>
            <p:ph idx="1" hasCustomPrompt="1"/>
          </p:nvPr>
        </p:nvSpPr>
        <p:spPr>
          <a:xfrm>
            <a:off x="6096000" y="1623061"/>
            <a:ext cx="5486400" cy="4525963"/>
          </a:xfrm>
        </p:spPr>
        <p:txBody>
          <a:bodyPr/>
          <a:lstStyle/>
          <a:p>
            <a:pPr lvl="0"/>
            <a:r>
              <a:rPr lang="en-US"/>
              <a:t>this could be a </a:t>
            </a:r>
            <a:r>
              <a:rPr lang="en-US" err="1"/>
              <a:t>bulletpoint</a:t>
            </a:r>
            <a:endParaRPr lang="en-US"/>
          </a:p>
          <a:p>
            <a:pPr lvl="0"/>
            <a:r>
              <a:rPr lang="en-US"/>
              <a:t>this could be another </a:t>
            </a:r>
            <a:r>
              <a:rPr lang="en-US" err="1"/>
              <a:t>bulletpoint</a:t>
            </a:r>
            <a:endParaRPr lang="en-US"/>
          </a:p>
          <a:p>
            <a:pPr lvl="0"/>
            <a:r>
              <a:rPr lang="en-US"/>
              <a:t>this could be the third </a:t>
            </a:r>
            <a:r>
              <a:rPr lang="en-US" err="1"/>
              <a:t>bulletpoint</a:t>
            </a:r>
            <a:endParaRPr lang="en-US"/>
          </a:p>
          <a:p>
            <a:pPr lvl="0"/>
            <a:r>
              <a:rPr lang="en-US"/>
              <a:t>this </a:t>
            </a:r>
            <a:r>
              <a:rPr lang="en-US" err="1"/>
              <a:t>bulletpoint</a:t>
            </a:r>
            <a:r>
              <a:rPr lang="en-US"/>
              <a:t> needs some </a:t>
            </a:r>
            <a:r>
              <a:rPr lang="en-US" err="1"/>
              <a:t>bodycopy</a:t>
            </a:r>
            <a:endParaRPr lang="en-US"/>
          </a:p>
        </p:txBody>
      </p:sp>
      <p:sp>
        <p:nvSpPr>
          <p:cNvPr id="4" name="Tijdelijke aanduiding voor datum 3"/>
          <p:cNvSpPr>
            <a:spLocks noGrp="1"/>
          </p:cNvSpPr>
          <p:nvPr>
            <p:ph type="dt" sz="half" idx="10"/>
          </p:nvPr>
        </p:nvSpPr>
        <p:spPr>
          <a:xfrm>
            <a:off x="1198966" y="6400801"/>
            <a:ext cx="917701" cy="276224"/>
          </a:xfrm>
        </p:spPr>
        <p:txBody>
          <a:bodyPr/>
          <a:lstStyle/>
          <a:p>
            <a:fld id="{A5BF5FAA-1273-48C9-A418-A52A86AE5014}" type="datetime1">
              <a:rPr lang="nl-BE" smtClean="0"/>
              <a:t>30/05/2023</a:t>
            </a:fld>
            <a:endParaRPr lang="nl-BE"/>
          </a:p>
        </p:txBody>
      </p:sp>
      <p:sp>
        <p:nvSpPr>
          <p:cNvPr id="5" name="Tijdelijke aanduiding voor voettekst 4"/>
          <p:cNvSpPr>
            <a:spLocks noGrp="1"/>
          </p:cNvSpPr>
          <p:nvPr>
            <p:ph type="ftr" sz="quarter" idx="11"/>
          </p:nvPr>
        </p:nvSpPr>
        <p:spPr/>
        <p:txBody>
          <a:bodyPr/>
          <a:lstStyle/>
          <a:p>
            <a:endParaRPr lang="nl-BE"/>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Picture Placeholder 8">
            <a:extLst>
              <a:ext uri="{FF2B5EF4-FFF2-40B4-BE49-F238E27FC236}">
                <a16:creationId xmlns:a16="http://schemas.microsoft.com/office/drawing/2014/main" id="{BB3D6B10-2C43-486B-952D-3902C8CB09A2}"/>
              </a:ext>
            </a:extLst>
          </p:cNvPr>
          <p:cNvSpPr>
            <a:spLocks noGrp="1"/>
          </p:cNvSpPr>
          <p:nvPr>
            <p:ph type="pic" sz="quarter" idx="13"/>
          </p:nvPr>
        </p:nvSpPr>
        <p:spPr>
          <a:xfrm>
            <a:off x="609600" y="1622426"/>
            <a:ext cx="5486400" cy="4525963"/>
          </a:xfrm>
        </p:spPr>
        <p:txBody>
          <a:bodyPr/>
          <a:lstStyle/>
          <a:p>
            <a:r>
              <a:rPr lang="en-US"/>
              <a:t>Click icon to add picture</a:t>
            </a:r>
            <a:endParaRPr lang="fr-BE"/>
          </a:p>
        </p:txBody>
      </p:sp>
    </p:spTree>
    <p:extLst>
      <p:ext uri="{BB962C8B-B14F-4D97-AF65-F5344CB8AC3E}">
        <p14:creationId xmlns:p14="http://schemas.microsoft.com/office/powerpoint/2010/main" val="40212463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itel en object">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609600" y="2011681"/>
            <a:ext cx="10972800" cy="4137343"/>
          </a:xfrm>
        </p:spPr>
        <p:txBody>
          <a:bodyPr/>
          <a:lstStyle/>
          <a:p>
            <a:pPr lvl="0"/>
            <a:r>
              <a:rPr lang="en-US"/>
              <a:t>this could be a </a:t>
            </a:r>
            <a:r>
              <a:rPr lang="en-US" err="1"/>
              <a:t>bulletpoint</a:t>
            </a:r>
            <a:endParaRPr lang="en-US"/>
          </a:p>
          <a:p>
            <a:pPr lvl="0"/>
            <a:r>
              <a:rPr lang="en-US"/>
              <a:t>this could be another </a:t>
            </a:r>
            <a:r>
              <a:rPr lang="en-US" err="1"/>
              <a:t>bulletpoint</a:t>
            </a:r>
            <a:endParaRPr lang="en-US"/>
          </a:p>
          <a:p>
            <a:pPr lvl="0"/>
            <a:r>
              <a:rPr lang="en-US"/>
              <a:t>this could be the third </a:t>
            </a:r>
            <a:r>
              <a:rPr lang="en-US" err="1"/>
              <a:t>bulletpoint</a:t>
            </a:r>
            <a:endParaRPr lang="en-US"/>
          </a:p>
          <a:p>
            <a:pPr lvl="0"/>
            <a:r>
              <a:rPr lang="en-US"/>
              <a:t>this </a:t>
            </a:r>
            <a:r>
              <a:rPr lang="en-US" err="1"/>
              <a:t>bulletpoint</a:t>
            </a:r>
            <a:r>
              <a:rPr lang="en-US"/>
              <a:t> needs some </a:t>
            </a:r>
            <a:r>
              <a:rPr lang="en-US" err="1"/>
              <a:t>bodycopy</a:t>
            </a:r>
            <a:endParaRPr lang="en-US"/>
          </a:p>
        </p:txBody>
      </p:sp>
      <p:sp>
        <p:nvSpPr>
          <p:cNvPr id="4" name="Tijdelijke aanduiding voor datum 3"/>
          <p:cNvSpPr>
            <a:spLocks noGrp="1"/>
          </p:cNvSpPr>
          <p:nvPr>
            <p:ph type="dt" sz="half" idx="10"/>
          </p:nvPr>
        </p:nvSpPr>
        <p:spPr>
          <a:xfrm>
            <a:off x="1200000" y="6400801"/>
            <a:ext cx="916667" cy="276224"/>
          </a:xfrm>
        </p:spPr>
        <p:txBody>
          <a:bodyPr/>
          <a:lstStyle/>
          <a:p>
            <a:fld id="{71616274-4FE1-42A0-958E-4F8D8C016092}" type="datetime1">
              <a:rPr lang="nl-BE" smtClean="0"/>
              <a:t>30/05/2023</a:t>
            </a:fld>
            <a:endParaRPr lang="nl-BE"/>
          </a:p>
        </p:txBody>
      </p:sp>
      <p:sp>
        <p:nvSpPr>
          <p:cNvPr id="5" name="Tijdelijke aanduiding voor voettekst 4"/>
          <p:cNvSpPr>
            <a:spLocks noGrp="1"/>
          </p:cNvSpPr>
          <p:nvPr>
            <p:ph type="ftr" sz="quarter" idx="11"/>
          </p:nvPr>
        </p:nvSpPr>
        <p:spPr/>
        <p:txBody>
          <a:bodyPr/>
          <a:lstStyle/>
          <a:p>
            <a:endParaRPr lang="nl-BE"/>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tel 1"/>
          <p:cNvSpPr>
            <a:spLocks noGrp="1"/>
          </p:cNvSpPr>
          <p:nvPr>
            <p:ph type="title" hasCustomPrompt="1"/>
          </p:nvPr>
        </p:nvSpPr>
        <p:spPr>
          <a:xfrm>
            <a:off x="609600" y="1183176"/>
            <a:ext cx="10972800" cy="517632"/>
          </a:xfrm>
        </p:spPr>
        <p:txBody>
          <a:bodyPr tIns="0" bIns="0"/>
          <a:lstStyle/>
          <a:p>
            <a:r>
              <a:rPr lang="en-US"/>
              <a:t>This is the title</a:t>
            </a:r>
            <a:endParaRPr lang="nl-BE"/>
          </a:p>
        </p:txBody>
      </p:sp>
      <p:sp>
        <p:nvSpPr>
          <p:cNvPr id="10" name="Tijdelijke aanduiding voor inhoud 2"/>
          <p:cNvSpPr>
            <a:spLocks noGrp="1"/>
          </p:cNvSpPr>
          <p:nvPr>
            <p:ph idx="13"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a:t>This is the subtitle</a:t>
            </a:r>
          </a:p>
        </p:txBody>
      </p:sp>
    </p:spTree>
    <p:extLst>
      <p:ext uri="{BB962C8B-B14F-4D97-AF65-F5344CB8AC3E}">
        <p14:creationId xmlns:p14="http://schemas.microsoft.com/office/powerpoint/2010/main" val="1373112238"/>
      </p:ext>
    </p:extLst>
  </p:cSld>
  <p:clrMapOvr>
    <a:masterClrMapping/>
  </p:clrMapOvr>
  <p:extLst>
    <p:ext uri="{DCECCB84-F9BA-43D5-87BE-67443E8EF086}">
      <p15:sldGuideLst xmlns:p15="http://schemas.microsoft.com/office/powerpoint/2012/main">
        <p15:guide id="1" orient="horz" pos="1253">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Titel en object">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a:xfrm>
            <a:off x="1200000" y="6400801"/>
            <a:ext cx="916667" cy="276224"/>
          </a:xfrm>
        </p:spPr>
        <p:txBody>
          <a:bodyPr/>
          <a:lstStyle/>
          <a:p>
            <a:fld id="{71616274-4FE1-42A0-958E-4F8D8C016092}" type="datetime1">
              <a:rPr lang="nl-BE" smtClean="0"/>
              <a:t>30/05/2023</a:t>
            </a:fld>
            <a:endParaRPr lang="nl-BE"/>
          </a:p>
        </p:txBody>
      </p:sp>
      <p:sp>
        <p:nvSpPr>
          <p:cNvPr id="5" name="Tijdelijke aanduiding voor voettekst 4"/>
          <p:cNvSpPr>
            <a:spLocks noGrp="1"/>
          </p:cNvSpPr>
          <p:nvPr>
            <p:ph type="ftr" sz="quarter" idx="11"/>
          </p:nvPr>
        </p:nvSpPr>
        <p:spPr/>
        <p:txBody>
          <a:bodyPr/>
          <a:lstStyle/>
          <a:p>
            <a:endParaRPr lang="nl-BE"/>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tel 1"/>
          <p:cNvSpPr>
            <a:spLocks noGrp="1"/>
          </p:cNvSpPr>
          <p:nvPr>
            <p:ph type="title" hasCustomPrompt="1"/>
          </p:nvPr>
        </p:nvSpPr>
        <p:spPr>
          <a:xfrm>
            <a:off x="609600" y="1183176"/>
            <a:ext cx="10972800" cy="517632"/>
          </a:xfrm>
        </p:spPr>
        <p:txBody>
          <a:bodyPr tIns="0" bIns="0"/>
          <a:lstStyle/>
          <a:p>
            <a:r>
              <a:rPr lang="en-US"/>
              <a:t>This is the title</a:t>
            </a:r>
            <a:endParaRPr lang="nl-BE"/>
          </a:p>
        </p:txBody>
      </p:sp>
      <p:sp>
        <p:nvSpPr>
          <p:cNvPr id="10" name="Tijdelijke aanduiding voor inhoud 2"/>
          <p:cNvSpPr>
            <a:spLocks noGrp="1"/>
          </p:cNvSpPr>
          <p:nvPr>
            <p:ph idx="13"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a:t>This is the subtitle</a:t>
            </a:r>
          </a:p>
        </p:txBody>
      </p:sp>
      <p:sp>
        <p:nvSpPr>
          <p:cNvPr id="8" name="Tijdelijke aanduiding voor inhoud 2">
            <a:extLst>
              <a:ext uri="{FF2B5EF4-FFF2-40B4-BE49-F238E27FC236}">
                <a16:creationId xmlns:a16="http://schemas.microsoft.com/office/drawing/2014/main" id="{017597B3-D718-4A3E-A590-E2C434D2BEA9}"/>
              </a:ext>
            </a:extLst>
          </p:cNvPr>
          <p:cNvSpPr>
            <a:spLocks noGrp="1"/>
          </p:cNvSpPr>
          <p:nvPr>
            <p:ph idx="1" hasCustomPrompt="1"/>
          </p:nvPr>
        </p:nvSpPr>
        <p:spPr>
          <a:xfrm>
            <a:off x="6096000" y="1989139"/>
            <a:ext cx="5486400" cy="4159885"/>
          </a:xfrm>
        </p:spPr>
        <p:txBody>
          <a:bodyPr/>
          <a:lstStyle/>
          <a:p>
            <a:pPr lvl="0"/>
            <a:r>
              <a:rPr lang="en-US"/>
              <a:t>this could be a </a:t>
            </a:r>
            <a:r>
              <a:rPr lang="en-US" err="1"/>
              <a:t>bulletpoint</a:t>
            </a:r>
            <a:endParaRPr lang="en-US"/>
          </a:p>
          <a:p>
            <a:pPr lvl="0"/>
            <a:r>
              <a:rPr lang="en-US"/>
              <a:t>this could be another </a:t>
            </a:r>
            <a:r>
              <a:rPr lang="en-US" err="1"/>
              <a:t>bulletpoint</a:t>
            </a:r>
            <a:endParaRPr lang="en-US"/>
          </a:p>
          <a:p>
            <a:pPr lvl="0"/>
            <a:r>
              <a:rPr lang="en-US"/>
              <a:t>this could be the third </a:t>
            </a:r>
            <a:r>
              <a:rPr lang="en-US" err="1"/>
              <a:t>bulletpoint</a:t>
            </a:r>
            <a:endParaRPr lang="en-US"/>
          </a:p>
          <a:p>
            <a:pPr lvl="0"/>
            <a:r>
              <a:rPr lang="en-US"/>
              <a:t>this </a:t>
            </a:r>
            <a:r>
              <a:rPr lang="en-US" err="1"/>
              <a:t>bulletpoint</a:t>
            </a:r>
            <a:r>
              <a:rPr lang="en-US"/>
              <a:t> needs some </a:t>
            </a:r>
            <a:r>
              <a:rPr lang="en-US" err="1"/>
              <a:t>bodycopy</a:t>
            </a:r>
            <a:endParaRPr lang="en-US"/>
          </a:p>
        </p:txBody>
      </p:sp>
      <p:sp>
        <p:nvSpPr>
          <p:cNvPr id="11" name="Picture Placeholder 8">
            <a:extLst>
              <a:ext uri="{FF2B5EF4-FFF2-40B4-BE49-F238E27FC236}">
                <a16:creationId xmlns:a16="http://schemas.microsoft.com/office/drawing/2014/main" id="{780B19EB-F64B-481B-96AD-A2BAD35CA904}"/>
              </a:ext>
            </a:extLst>
          </p:cNvPr>
          <p:cNvSpPr>
            <a:spLocks noGrp="1"/>
          </p:cNvSpPr>
          <p:nvPr>
            <p:ph type="pic" sz="quarter" idx="14"/>
          </p:nvPr>
        </p:nvSpPr>
        <p:spPr>
          <a:xfrm>
            <a:off x="609600" y="1989138"/>
            <a:ext cx="5486400" cy="4159250"/>
          </a:xfrm>
        </p:spPr>
        <p:txBody>
          <a:bodyPr/>
          <a:lstStyle/>
          <a:p>
            <a:r>
              <a:rPr lang="en-US"/>
              <a:t>Click icon to add picture</a:t>
            </a:r>
            <a:endParaRPr lang="fr-BE"/>
          </a:p>
        </p:txBody>
      </p:sp>
    </p:spTree>
    <p:extLst>
      <p:ext uri="{BB962C8B-B14F-4D97-AF65-F5344CB8AC3E}">
        <p14:creationId xmlns:p14="http://schemas.microsoft.com/office/powerpoint/2010/main" val="1858784894"/>
      </p:ext>
    </p:extLst>
  </p:cSld>
  <p:clrMapOvr>
    <a:masterClrMapping/>
  </p:clrMapOvr>
  <p:extLst>
    <p:ext uri="{DCECCB84-F9BA-43D5-87BE-67443E8EF086}">
      <p15:sldGuideLst xmlns:p15="http://schemas.microsoft.com/office/powerpoint/2012/main">
        <p15:guide id="1" orient="horz" pos="1253">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09600" y="1183176"/>
            <a:ext cx="10972800" cy="517632"/>
          </a:xfrm>
        </p:spPr>
        <p:txBody>
          <a:bodyPr tIns="0" bIns="0"/>
          <a:lstStyle/>
          <a:p>
            <a:r>
              <a:rPr lang="en-US"/>
              <a:t>This is the title</a:t>
            </a:r>
            <a:endParaRPr lang="nl-BE"/>
          </a:p>
        </p:txBody>
      </p:sp>
      <p:sp>
        <p:nvSpPr>
          <p:cNvPr id="3" name="Tijdelijke aanduiding voor inhoud 2"/>
          <p:cNvSpPr>
            <a:spLocks noGrp="1"/>
          </p:cNvSpPr>
          <p:nvPr>
            <p:ph idx="1" hasCustomPrompt="1"/>
          </p:nvPr>
        </p:nvSpPr>
        <p:spPr>
          <a:xfrm>
            <a:off x="609600" y="880697"/>
            <a:ext cx="10972800" cy="297472"/>
          </a:xfrm>
        </p:spPr>
        <p:txBody>
          <a:bodyPr lIns="90000" bIns="0" anchor="t" anchorCtr="0">
            <a:noAutofit/>
          </a:bodyPr>
          <a:lstStyle>
            <a:lvl1pPr marL="0" indent="0">
              <a:buNone/>
              <a:defRPr>
                <a:solidFill>
                  <a:srgbClr val="A2D3F3"/>
                </a:solidFill>
              </a:defRPr>
            </a:lvl1pPr>
          </a:lstStyle>
          <a:p>
            <a:pPr lvl="0"/>
            <a:r>
              <a:rPr lang="en-US"/>
              <a:t>This is the subtitle</a:t>
            </a:r>
          </a:p>
        </p:txBody>
      </p:sp>
      <p:sp>
        <p:nvSpPr>
          <p:cNvPr id="4" name="Tijdelijke aanduiding voor datum 3"/>
          <p:cNvSpPr>
            <a:spLocks noGrp="1"/>
          </p:cNvSpPr>
          <p:nvPr>
            <p:ph type="dt" sz="half" idx="10"/>
          </p:nvPr>
        </p:nvSpPr>
        <p:spPr/>
        <p:txBody>
          <a:bodyPr/>
          <a:lstStyle/>
          <a:p>
            <a:fld id="{4D248814-E055-43D5-9498-4B06A7BA5130}" type="datetime1">
              <a:rPr lang="nl-BE" smtClean="0"/>
              <a:t>30/05/2023</a:t>
            </a:fld>
            <a:endParaRPr lang="nl-BE"/>
          </a:p>
        </p:txBody>
      </p:sp>
      <p:sp>
        <p:nvSpPr>
          <p:cNvPr id="5" name="Tijdelijke aanduiding voor voettekst 4"/>
          <p:cNvSpPr>
            <a:spLocks noGrp="1"/>
          </p:cNvSpPr>
          <p:nvPr>
            <p:ph type="ftr" sz="quarter" idx="11"/>
          </p:nvPr>
        </p:nvSpPr>
        <p:spPr/>
        <p:txBody>
          <a:bodyPr/>
          <a:lstStyle/>
          <a:p>
            <a:endParaRPr lang="nl-BE"/>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12" name="Tijdelijke aanduiding voor grafiek 11"/>
          <p:cNvSpPr>
            <a:spLocks noGrp="1"/>
          </p:cNvSpPr>
          <p:nvPr>
            <p:ph type="chart" sz="quarter" idx="13" hasCustomPrompt="1"/>
          </p:nvPr>
        </p:nvSpPr>
        <p:spPr>
          <a:xfrm>
            <a:off x="1583499" y="1989138"/>
            <a:ext cx="4319885" cy="3384550"/>
          </a:xfrm>
        </p:spPr>
        <p:txBody>
          <a:bodyPr lIns="90000"/>
          <a:lstStyle>
            <a:lvl1pPr marL="0" indent="0" algn="ctr">
              <a:buNone/>
              <a:defRPr/>
            </a:lvl1pPr>
          </a:lstStyle>
          <a:p>
            <a:r>
              <a:rPr lang="nl-BE"/>
              <a:t>CHART</a:t>
            </a:r>
          </a:p>
        </p:txBody>
      </p:sp>
      <p:sp>
        <p:nvSpPr>
          <p:cNvPr id="13" name="Tijdelijke aanduiding voor grafiek 11"/>
          <p:cNvSpPr>
            <a:spLocks noGrp="1"/>
          </p:cNvSpPr>
          <p:nvPr>
            <p:ph type="chart" sz="quarter" idx="14" hasCustomPrompt="1"/>
          </p:nvPr>
        </p:nvSpPr>
        <p:spPr>
          <a:xfrm>
            <a:off x="6288022" y="1989138"/>
            <a:ext cx="4319885" cy="3384550"/>
          </a:xfrm>
        </p:spPr>
        <p:txBody>
          <a:bodyPr lIns="90000"/>
          <a:lstStyle>
            <a:lvl1pPr marL="0" indent="0" algn="ctr">
              <a:buNone/>
              <a:defRPr/>
            </a:lvl1pPr>
          </a:lstStyle>
          <a:p>
            <a:r>
              <a:rPr lang="nl-BE"/>
              <a:t>CHART</a:t>
            </a:r>
          </a:p>
        </p:txBody>
      </p:sp>
    </p:spTree>
    <p:extLst>
      <p:ext uri="{BB962C8B-B14F-4D97-AF65-F5344CB8AC3E}">
        <p14:creationId xmlns:p14="http://schemas.microsoft.com/office/powerpoint/2010/main" val="40254779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a:t>This is the title of the subject on this page</a:t>
            </a:r>
            <a:endParaRPr lang="nl-BE"/>
          </a:p>
        </p:txBody>
      </p:sp>
      <p:sp>
        <p:nvSpPr>
          <p:cNvPr id="4" name="Tijdelijke aanduiding voor datum 3"/>
          <p:cNvSpPr>
            <a:spLocks noGrp="1"/>
          </p:cNvSpPr>
          <p:nvPr>
            <p:ph type="dt" sz="half" idx="10"/>
          </p:nvPr>
        </p:nvSpPr>
        <p:spPr/>
        <p:txBody>
          <a:bodyPr/>
          <a:lstStyle/>
          <a:p>
            <a:fld id="{9CCAA75D-0E89-49C5-B1F4-89D39FFCAE05}" type="datetime1">
              <a:rPr lang="nl-BE" smtClean="0"/>
              <a:t>30/05/2023</a:t>
            </a:fld>
            <a:endParaRPr lang="nl-BE"/>
          </a:p>
        </p:txBody>
      </p:sp>
      <p:sp>
        <p:nvSpPr>
          <p:cNvPr id="5" name="Tijdelijke aanduiding voor voettekst 4"/>
          <p:cNvSpPr>
            <a:spLocks noGrp="1"/>
          </p:cNvSpPr>
          <p:nvPr>
            <p:ph type="ftr" sz="quarter" idx="11"/>
          </p:nvPr>
        </p:nvSpPr>
        <p:spPr/>
        <p:txBody>
          <a:bodyPr/>
          <a:lstStyle/>
          <a:p>
            <a:endParaRPr lang="nl-BE"/>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t>‹nr.›</a:t>
            </a:fld>
            <a:endParaRPr lang="nl-BE"/>
          </a:p>
        </p:txBody>
      </p:sp>
      <p:sp>
        <p:nvSpPr>
          <p:cNvPr id="9" name="Tijdelijke aanduiding voor grafiek 8"/>
          <p:cNvSpPr>
            <a:spLocks noGrp="1"/>
          </p:cNvSpPr>
          <p:nvPr>
            <p:ph type="chart" sz="quarter" idx="13" hasCustomPrompt="1"/>
          </p:nvPr>
        </p:nvSpPr>
        <p:spPr>
          <a:xfrm>
            <a:off x="1515533" y="2276476"/>
            <a:ext cx="2275417" cy="2232025"/>
          </a:xfrm>
        </p:spPr>
        <p:txBody>
          <a:bodyPr lIns="90000">
            <a:noAutofit/>
          </a:bodyPr>
          <a:lstStyle>
            <a:lvl1pPr marL="0" indent="0" algn="ctr">
              <a:buNone/>
              <a:defRPr sz="1200" b="1" spc="0"/>
            </a:lvl1pPr>
          </a:lstStyle>
          <a:p>
            <a:r>
              <a:rPr lang="nl-BE"/>
              <a:t>CHART</a:t>
            </a:r>
          </a:p>
        </p:txBody>
      </p:sp>
      <p:sp>
        <p:nvSpPr>
          <p:cNvPr id="11" name="Tijdelijke aanduiding voor grafiek 8"/>
          <p:cNvSpPr>
            <a:spLocks noGrp="1"/>
          </p:cNvSpPr>
          <p:nvPr>
            <p:ph type="chart" sz="quarter" idx="14" hasCustomPrompt="1"/>
          </p:nvPr>
        </p:nvSpPr>
        <p:spPr>
          <a:xfrm>
            <a:off x="3790950" y="2276476"/>
            <a:ext cx="2275417" cy="2232025"/>
          </a:xfrm>
        </p:spPr>
        <p:txBody>
          <a:bodyPr lIns="90000">
            <a:noAutofit/>
          </a:bodyPr>
          <a:lstStyle>
            <a:lvl1pPr marL="0" indent="0" algn="ctr">
              <a:buNone/>
              <a:defRPr sz="1200" b="1" spc="0"/>
            </a:lvl1pPr>
          </a:lstStyle>
          <a:p>
            <a:r>
              <a:rPr lang="nl-BE"/>
              <a:t>CHART</a:t>
            </a:r>
          </a:p>
        </p:txBody>
      </p:sp>
      <p:sp>
        <p:nvSpPr>
          <p:cNvPr id="12" name="Tijdelijke aanduiding voor grafiek 8"/>
          <p:cNvSpPr>
            <a:spLocks noGrp="1"/>
          </p:cNvSpPr>
          <p:nvPr>
            <p:ph type="chart" sz="quarter" idx="15" hasCustomPrompt="1"/>
          </p:nvPr>
        </p:nvSpPr>
        <p:spPr>
          <a:xfrm>
            <a:off x="6066368" y="2276476"/>
            <a:ext cx="2275417" cy="2232025"/>
          </a:xfrm>
        </p:spPr>
        <p:txBody>
          <a:bodyPr lIns="90000">
            <a:noAutofit/>
          </a:bodyPr>
          <a:lstStyle>
            <a:lvl1pPr marL="0" indent="0" algn="ctr">
              <a:buNone/>
              <a:defRPr sz="1200" b="1" spc="0"/>
            </a:lvl1pPr>
          </a:lstStyle>
          <a:p>
            <a:r>
              <a:rPr lang="nl-BE"/>
              <a:t>CHART</a:t>
            </a:r>
          </a:p>
        </p:txBody>
      </p:sp>
      <p:sp>
        <p:nvSpPr>
          <p:cNvPr id="13" name="Tijdelijke aanduiding voor grafiek 8"/>
          <p:cNvSpPr>
            <a:spLocks noGrp="1"/>
          </p:cNvSpPr>
          <p:nvPr>
            <p:ph type="chart" sz="quarter" idx="16" hasCustomPrompt="1"/>
          </p:nvPr>
        </p:nvSpPr>
        <p:spPr>
          <a:xfrm>
            <a:off x="8341785" y="2276476"/>
            <a:ext cx="2275417" cy="2232025"/>
          </a:xfrm>
        </p:spPr>
        <p:txBody>
          <a:bodyPr lIns="90000">
            <a:noAutofit/>
          </a:bodyPr>
          <a:lstStyle>
            <a:lvl1pPr marL="0" indent="0" algn="ctr">
              <a:buNone/>
              <a:defRPr sz="1200" b="1" spc="0"/>
            </a:lvl1pPr>
          </a:lstStyle>
          <a:p>
            <a:r>
              <a:rPr lang="nl-BE"/>
              <a:t>CHART</a:t>
            </a:r>
          </a:p>
        </p:txBody>
      </p:sp>
    </p:spTree>
    <p:extLst>
      <p:ext uri="{BB962C8B-B14F-4D97-AF65-F5344CB8AC3E}">
        <p14:creationId xmlns:p14="http://schemas.microsoft.com/office/powerpoint/2010/main" val="13512281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angepaste indelin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a:t>This is the title of the subject on this page</a:t>
            </a:r>
            <a:endParaRPr lang="nl-BE"/>
          </a:p>
        </p:txBody>
      </p:sp>
      <p:sp>
        <p:nvSpPr>
          <p:cNvPr id="3" name="Tijdelijke aanduiding voor datum 2"/>
          <p:cNvSpPr>
            <a:spLocks noGrp="1"/>
          </p:cNvSpPr>
          <p:nvPr>
            <p:ph type="dt" sz="half" idx="10"/>
          </p:nvPr>
        </p:nvSpPr>
        <p:spPr/>
        <p:txBody>
          <a:bodyPr/>
          <a:lstStyle/>
          <a:p>
            <a:fld id="{394400BF-F442-49AE-A647-2CAEF8151DDA}" type="datetime1">
              <a:rPr lang="nl-BE" smtClean="0"/>
              <a:t>30/05/2023</a:t>
            </a:fld>
            <a:endParaRPr lang="nl-BE"/>
          </a:p>
        </p:txBody>
      </p:sp>
      <p:sp>
        <p:nvSpPr>
          <p:cNvPr id="4" name="Tijdelijke aanduiding voor voettekst 3"/>
          <p:cNvSpPr>
            <a:spLocks noGrp="1"/>
          </p:cNvSpPr>
          <p:nvPr>
            <p:ph type="ftr" sz="quarter" idx="11"/>
          </p:nvPr>
        </p:nvSpPr>
        <p:spPr/>
        <p:txBody>
          <a:bodyPr/>
          <a:lstStyle/>
          <a:p>
            <a:endParaRPr lang="nl-BE"/>
          </a:p>
        </p:txBody>
      </p:sp>
      <p:sp>
        <p:nvSpPr>
          <p:cNvPr id="5" name="Tijdelijke aanduiding voor dianummer 4"/>
          <p:cNvSpPr>
            <a:spLocks noGrp="1"/>
          </p:cNvSpPr>
          <p:nvPr>
            <p:ph type="sldNum" sz="quarter" idx="12"/>
          </p:nvPr>
        </p:nvSpPr>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4030887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pic>
        <p:nvPicPr>
          <p:cNvPr id="10" name="Picture 9" descr="A person holding a cell phone&#10;&#10;Description automatically generated with medium confidence">
            <a:extLst>
              <a:ext uri="{FF2B5EF4-FFF2-40B4-BE49-F238E27FC236}">
                <a16:creationId xmlns:a16="http://schemas.microsoft.com/office/drawing/2014/main" id="{934182A7-9427-4408-AC29-18553F1200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0062" b="15127"/>
          <a:stretch/>
        </p:blipFill>
        <p:spPr>
          <a:xfrm>
            <a:off x="0" y="0"/>
            <a:ext cx="12192000" cy="6092825"/>
          </a:xfrm>
          <a:prstGeom prst="rect">
            <a:avLst/>
          </a:prstGeom>
        </p:spPr>
      </p:pic>
      <p:sp>
        <p:nvSpPr>
          <p:cNvPr id="2" name="Title 1">
            <a:extLst>
              <a:ext uri="{FF2B5EF4-FFF2-40B4-BE49-F238E27FC236}">
                <a16:creationId xmlns:a16="http://schemas.microsoft.com/office/drawing/2014/main" id="{6C21CCD6-8F4D-4A53-95EB-C8069CEBB0CA}"/>
              </a:ext>
            </a:extLst>
          </p:cNvPr>
          <p:cNvSpPr>
            <a:spLocks noGrp="1"/>
          </p:cNvSpPr>
          <p:nvPr>
            <p:ph type="title"/>
          </p:nvPr>
        </p:nvSpPr>
        <p:spPr>
          <a:xfrm>
            <a:off x="609600" y="730560"/>
            <a:ext cx="11727093" cy="394184"/>
          </a:xfrm>
          <a:solidFill>
            <a:schemeClr val="accent4">
              <a:lumMod val="60000"/>
              <a:lumOff val="40000"/>
              <a:alpha val="70000"/>
            </a:schemeClr>
          </a:solidFill>
          <a:effectLst>
            <a:softEdge rad="31750"/>
          </a:effectLst>
        </p:spPr>
        <p:txBody>
          <a:bodyPr/>
          <a:lstStyle/>
          <a:p>
            <a:r>
              <a:rPr lang="en-US"/>
              <a:t>Click to edit Master title style</a:t>
            </a:r>
            <a:endParaRPr lang="fr-BE"/>
          </a:p>
        </p:txBody>
      </p:sp>
      <p:sp>
        <p:nvSpPr>
          <p:cNvPr id="3" name="Date Placeholder 2">
            <a:extLst>
              <a:ext uri="{FF2B5EF4-FFF2-40B4-BE49-F238E27FC236}">
                <a16:creationId xmlns:a16="http://schemas.microsoft.com/office/drawing/2014/main" id="{6F0E44D4-74EC-4EB5-8A52-271E8253C1DD}"/>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F8192B2E-FAFB-4061-A6BB-71BA60DD6D43}"/>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8B6D13A0-4A44-4640-9276-E83E86099207}"/>
              </a:ext>
            </a:extLst>
          </p:cNvPr>
          <p:cNvSpPr>
            <a:spLocks noGrp="1"/>
          </p:cNvSpPr>
          <p:nvPr>
            <p:ph type="sldNum" sz="quarter" idx="12"/>
          </p:nvPr>
        </p:nvSpPr>
        <p:spPr/>
        <p:txBody>
          <a:body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311745590"/>
      </p:ext>
    </p:extLst>
  </p:cSld>
  <p:clrMapOvr>
    <a:masterClrMapping/>
  </p:clrMapOvr>
  <p:extLst>
    <p:ext uri="{DCECCB84-F9BA-43D5-87BE-67443E8EF086}">
      <p15:sldGuideLst xmlns:p15="http://schemas.microsoft.com/office/powerpoint/2012/main">
        <p15:guide id="1" orient="horz" pos="3838" userDrawn="1">
          <p15:clr>
            <a:srgbClr val="FBAE40"/>
          </p15:clr>
        </p15:guide>
        <p15:guide id="2" pos="384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Aangepaste indeling">
    <p:spTree>
      <p:nvGrpSpPr>
        <p:cNvPr id="1" name=""/>
        <p:cNvGrpSpPr/>
        <p:nvPr/>
      </p:nvGrpSpPr>
      <p:grpSpPr>
        <a:xfrm>
          <a:off x="0" y="0"/>
          <a:ext cx="0" cy="0"/>
          <a:chOff x="0" y="0"/>
          <a:chExt cx="0" cy="0"/>
        </a:xfrm>
      </p:grpSpPr>
      <p:sp>
        <p:nvSpPr>
          <p:cNvPr id="2" name="Tijdelijke aanduiding voor datum 2"/>
          <p:cNvSpPr>
            <a:spLocks noGrp="1"/>
          </p:cNvSpPr>
          <p:nvPr>
            <p:ph type="dt" sz="half" idx="10"/>
          </p:nvPr>
        </p:nvSpPr>
        <p:spPr>
          <a:xfrm>
            <a:off x="1199456" y="6400801"/>
            <a:ext cx="917211" cy="276224"/>
          </a:xfrm>
        </p:spPr>
        <p:txBody>
          <a:bodyPr/>
          <a:lstStyle/>
          <a:p>
            <a:fld id="{394400BF-F442-49AE-A647-2CAEF8151DDA}" type="datetime1">
              <a:rPr lang="nl-BE" smtClean="0"/>
              <a:t>30/05/2023</a:t>
            </a:fld>
            <a:endParaRPr lang="nl-BE"/>
          </a:p>
        </p:txBody>
      </p:sp>
      <p:sp>
        <p:nvSpPr>
          <p:cNvPr id="3" name="Tijdelijke aanduiding voor voettekst 3"/>
          <p:cNvSpPr>
            <a:spLocks noGrp="1"/>
          </p:cNvSpPr>
          <p:nvPr>
            <p:ph type="ftr" sz="quarter" idx="11"/>
          </p:nvPr>
        </p:nvSpPr>
        <p:spPr>
          <a:xfrm>
            <a:off x="2116667" y="6400801"/>
            <a:ext cx="8313605" cy="276224"/>
          </a:xfrm>
        </p:spPr>
        <p:txBody>
          <a:bodyPr/>
          <a:lstStyle/>
          <a:p>
            <a:endParaRPr lang="nl-BE"/>
          </a:p>
        </p:txBody>
      </p:sp>
      <p:sp>
        <p:nvSpPr>
          <p:cNvPr id="4" name="Tijdelijke aanduiding voor dianummer 4"/>
          <p:cNvSpPr>
            <a:spLocks noGrp="1"/>
          </p:cNvSpPr>
          <p:nvPr>
            <p:ph type="sldNum" sz="quarter" idx="12"/>
          </p:nvPr>
        </p:nvSpPr>
        <p:spPr>
          <a:xfrm>
            <a:off x="609600" y="6400801"/>
            <a:ext cx="589856" cy="276224"/>
          </a:xfrm>
        </p:spPr>
        <p:txBody>
          <a:bodyPr/>
          <a:lstStyle/>
          <a:p>
            <a:fld id="{9BE375CD-4755-4D83-B134-E6AD5007676A}" type="slidenum">
              <a:rPr lang="nl-BE" smtClean="0"/>
              <a:pPr/>
              <a:t>‹nr.›</a:t>
            </a:fld>
            <a:endParaRPr lang="nl-BE"/>
          </a:p>
        </p:txBody>
      </p:sp>
    </p:spTree>
    <p:extLst>
      <p:ext uri="{BB962C8B-B14F-4D97-AF65-F5344CB8AC3E}">
        <p14:creationId xmlns:p14="http://schemas.microsoft.com/office/powerpoint/2010/main" val="29412464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40D82A9-C6DC-4688-8550-FB4FBBAEF283}"/>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AC71F9D0-7AF8-4235-8B54-26D0D9A3AC65}"/>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1AB4985D-A473-4776-8DC6-99AFC8FC4D81}"/>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TextBox 5">
            <a:extLst>
              <a:ext uri="{FF2B5EF4-FFF2-40B4-BE49-F238E27FC236}">
                <a16:creationId xmlns:a16="http://schemas.microsoft.com/office/drawing/2014/main" id="{E1D11F7E-B408-447B-8DB2-4FD010DBB6D8}"/>
              </a:ext>
            </a:extLst>
          </p:cNvPr>
          <p:cNvSpPr txBox="1"/>
          <p:nvPr userDrawn="1"/>
        </p:nvSpPr>
        <p:spPr bwMode="auto">
          <a:xfrm>
            <a:off x="2159563" y="1700809"/>
            <a:ext cx="9505387" cy="664689"/>
          </a:xfrm>
          <a:prstGeom prst="flowChartProcess">
            <a:avLst/>
          </a:prstGeom>
          <a:solidFill>
            <a:schemeClr val="bg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132923" rIns="66462" rtlCol="0" anchor="ctr">
            <a:noAutofit/>
          </a:bodyPr>
          <a:lstStyle/>
          <a:p>
            <a:r>
              <a:rPr lang="en-GB" sz="1200" b="1"/>
              <a:t>………………………………………………………………………………………………….</a:t>
            </a:r>
          </a:p>
        </p:txBody>
      </p:sp>
      <p:sp>
        <p:nvSpPr>
          <p:cNvPr id="7" name="TextBox 6">
            <a:extLst>
              <a:ext uri="{FF2B5EF4-FFF2-40B4-BE49-F238E27FC236}">
                <a16:creationId xmlns:a16="http://schemas.microsoft.com/office/drawing/2014/main" id="{B2F6F8DC-7C44-48B9-B32A-9DE03459A1F4}"/>
              </a:ext>
            </a:extLst>
          </p:cNvPr>
          <p:cNvSpPr txBox="1"/>
          <p:nvPr userDrawn="1"/>
        </p:nvSpPr>
        <p:spPr bwMode="auto">
          <a:xfrm>
            <a:off x="2159563" y="2498436"/>
            <a:ext cx="9505387" cy="664689"/>
          </a:xfrm>
          <a:prstGeom prst="flowChartProcess">
            <a:avLst/>
          </a:prstGeom>
          <a:solidFill>
            <a:schemeClr val="bg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132923" rIns="66462" rtlCol="0" anchor="ctr">
            <a:noAutofit/>
          </a:bodyPr>
          <a:lstStyle/>
          <a:p>
            <a:r>
              <a:rPr lang="en-GB" sz="1200" b="1"/>
              <a:t>………………………………………………………………………………………………………</a:t>
            </a:r>
          </a:p>
        </p:txBody>
      </p:sp>
      <p:sp>
        <p:nvSpPr>
          <p:cNvPr id="8" name="TextBox 7">
            <a:extLst>
              <a:ext uri="{FF2B5EF4-FFF2-40B4-BE49-F238E27FC236}">
                <a16:creationId xmlns:a16="http://schemas.microsoft.com/office/drawing/2014/main" id="{2F472D23-7957-4EBB-9BFE-4857A67655B2}"/>
              </a:ext>
            </a:extLst>
          </p:cNvPr>
          <p:cNvSpPr txBox="1"/>
          <p:nvPr userDrawn="1"/>
        </p:nvSpPr>
        <p:spPr bwMode="auto">
          <a:xfrm>
            <a:off x="2159563" y="3296063"/>
            <a:ext cx="9505387" cy="664689"/>
          </a:xfrm>
          <a:prstGeom prst="flowChartProcess">
            <a:avLst/>
          </a:prstGeom>
          <a:solidFill>
            <a:schemeClr val="bg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132923" rIns="66462" rtlCol="0" anchor="ctr">
            <a:noAutofit/>
          </a:bodyPr>
          <a:lstStyle/>
          <a:p>
            <a:r>
              <a:rPr lang="en-GB" sz="1200" b="1"/>
              <a:t>…………………………………………………………………………………………………………</a:t>
            </a:r>
          </a:p>
        </p:txBody>
      </p:sp>
      <p:sp>
        <p:nvSpPr>
          <p:cNvPr id="9" name="TextBox 8">
            <a:extLst>
              <a:ext uri="{FF2B5EF4-FFF2-40B4-BE49-F238E27FC236}">
                <a16:creationId xmlns:a16="http://schemas.microsoft.com/office/drawing/2014/main" id="{0791459C-FE45-4472-8A22-718422CCDFAD}"/>
              </a:ext>
            </a:extLst>
          </p:cNvPr>
          <p:cNvSpPr txBox="1"/>
          <p:nvPr userDrawn="1"/>
        </p:nvSpPr>
        <p:spPr bwMode="auto">
          <a:xfrm>
            <a:off x="1332695" y="1700809"/>
            <a:ext cx="634847" cy="664689"/>
          </a:xfrm>
          <a:prstGeom prst="flowChartPunchedCard">
            <a:avLst/>
          </a:prstGeom>
          <a:solidFill>
            <a:schemeClr val="accent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latin typeface="+mn-lt"/>
              </a:rPr>
              <a:t>1</a:t>
            </a:r>
          </a:p>
        </p:txBody>
      </p:sp>
      <p:sp>
        <p:nvSpPr>
          <p:cNvPr id="10" name="TextBox 9">
            <a:extLst>
              <a:ext uri="{FF2B5EF4-FFF2-40B4-BE49-F238E27FC236}">
                <a16:creationId xmlns:a16="http://schemas.microsoft.com/office/drawing/2014/main" id="{B9149088-FD60-4327-BC21-269424ED40A7}"/>
              </a:ext>
            </a:extLst>
          </p:cNvPr>
          <p:cNvSpPr txBox="1"/>
          <p:nvPr userDrawn="1"/>
        </p:nvSpPr>
        <p:spPr bwMode="auto">
          <a:xfrm>
            <a:off x="1332695" y="2498436"/>
            <a:ext cx="634847" cy="664689"/>
          </a:xfrm>
          <a:prstGeom prst="flowChartPunchedCard">
            <a:avLst/>
          </a:prstGeom>
          <a:solidFill>
            <a:schemeClr val="accent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latin typeface="+mn-lt"/>
              </a:rPr>
              <a:t>2</a:t>
            </a:r>
          </a:p>
        </p:txBody>
      </p:sp>
      <p:sp>
        <p:nvSpPr>
          <p:cNvPr id="11" name="TextBox 10">
            <a:extLst>
              <a:ext uri="{FF2B5EF4-FFF2-40B4-BE49-F238E27FC236}">
                <a16:creationId xmlns:a16="http://schemas.microsoft.com/office/drawing/2014/main" id="{D416D1F0-AD89-4C38-AD9C-654D4B66E045}"/>
              </a:ext>
            </a:extLst>
          </p:cNvPr>
          <p:cNvSpPr txBox="1"/>
          <p:nvPr userDrawn="1"/>
        </p:nvSpPr>
        <p:spPr bwMode="auto">
          <a:xfrm>
            <a:off x="1332695" y="3296063"/>
            <a:ext cx="634847" cy="664689"/>
          </a:xfrm>
          <a:prstGeom prst="flowChartPunchedCard">
            <a:avLst/>
          </a:prstGeom>
          <a:solidFill>
            <a:schemeClr val="accent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latin typeface="+mn-lt"/>
              </a:rPr>
              <a:t>3</a:t>
            </a:r>
          </a:p>
        </p:txBody>
      </p:sp>
      <p:sp>
        <p:nvSpPr>
          <p:cNvPr id="12" name="Title 2">
            <a:extLst>
              <a:ext uri="{FF2B5EF4-FFF2-40B4-BE49-F238E27FC236}">
                <a16:creationId xmlns:a16="http://schemas.microsoft.com/office/drawing/2014/main" id="{78052F23-D566-436A-A2A8-50037231CFEC}"/>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Tree>
    <p:extLst>
      <p:ext uri="{BB962C8B-B14F-4D97-AF65-F5344CB8AC3E}">
        <p14:creationId xmlns:p14="http://schemas.microsoft.com/office/powerpoint/2010/main" val="6866559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5D0DDDD-09D2-470D-83F7-3D7DBF0382DD}"/>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A45E73DA-6F7D-4FFA-A6A2-C10D4E170AB5}"/>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2251C796-8AE9-45A8-82F0-450DB7390B44}"/>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18" name="Title 1">
            <a:extLst>
              <a:ext uri="{FF2B5EF4-FFF2-40B4-BE49-F238E27FC236}">
                <a16:creationId xmlns:a16="http://schemas.microsoft.com/office/drawing/2014/main" id="{4557F330-1915-4BF1-93B8-FC35570A4846}"/>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19" name="TextBox 18">
            <a:extLst>
              <a:ext uri="{FF2B5EF4-FFF2-40B4-BE49-F238E27FC236}">
                <a16:creationId xmlns:a16="http://schemas.microsoft.com/office/drawing/2014/main" id="{5DFA3B45-CA6E-487B-AB96-B14560716F13}"/>
              </a:ext>
            </a:extLst>
          </p:cNvPr>
          <p:cNvSpPr txBox="1"/>
          <p:nvPr userDrawn="1"/>
        </p:nvSpPr>
        <p:spPr bwMode="auto">
          <a:xfrm>
            <a:off x="11255623" y="712343"/>
            <a:ext cx="409328" cy="428570"/>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solidFill>
                  <a:schemeClr val="tx1">
                    <a:lumMod val="75000"/>
                    <a:lumOff val="25000"/>
                  </a:schemeClr>
                </a:solidFill>
                <a:latin typeface="+mn-lt"/>
              </a:rPr>
              <a:t>1</a:t>
            </a:r>
          </a:p>
        </p:txBody>
      </p:sp>
      <p:sp>
        <p:nvSpPr>
          <p:cNvPr id="20" name="Hexagon 19">
            <a:extLst>
              <a:ext uri="{FF2B5EF4-FFF2-40B4-BE49-F238E27FC236}">
                <a16:creationId xmlns:a16="http://schemas.microsoft.com/office/drawing/2014/main" id="{F72836AE-6EAF-40E3-96B7-D6E32F30E2E1}"/>
              </a:ext>
            </a:extLst>
          </p:cNvPr>
          <p:cNvSpPr/>
          <p:nvPr userDrawn="1"/>
        </p:nvSpPr>
        <p:spPr>
          <a:xfrm>
            <a:off x="2567608" y="2631373"/>
            <a:ext cx="1994068" cy="1528785"/>
          </a:xfrm>
          <a:prstGeom prst="hexagon">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GB" sz="1400">
              <a:solidFill>
                <a:schemeClr val="tx1">
                  <a:lumMod val="75000"/>
                  <a:lumOff val="25000"/>
                </a:schemeClr>
              </a:solidFill>
            </a:endParaRPr>
          </a:p>
        </p:txBody>
      </p:sp>
      <p:sp>
        <p:nvSpPr>
          <p:cNvPr id="21" name="Hexagon 20">
            <a:extLst>
              <a:ext uri="{FF2B5EF4-FFF2-40B4-BE49-F238E27FC236}">
                <a16:creationId xmlns:a16="http://schemas.microsoft.com/office/drawing/2014/main" id="{DBFC7063-9E06-4D34-9731-A8889E3F384C}"/>
              </a:ext>
            </a:extLst>
          </p:cNvPr>
          <p:cNvSpPr/>
          <p:nvPr userDrawn="1"/>
        </p:nvSpPr>
        <p:spPr>
          <a:xfrm>
            <a:off x="4295800" y="3453926"/>
            <a:ext cx="1994068" cy="1528785"/>
          </a:xfrm>
          <a:prstGeom prst="hexagon">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400" b="1">
              <a:solidFill>
                <a:schemeClr val="tx1">
                  <a:lumMod val="75000"/>
                  <a:lumOff val="25000"/>
                </a:schemeClr>
              </a:solidFill>
            </a:endParaRPr>
          </a:p>
        </p:txBody>
      </p:sp>
      <p:sp>
        <p:nvSpPr>
          <p:cNvPr id="22" name="Hexagon 21">
            <a:extLst>
              <a:ext uri="{FF2B5EF4-FFF2-40B4-BE49-F238E27FC236}">
                <a16:creationId xmlns:a16="http://schemas.microsoft.com/office/drawing/2014/main" id="{4EBF9D12-EEF3-49E5-9B87-8F5D782E8ACD}"/>
              </a:ext>
            </a:extLst>
          </p:cNvPr>
          <p:cNvSpPr/>
          <p:nvPr userDrawn="1"/>
        </p:nvSpPr>
        <p:spPr>
          <a:xfrm>
            <a:off x="6023992" y="2631373"/>
            <a:ext cx="1994068" cy="1528785"/>
          </a:xfrm>
          <a:prstGeom prst="hexagon">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400">
              <a:solidFill>
                <a:schemeClr val="tx1">
                  <a:lumMod val="75000"/>
                  <a:lumOff val="25000"/>
                </a:schemeClr>
              </a:solidFill>
            </a:endParaRPr>
          </a:p>
        </p:txBody>
      </p:sp>
      <p:sp>
        <p:nvSpPr>
          <p:cNvPr id="23" name="Hexagon 22">
            <a:extLst>
              <a:ext uri="{FF2B5EF4-FFF2-40B4-BE49-F238E27FC236}">
                <a16:creationId xmlns:a16="http://schemas.microsoft.com/office/drawing/2014/main" id="{EFE6ADFA-A941-4024-A7DA-A488E42293ED}"/>
              </a:ext>
            </a:extLst>
          </p:cNvPr>
          <p:cNvSpPr/>
          <p:nvPr userDrawn="1"/>
        </p:nvSpPr>
        <p:spPr>
          <a:xfrm>
            <a:off x="6023992" y="4276479"/>
            <a:ext cx="1994068" cy="1528785"/>
          </a:xfrm>
          <a:prstGeom prst="hexagon">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400" b="1">
              <a:solidFill>
                <a:schemeClr val="tx1">
                  <a:lumMod val="75000"/>
                  <a:lumOff val="25000"/>
                </a:schemeClr>
              </a:solidFill>
            </a:endParaRPr>
          </a:p>
        </p:txBody>
      </p:sp>
      <p:sp>
        <p:nvSpPr>
          <p:cNvPr id="24" name="Hexagon 23">
            <a:extLst>
              <a:ext uri="{FF2B5EF4-FFF2-40B4-BE49-F238E27FC236}">
                <a16:creationId xmlns:a16="http://schemas.microsoft.com/office/drawing/2014/main" id="{AFAA083D-08C4-4CC9-9391-F5585D83BE21}"/>
              </a:ext>
            </a:extLst>
          </p:cNvPr>
          <p:cNvSpPr/>
          <p:nvPr userDrawn="1"/>
        </p:nvSpPr>
        <p:spPr>
          <a:xfrm>
            <a:off x="7752184" y="1817129"/>
            <a:ext cx="1994068" cy="1528785"/>
          </a:xfrm>
          <a:prstGeom prst="hexagon">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400" b="1">
              <a:solidFill>
                <a:schemeClr val="tx1">
                  <a:lumMod val="75000"/>
                  <a:lumOff val="25000"/>
                </a:schemeClr>
              </a:solidFill>
            </a:endParaRPr>
          </a:p>
        </p:txBody>
      </p:sp>
      <p:sp>
        <p:nvSpPr>
          <p:cNvPr id="25" name="Hexagon 24">
            <a:extLst>
              <a:ext uri="{FF2B5EF4-FFF2-40B4-BE49-F238E27FC236}">
                <a16:creationId xmlns:a16="http://schemas.microsoft.com/office/drawing/2014/main" id="{E9626AB5-B57F-4730-88C4-1FEA5545B3C6}"/>
              </a:ext>
            </a:extLst>
          </p:cNvPr>
          <p:cNvSpPr/>
          <p:nvPr userDrawn="1"/>
        </p:nvSpPr>
        <p:spPr>
          <a:xfrm>
            <a:off x="4295800" y="1817129"/>
            <a:ext cx="1994068" cy="1528785"/>
          </a:xfrm>
          <a:prstGeom prst="hexagon">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400">
              <a:solidFill>
                <a:schemeClr val="tx1">
                  <a:lumMod val="75000"/>
                  <a:lumOff val="25000"/>
                </a:schemeClr>
              </a:solidFill>
            </a:endParaRPr>
          </a:p>
        </p:txBody>
      </p:sp>
      <p:sp>
        <p:nvSpPr>
          <p:cNvPr id="26" name="Rectangle 25">
            <a:extLst>
              <a:ext uri="{FF2B5EF4-FFF2-40B4-BE49-F238E27FC236}">
                <a16:creationId xmlns:a16="http://schemas.microsoft.com/office/drawing/2014/main" id="{10D70B1F-1E3E-4995-8659-898B836D9B53}"/>
              </a:ext>
            </a:extLst>
          </p:cNvPr>
          <p:cNvSpPr/>
          <p:nvPr userDrawn="1"/>
        </p:nvSpPr>
        <p:spPr>
          <a:xfrm>
            <a:off x="2567608" y="2631373"/>
            <a:ext cx="1994068" cy="1528785"/>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err="1">
                <a:solidFill>
                  <a:schemeClr val="tx1">
                    <a:lumMod val="75000"/>
                    <a:lumOff val="25000"/>
                  </a:schemeClr>
                </a:solidFill>
              </a:rPr>
              <a:t>Aaaaaaaaaaaaaaaa</a:t>
            </a:r>
            <a:r>
              <a:rPr lang="en-GB" sz="1400">
                <a:solidFill>
                  <a:schemeClr val="tx1">
                    <a:lumMod val="75000"/>
                    <a:lumOff val="25000"/>
                  </a:schemeClr>
                </a:solidFill>
              </a:rPr>
              <a:t>;</a:t>
            </a:r>
          </a:p>
          <a:p>
            <a:pPr algn="ctr"/>
            <a:r>
              <a:rPr lang="en-GB" sz="1400" b="1">
                <a:solidFill>
                  <a:schemeClr val="tx1">
                    <a:lumMod val="75000"/>
                    <a:lumOff val="25000"/>
                  </a:schemeClr>
                </a:solidFill>
              </a:rPr>
              <a:t>BBBBBBBBBBBB</a:t>
            </a:r>
            <a:endParaRPr lang="en-GB" sz="1400">
              <a:solidFill>
                <a:schemeClr val="tx1">
                  <a:lumMod val="75000"/>
                  <a:lumOff val="25000"/>
                </a:schemeClr>
              </a:solidFill>
            </a:endParaRPr>
          </a:p>
        </p:txBody>
      </p:sp>
      <p:sp>
        <p:nvSpPr>
          <p:cNvPr id="27" name="Rectangle 26">
            <a:extLst>
              <a:ext uri="{FF2B5EF4-FFF2-40B4-BE49-F238E27FC236}">
                <a16:creationId xmlns:a16="http://schemas.microsoft.com/office/drawing/2014/main" id="{4F63BD6D-8FAA-4FF8-B26B-6422237A0537}"/>
              </a:ext>
            </a:extLst>
          </p:cNvPr>
          <p:cNvSpPr/>
          <p:nvPr userDrawn="1"/>
        </p:nvSpPr>
        <p:spPr>
          <a:xfrm>
            <a:off x="4362269" y="1810883"/>
            <a:ext cx="1994068" cy="1528785"/>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err="1">
                <a:solidFill>
                  <a:schemeClr val="tx1">
                    <a:lumMod val="75000"/>
                    <a:lumOff val="25000"/>
                  </a:schemeClr>
                </a:solidFill>
              </a:rPr>
              <a:t>Aaaaaaaaaaaaaaaa</a:t>
            </a:r>
            <a:r>
              <a:rPr lang="en-GB" sz="1400">
                <a:solidFill>
                  <a:schemeClr val="tx1">
                    <a:lumMod val="75000"/>
                    <a:lumOff val="25000"/>
                  </a:schemeClr>
                </a:solidFill>
              </a:rPr>
              <a:t>;</a:t>
            </a:r>
          </a:p>
          <a:p>
            <a:pPr algn="ctr"/>
            <a:r>
              <a:rPr lang="en-GB" sz="1400" b="1">
                <a:solidFill>
                  <a:schemeClr val="tx1">
                    <a:lumMod val="75000"/>
                    <a:lumOff val="25000"/>
                  </a:schemeClr>
                </a:solidFill>
              </a:rPr>
              <a:t>BBBBBBBBBBBB</a:t>
            </a:r>
            <a:endParaRPr lang="en-GB" sz="1400">
              <a:solidFill>
                <a:schemeClr val="tx1">
                  <a:lumMod val="75000"/>
                  <a:lumOff val="25000"/>
                </a:schemeClr>
              </a:solidFill>
            </a:endParaRPr>
          </a:p>
        </p:txBody>
      </p:sp>
      <p:sp>
        <p:nvSpPr>
          <p:cNvPr id="28" name="Rectangle 27">
            <a:extLst>
              <a:ext uri="{FF2B5EF4-FFF2-40B4-BE49-F238E27FC236}">
                <a16:creationId xmlns:a16="http://schemas.microsoft.com/office/drawing/2014/main" id="{7BFF0733-5CE6-4E56-9427-2A170489D8FF}"/>
              </a:ext>
            </a:extLst>
          </p:cNvPr>
          <p:cNvSpPr/>
          <p:nvPr userDrawn="1"/>
        </p:nvSpPr>
        <p:spPr>
          <a:xfrm>
            <a:off x="4362269" y="3455814"/>
            <a:ext cx="1994068" cy="1528785"/>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err="1">
                <a:solidFill>
                  <a:schemeClr val="tx1">
                    <a:lumMod val="75000"/>
                    <a:lumOff val="25000"/>
                  </a:schemeClr>
                </a:solidFill>
              </a:rPr>
              <a:t>Aaaaaaaaaaaaaaaa</a:t>
            </a:r>
            <a:r>
              <a:rPr lang="en-GB" sz="1400">
                <a:solidFill>
                  <a:schemeClr val="tx1">
                    <a:lumMod val="75000"/>
                    <a:lumOff val="25000"/>
                  </a:schemeClr>
                </a:solidFill>
              </a:rPr>
              <a:t>;</a:t>
            </a:r>
          </a:p>
          <a:p>
            <a:pPr algn="ctr"/>
            <a:r>
              <a:rPr lang="en-GB" sz="1400" b="1">
                <a:solidFill>
                  <a:schemeClr val="tx1">
                    <a:lumMod val="75000"/>
                    <a:lumOff val="25000"/>
                  </a:schemeClr>
                </a:solidFill>
              </a:rPr>
              <a:t>BBBBBBBBBBBB</a:t>
            </a:r>
            <a:endParaRPr lang="en-GB" sz="1400">
              <a:solidFill>
                <a:schemeClr val="tx1">
                  <a:lumMod val="75000"/>
                  <a:lumOff val="25000"/>
                </a:schemeClr>
              </a:solidFill>
            </a:endParaRPr>
          </a:p>
        </p:txBody>
      </p:sp>
      <p:sp>
        <p:nvSpPr>
          <p:cNvPr id="29" name="Rectangle 28">
            <a:extLst>
              <a:ext uri="{FF2B5EF4-FFF2-40B4-BE49-F238E27FC236}">
                <a16:creationId xmlns:a16="http://schemas.microsoft.com/office/drawing/2014/main" id="{CE084ED8-ACE6-40D2-8343-9C0A98D625CF}"/>
              </a:ext>
            </a:extLst>
          </p:cNvPr>
          <p:cNvSpPr/>
          <p:nvPr userDrawn="1"/>
        </p:nvSpPr>
        <p:spPr>
          <a:xfrm>
            <a:off x="5992474" y="2633261"/>
            <a:ext cx="1994068" cy="1528785"/>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err="1">
                <a:solidFill>
                  <a:schemeClr val="tx1">
                    <a:lumMod val="75000"/>
                    <a:lumOff val="25000"/>
                  </a:schemeClr>
                </a:solidFill>
              </a:rPr>
              <a:t>Aaaaaaaaaaaaaaaa</a:t>
            </a:r>
            <a:r>
              <a:rPr lang="en-GB" sz="1400">
                <a:solidFill>
                  <a:schemeClr val="tx1">
                    <a:lumMod val="75000"/>
                    <a:lumOff val="25000"/>
                  </a:schemeClr>
                </a:solidFill>
              </a:rPr>
              <a:t>;</a:t>
            </a:r>
          </a:p>
          <a:p>
            <a:pPr algn="ctr"/>
            <a:r>
              <a:rPr lang="en-GB" sz="1400" b="1">
                <a:solidFill>
                  <a:schemeClr val="tx1">
                    <a:lumMod val="75000"/>
                    <a:lumOff val="25000"/>
                  </a:schemeClr>
                </a:solidFill>
              </a:rPr>
              <a:t>BBBBBBBBBBBB</a:t>
            </a:r>
            <a:endParaRPr lang="en-GB" sz="1400">
              <a:solidFill>
                <a:schemeClr val="tx1">
                  <a:lumMod val="75000"/>
                  <a:lumOff val="25000"/>
                </a:schemeClr>
              </a:solidFill>
            </a:endParaRPr>
          </a:p>
        </p:txBody>
      </p:sp>
      <p:sp>
        <p:nvSpPr>
          <p:cNvPr id="30" name="Rectangle 29">
            <a:extLst>
              <a:ext uri="{FF2B5EF4-FFF2-40B4-BE49-F238E27FC236}">
                <a16:creationId xmlns:a16="http://schemas.microsoft.com/office/drawing/2014/main" id="{97794EF7-3088-4ADC-BFFC-3433A9435A7C}"/>
              </a:ext>
            </a:extLst>
          </p:cNvPr>
          <p:cNvSpPr/>
          <p:nvPr userDrawn="1"/>
        </p:nvSpPr>
        <p:spPr>
          <a:xfrm>
            <a:off x="6049352" y="4270732"/>
            <a:ext cx="1994068" cy="1528785"/>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err="1">
                <a:solidFill>
                  <a:schemeClr val="tx1">
                    <a:lumMod val="75000"/>
                    <a:lumOff val="25000"/>
                  </a:schemeClr>
                </a:solidFill>
              </a:rPr>
              <a:t>Aaaaaaaaaaaaaaaa</a:t>
            </a:r>
            <a:r>
              <a:rPr lang="en-GB" sz="1400">
                <a:solidFill>
                  <a:schemeClr val="tx1">
                    <a:lumMod val="75000"/>
                    <a:lumOff val="25000"/>
                  </a:schemeClr>
                </a:solidFill>
              </a:rPr>
              <a:t>;</a:t>
            </a:r>
          </a:p>
          <a:p>
            <a:pPr algn="ctr"/>
            <a:r>
              <a:rPr lang="en-GB" sz="1400" b="1">
                <a:solidFill>
                  <a:schemeClr val="tx1">
                    <a:lumMod val="75000"/>
                    <a:lumOff val="25000"/>
                  </a:schemeClr>
                </a:solidFill>
              </a:rPr>
              <a:t>BBBBBBBBBBBB</a:t>
            </a:r>
            <a:endParaRPr lang="en-GB" sz="1400">
              <a:solidFill>
                <a:schemeClr val="tx1">
                  <a:lumMod val="75000"/>
                  <a:lumOff val="25000"/>
                </a:schemeClr>
              </a:solidFill>
            </a:endParaRPr>
          </a:p>
        </p:txBody>
      </p:sp>
      <p:sp>
        <p:nvSpPr>
          <p:cNvPr id="31" name="Rectangle 30">
            <a:extLst>
              <a:ext uri="{FF2B5EF4-FFF2-40B4-BE49-F238E27FC236}">
                <a16:creationId xmlns:a16="http://schemas.microsoft.com/office/drawing/2014/main" id="{2A8C752B-6DDB-47F6-B04A-A7B50742F7E8}"/>
              </a:ext>
            </a:extLst>
          </p:cNvPr>
          <p:cNvSpPr/>
          <p:nvPr userDrawn="1"/>
        </p:nvSpPr>
        <p:spPr>
          <a:xfrm>
            <a:off x="7815493" y="1858493"/>
            <a:ext cx="1994068" cy="1528785"/>
          </a:xfrm>
          <a:prstGeom prst="rect">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err="1">
                <a:solidFill>
                  <a:schemeClr val="tx1">
                    <a:lumMod val="75000"/>
                    <a:lumOff val="25000"/>
                  </a:schemeClr>
                </a:solidFill>
              </a:rPr>
              <a:t>Aaaaaaaaaaaaaaaa</a:t>
            </a:r>
            <a:r>
              <a:rPr lang="en-GB" sz="1400">
                <a:solidFill>
                  <a:schemeClr val="tx1">
                    <a:lumMod val="75000"/>
                    <a:lumOff val="25000"/>
                  </a:schemeClr>
                </a:solidFill>
              </a:rPr>
              <a:t>;</a:t>
            </a:r>
          </a:p>
          <a:p>
            <a:pPr algn="ctr"/>
            <a:r>
              <a:rPr lang="en-GB" sz="1400" b="1">
                <a:solidFill>
                  <a:schemeClr val="tx1">
                    <a:lumMod val="75000"/>
                    <a:lumOff val="25000"/>
                  </a:schemeClr>
                </a:solidFill>
              </a:rPr>
              <a:t>BBBBBBBBBBBB</a:t>
            </a:r>
            <a:endParaRPr lang="en-GB" sz="1400">
              <a:solidFill>
                <a:schemeClr val="tx1">
                  <a:lumMod val="75000"/>
                  <a:lumOff val="25000"/>
                </a:schemeClr>
              </a:solidFill>
            </a:endParaRPr>
          </a:p>
        </p:txBody>
      </p:sp>
    </p:spTree>
    <p:extLst>
      <p:ext uri="{BB962C8B-B14F-4D97-AF65-F5344CB8AC3E}">
        <p14:creationId xmlns:p14="http://schemas.microsoft.com/office/powerpoint/2010/main" val="40704006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C09BDEE-19CF-463A-A0FF-DF46B8B07C73}"/>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EAA18B47-E009-49AA-930C-8EF98D75C8D2}"/>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8E9A1DD7-380C-46ED-A119-A39409B52E88}"/>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39" name="Pentagon 5">
            <a:extLst>
              <a:ext uri="{FF2B5EF4-FFF2-40B4-BE49-F238E27FC236}">
                <a16:creationId xmlns:a16="http://schemas.microsoft.com/office/drawing/2014/main" id="{637EBCD4-6C1F-4A97-A1CE-0CF861E96452}"/>
              </a:ext>
            </a:extLst>
          </p:cNvPr>
          <p:cNvSpPr/>
          <p:nvPr userDrawn="1"/>
        </p:nvSpPr>
        <p:spPr bwMode="auto">
          <a:xfrm>
            <a:off x="1295467" y="4355375"/>
            <a:ext cx="2836711" cy="1001898"/>
          </a:xfrm>
          <a:prstGeom prst="homePlate">
            <a:avLst>
              <a:gd name="adj" fmla="val 15019"/>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b="1">
                <a:solidFill>
                  <a:schemeClr val="tx1">
                    <a:lumMod val="75000"/>
                    <a:lumOff val="25000"/>
                  </a:schemeClr>
                </a:solidFill>
              </a:rPr>
              <a:t>…………………………….</a:t>
            </a:r>
          </a:p>
        </p:txBody>
      </p:sp>
      <p:sp>
        <p:nvSpPr>
          <p:cNvPr id="40" name="Pentagon 3">
            <a:extLst>
              <a:ext uri="{FF2B5EF4-FFF2-40B4-BE49-F238E27FC236}">
                <a16:creationId xmlns:a16="http://schemas.microsoft.com/office/drawing/2014/main" id="{70129FEB-E671-4874-B7B0-D0B24F69BF19}"/>
              </a:ext>
            </a:extLst>
          </p:cNvPr>
          <p:cNvSpPr/>
          <p:nvPr userDrawn="1"/>
        </p:nvSpPr>
        <p:spPr bwMode="auto">
          <a:xfrm>
            <a:off x="1305367" y="1693579"/>
            <a:ext cx="2836711" cy="1001898"/>
          </a:xfrm>
          <a:prstGeom prst="homePlate">
            <a:avLst>
              <a:gd name="adj" fmla="val 15019"/>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b="1" err="1">
                <a:solidFill>
                  <a:schemeClr val="tx1">
                    <a:lumMod val="75000"/>
                    <a:lumOff val="25000"/>
                  </a:schemeClr>
                </a:solidFill>
              </a:rPr>
              <a:t>lslslslslslsllslsllsolslsl</a:t>
            </a:r>
            <a:endParaRPr lang="en-GB" sz="1400" b="1">
              <a:solidFill>
                <a:schemeClr val="tx1">
                  <a:lumMod val="75000"/>
                  <a:lumOff val="25000"/>
                </a:schemeClr>
              </a:solidFill>
            </a:endParaRPr>
          </a:p>
        </p:txBody>
      </p:sp>
      <p:sp>
        <p:nvSpPr>
          <p:cNvPr id="41" name="Oval 40">
            <a:extLst>
              <a:ext uri="{FF2B5EF4-FFF2-40B4-BE49-F238E27FC236}">
                <a16:creationId xmlns:a16="http://schemas.microsoft.com/office/drawing/2014/main" id="{D4E6EC8F-565F-4B89-9F6C-B368E5152E14}"/>
              </a:ext>
            </a:extLst>
          </p:cNvPr>
          <p:cNvSpPr/>
          <p:nvPr userDrawn="1"/>
        </p:nvSpPr>
        <p:spPr>
          <a:xfrm>
            <a:off x="4363825" y="1696068"/>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42" name="Oval 41">
            <a:extLst>
              <a:ext uri="{FF2B5EF4-FFF2-40B4-BE49-F238E27FC236}">
                <a16:creationId xmlns:a16="http://schemas.microsoft.com/office/drawing/2014/main" id="{F48F387D-3E73-4F24-B352-4A022CDF7220}"/>
              </a:ext>
            </a:extLst>
          </p:cNvPr>
          <p:cNvSpPr/>
          <p:nvPr userDrawn="1"/>
        </p:nvSpPr>
        <p:spPr>
          <a:xfrm>
            <a:off x="6232770" y="1696068"/>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43" name="Oval 42">
            <a:extLst>
              <a:ext uri="{FF2B5EF4-FFF2-40B4-BE49-F238E27FC236}">
                <a16:creationId xmlns:a16="http://schemas.microsoft.com/office/drawing/2014/main" id="{E88EE739-A098-4BCC-84A0-E930F4384F63}"/>
              </a:ext>
            </a:extLst>
          </p:cNvPr>
          <p:cNvSpPr/>
          <p:nvPr userDrawn="1"/>
        </p:nvSpPr>
        <p:spPr>
          <a:xfrm>
            <a:off x="8101715" y="1696068"/>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44" name="Oval 43">
            <a:extLst>
              <a:ext uri="{FF2B5EF4-FFF2-40B4-BE49-F238E27FC236}">
                <a16:creationId xmlns:a16="http://schemas.microsoft.com/office/drawing/2014/main" id="{8CA51EC4-32E4-4F49-BB90-5C3CC644629E}"/>
              </a:ext>
            </a:extLst>
          </p:cNvPr>
          <p:cNvSpPr/>
          <p:nvPr userDrawn="1"/>
        </p:nvSpPr>
        <p:spPr>
          <a:xfrm>
            <a:off x="9970661" y="1696068"/>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45" name="Rectangle 44">
            <a:extLst>
              <a:ext uri="{FF2B5EF4-FFF2-40B4-BE49-F238E27FC236}">
                <a16:creationId xmlns:a16="http://schemas.microsoft.com/office/drawing/2014/main" id="{F7F591CE-0268-4B49-B34A-1913EDEF0302}"/>
              </a:ext>
            </a:extLst>
          </p:cNvPr>
          <p:cNvSpPr/>
          <p:nvPr userDrawn="1"/>
        </p:nvSpPr>
        <p:spPr>
          <a:xfrm>
            <a:off x="4234871" y="1580131"/>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kdkdkdkd</a:t>
            </a:r>
            <a:endParaRPr lang="en-GB" sz="1200">
              <a:solidFill>
                <a:schemeClr val="tx1">
                  <a:lumMod val="75000"/>
                  <a:lumOff val="25000"/>
                </a:schemeClr>
              </a:solidFill>
            </a:endParaRPr>
          </a:p>
        </p:txBody>
      </p:sp>
      <p:sp>
        <p:nvSpPr>
          <p:cNvPr id="46" name="Rectangle 45">
            <a:extLst>
              <a:ext uri="{FF2B5EF4-FFF2-40B4-BE49-F238E27FC236}">
                <a16:creationId xmlns:a16="http://schemas.microsoft.com/office/drawing/2014/main" id="{9B46443A-BFEA-4363-9235-0740AD90CBBD}"/>
              </a:ext>
            </a:extLst>
          </p:cNvPr>
          <p:cNvSpPr/>
          <p:nvPr userDrawn="1"/>
        </p:nvSpPr>
        <p:spPr>
          <a:xfrm>
            <a:off x="6096000" y="1580131"/>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dkdfkdkd</a:t>
            </a:r>
            <a:endParaRPr lang="en-GB" sz="1200">
              <a:solidFill>
                <a:schemeClr val="tx1">
                  <a:lumMod val="75000"/>
                  <a:lumOff val="25000"/>
                </a:schemeClr>
              </a:solidFill>
            </a:endParaRPr>
          </a:p>
        </p:txBody>
      </p:sp>
      <p:sp>
        <p:nvSpPr>
          <p:cNvPr id="47" name="Rectangle 46">
            <a:extLst>
              <a:ext uri="{FF2B5EF4-FFF2-40B4-BE49-F238E27FC236}">
                <a16:creationId xmlns:a16="http://schemas.microsoft.com/office/drawing/2014/main" id="{E732ED91-599E-4DBC-944C-63F164C1AEAF}"/>
              </a:ext>
            </a:extLst>
          </p:cNvPr>
          <p:cNvSpPr/>
          <p:nvPr userDrawn="1"/>
        </p:nvSpPr>
        <p:spPr>
          <a:xfrm>
            <a:off x="7957131" y="1580131"/>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ddddddd</a:t>
            </a:r>
            <a:endParaRPr lang="en-GB" sz="1200">
              <a:solidFill>
                <a:schemeClr val="tx1">
                  <a:lumMod val="75000"/>
                  <a:lumOff val="25000"/>
                </a:schemeClr>
              </a:solidFill>
            </a:endParaRPr>
          </a:p>
        </p:txBody>
      </p:sp>
      <p:sp>
        <p:nvSpPr>
          <p:cNvPr id="48" name="Rectangle 47">
            <a:extLst>
              <a:ext uri="{FF2B5EF4-FFF2-40B4-BE49-F238E27FC236}">
                <a16:creationId xmlns:a16="http://schemas.microsoft.com/office/drawing/2014/main" id="{F13B7A99-5C21-41C4-A1D8-857E7FB0A69F}"/>
              </a:ext>
            </a:extLst>
          </p:cNvPr>
          <p:cNvSpPr/>
          <p:nvPr userDrawn="1"/>
        </p:nvSpPr>
        <p:spPr>
          <a:xfrm>
            <a:off x="9818260" y="1580131"/>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dddddddd</a:t>
            </a:r>
            <a:endParaRPr lang="en-GB" sz="1200">
              <a:solidFill>
                <a:schemeClr val="tx1">
                  <a:lumMod val="75000"/>
                  <a:lumOff val="25000"/>
                </a:schemeClr>
              </a:solidFill>
            </a:endParaRPr>
          </a:p>
        </p:txBody>
      </p:sp>
      <p:sp>
        <p:nvSpPr>
          <p:cNvPr id="49" name="Pentagon 21">
            <a:extLst>
              <a:ext uri="{FF2B5EF4-FFF2-40B4-BE49-F238E27FC236}">
                <a16:creationId xmlns:a16="http://schemas.microsoft.com/office/drawing/2014/main" id="{BC22FAFB-F15E-4CC3-9620-1B4433ED34DE}"/>
              </a:ext>
            </a:extLst>
          </p:cNvPr>
          <p:cNvSpPr/>
          <p:nvPr userDrawn="1"/>
        </p:nvSpPr>
        <p:spPr bwMode="auto">
          <a:xfrm>
            <a:off x="1305367" y="3093296"/>
            <a:ext cx="2836711" cy="1001898"/>
          </a:xfrm>
          <a:prstGeom prst="homePlate">
            <a:avLst>
              <a:gd name="adj" fmla="val 15019"/>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b="1" err="1">
                <a:solidFill>
                  <a:schemeClr val="tx1">
                    <a:lumMod val="75000"/>
                    <a:lumOff val="25000"/>
                  </a:schemeClr>
                </a:solidFill>
              </a:rPr>
              <a:t>lslslslslsllslslsllslslsl</a:t>
            </a:r>
            <a:endParaRPr lang="en-GB" sz="1400" b="1">
              <a:solidFill>
                <a:schemeClr val="tx1">
                  <a:lumMod val="75000"/>
                  <a:lumOff val="25000"/>
                </a:schemeClr>
              </a:solidFill>
            </a:endParaRPr>
          </a:p>
        </p:txBody>
      </p:sp>
      <p:sp>
        <p:nvSpPr>
          <p:cNvPr id="50" name="Oval 49">
            <a:extLst>
              <a:ext uri="{FF2B5EF4-FFF2-40B4-BE49-F238E27FC236}">
                <a16:creationId xmlns:a16="http://schemas.microsoft.com/office/drawing/2014/main" id="{EF17E4D0-8E4B-460E-A758-C630D9F6F811}"/>
              </a:ext>
            </a:extLst>
          </p:cNvPr>
          <p:cNvSpPr/>
          <p:nvPr userDrawn="1"/>
        </p:nvSpPr>
        <p:spPr>
          <a:xfrm>
            <a:off x="4363825" y="3066189"/>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51" name="Oval 50">
            <a:extLst>
              <a:ext uri="{FF2B5EF4-FFF2-40B4-BE49-F238E27FC236}">
                <a16:creationId xmlns:a16="http://schemas.microsoft.com/office/drawing/2014/main" id="{AFF86133-3E0E-4D22-9206-6F96C8DC41E6}"/>
              </a:ext>
            </a:extLst>
          </p:cNvPr>
          <p:cNvSpPr/>
          <p:nvPr userDrawn="1"/>
        </p:nvSpPr>
        <p:spPr>
          <a:xfrm>
            <a:off x="6232770" y="3066189"/>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52" name="Oval 51">
            <a:extLst>
              <a:ext uri="{FF2B5EF4-FFF2-40B4-BE49-F238E27FC236}">
                <a16:creationId xmlns:a16="http://schemas.microsoft.com/office/drawing/2014/main" id="{C6335C6C-9E80-4E7E-8BF8-DEEADF0B7FD6}"/>
              </a:ext>
            </a:extLst>
          </p:cNvPr>
          <p:cNvSpPr/>
          <p:nvPr userDrawn="1"/>
        </p:nvSpPr>
        <p:spPr>
          <a:xfrm>
            <a:off x="8101715" y="3066189"/>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53" name="Oval 52">
            <a:extLst>
              <a:ext uri="{FF2B5EF4-FFF2-40B4-BE49-F238E27FC236}">
                <a16:creationId xmlns:a16="http://schemas.microsoft.com/office/drawing/2014/main" id="{65B658E9-542E-4FCE-ABAC-A17338B11E20}"/>
              </a:ext>
            </a:extLst>
          </p:cNvPr>
          <p:cNvSpPr/>
          <p:nvPr userDrawn="1"/>
        </p:nvSpPr>
        <p:spPr>
          <a:xfrm>
            <a:off x="9970661" y="3066189"/>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54" name="Rectangle 53">
            <a:extLst>
              <a:ext uri="{FF2B5EF4-FFF2-40B4-BE49-F238E27FC236}">
                <a16:creationId xmlns:a16="http://schemas.microsoft.com/office/drawing/2014/main" id="{97DA1428-C482-4F25-92FF-BB5A761BF95E}"/>
              </a:ext>
            </a:extLst>
          </p:cNvPr>
          <p:cNvSpPr/>
          <p:nvPr userDrawn="1"/>
        </p:nvSpPr>
        <p:spPr>
          <a:xfrm>
            <a:off x="4234871" y="295168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slslslslslsl</a:t>
            </a:r>
            <a:endParaRPr lang="en-GB" sz="1200">
              <a:solidFill>
                <a:schemeClr val="tx1">
                  <a:lumMod val="75000"/>
                  <a:lumOff val="25000"/>
                </a:schemeClr>
              </a:solidFill>
            </a:endParaRPr>
          </a:p>
        </p:txBody>
      </p:sp>
      <p:sp>
        <p:nvSpPr>
          <p:cNvPr id="55" name="Rectangle 54">
            <a:extLst>
              <a:ext uri="{FF2B5EF4-FFF2-40B4-BE49-F238E27FC236}">
                <a16:creationId xmlns:a16="http://schemas.microsoft.com/office/drawing/2014/main" id="{71FA92C8-F4FF-4815-9082-9A358AFDF0B6}"/>
              </a:ext>
            </a:extLst>
          </p:cNvPr>
          <p:cNvSpPr/>
          <p:nvPr userDrawn="1"/>
        </p:nvSpPr>
        <p:spPr>
          <a:xfrm>
            <a:off x="6096000" y="295168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ddddddd</a:t>
            </a:r>
            <a:endParaRPr lang="en-GB" sz="1200">
              <a:solidFill>
                <a:schemeClr val="tx1">
                  <a:lumMod val="75000"/>
                  <a:lumOff val="25000"/>
                </a:schemeClr>
              </a:solidFill>
            </a:endParaRPr>
          </a:p>
        </p:txBody>
      </p:sp>
      <p:sp>
        <p:nvSpPr>
          <p:cNvPr id="56" name="Rectangle 55">
            <a:extLst>
              <a:ext uri="{FF2B5EF4-FFF2-40B4-BE49-F238E27FC236}">
                <a16:creationId xmlns:a16="http://schemas.microsoft.com/office/drawing/2014/main" id="{DEFE8C83-A2A3-4B51-A01C-855344CD913D}"/>
              </a:ext>
            </a:extLst>
          </p:cNvPr>
          <p:cNvSpPr/>
          <p:nvPr userDrawn="1"/>
        </p:nvSpPr>
        <p:spPr>
          <a:xfrm>
            <a:off x="7957131" y="295168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dddddd</a:t>
            </a:r>
            <a:endParaRPr lang="en-GB" sz="1200">
              <a:solidFill>
                <a:schemeClr val="tx1">
                  <a:lumMod val="75000"/>
                  <a:lumOff val="25000"/>
                </a:schemeClr>
              </a:solidFill>
            </a:endParaRPr>
          </a:p>
        </p:txBody>
      </p:sp>
      <p:sp>
        <p:nvSpPr>
          <p:cNvPr id="57" name="Rectangle 56">
            <a:extLst>
              <a:ext uri="{FF2B5EF4-FFF2-40B4-BE49-F238E27FC236}">
                <a16:creationId xmlns:a16="http://schemas.microsoft.com/office/drawing/2014/main" id="{1870A8BD-256D-4F39-A52E-00F3488C5B58}"/>
              </a:ext>
            </a:extLst>
          </p:cNvPr>
          <p:cNvSpPr/>
          <p:nvPr userDrawn="1"/>
        </p:nvSpPr>
        <p:spPr>
          <a:xfrm>
            <a:off x="9818260" y="295168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kdkdkdkdk</a:t>
            </a:r>
            <a:endParaRPr lang="en-GB" sz="1200">
              <a:solidFill>
                <a:schemeClr val="tx1">
                  <a:lumMod val="75000"/>
                  <a:lumOff val="25000"/>
                </a:schemeClr>
              </a:solidFill>
            </a:endParaRPr>
          </a:p>
        </p:txBody>
      </p:sp>
      <p:sp>
        <p:nvSpPr>
          <p:cNvPr id="58" name="Oval 57">
            <a:extLst>
              <a:ext uri="{FF2B5EF4-FFF2-40B4-BE49-F238E27FC236}">
                <a16:creationId xmlns:a16="http://schemas.microsoft.com/office/drawing/2014/main" id="{4BB8D108-9F68-4939-8CEA-F47074C8E30E}"/>
              </a:ext>
            </a:extLst>
          </p:cNvPr>
          <p:cNvSpPr/>
          <p:nvPr userDrawn="1"/>
        </p:nvSpPr>
        <p:spPr>
          <a:xfrm>
            <a:off x="4378127"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59" name="Oval 58">
            <a:extLst>
              <a:ext uri="{FF2B5EF4-FFF2-40B4-BE49-F238E27FC236}">
                <a16:creationId xmlns:a16="http://schemas.microsoft.com/office/drawing/2014/main" id="{3BFF9CF0-464A-4921-9506-6BB02DB54FF9}"/>
              </a:ext>
            </a:extLst>
          </p:cNvPr>
          <p:cNvSpPr/>
          <p:nvPr userDrawn="1"/>
        </p:nvSpPr>
        <p:spPr>
          <a:xfrm>
            <a:off x="5515485"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60" name="Oval 59">
            <a:extLst>
              <a:ext uri="{FF2B5EF4-FFF2-40B4-BE49-F238E27FC236}">
                <a16:creationId xmlns:a16="http://schemas.microsoft.com/office/drawing/2014/main" id="{ADDDD887-062D-4D55-9559-024C7DFA3BD7}"/>
              </a:ext>
            </a:extLst>
          </p:cNvPr>
          <p:cNvSpPr/>
          <p:nvPr userDrawn="1"/>
        </p:nvSpPr>
        <p:spPr>
          <a:xfrm>
            <a:off x="6652843"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61" name="Oval 60">
            <a:extLst>
              <a:ext uri="{FF2B5EF4-FFF2-40B4-BE49-F238E27FC236}">
                <a16:creationId xmlns:a16="http://schemas.microsoft.com/office/drawing/2014/main" id="{BABC9DAE-CB5F-422D-8CF4-D8407D52FEF4}"/>
              </a:ext>
            </a:extLst>
          </p:cNvPr>
          <p:cNvSpPr/>
          <p:nvPr userDrawn="1"/>
        </p:nvSpPr>
        <p:spPr>
          <a:xfrm>
            <a:off x="7790201"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62" name="Oval 61">
            <a:extLst>
              <a:ext uri="{FF2B5EF4-FFF2-40B4-BE49-F238E27FC236}">
                <a16:creationId xmlns:a16="http://schemas.microsoft.com/office/drawing/2014/main" id="{3561200C-05DE-4C27-A878-783F91AC6623}"/>
              </a:ext>
            </a:extLst>
          </p:cNvPr>
          <p:cNvSpPr/>
          <p:nvPr userDrawn="1"/>
        </p:nvSpPr>
        <p:spPr>
          <a:xfrm>
            <a:off x="8927558"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63" name="Oval 62">
            <a:extLst>
              <a:ext uri="{FF2B5EF4-FFF2-40B4-BE49-F238E27FC236}">
                <a16:creationId xmlns:a16="http://schemas.microsoft.com/office/drawing/2014/main" id="{8C8C49A8-A669-47DA-8E21-B0C5374DB820}"/>
              </a:ext>
            </a:extLst>
          </p:cNvPr>
          <p:cNvSpPr/>
          <p:nvPr userDrawn="1"/>
        </p:nvSpPr>
        <p:spPr>
          <a:xfrm>
            <a:off x="10064913"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64" name="Rectangle 63">
            <a:extLst>
              <a:ext uri="{FF2B5EF4-FFF2-40B4-BE49-F238E27FC236}">
                <a16:creationId xmlns:a16="http://schemas.microsoft.com/office/drawing/2014/main" id="{2C8F210B-EEEE-4865-B028-4F08D818A164}"/>
              </a:ext>
            </a:extLst>
          </p:cNvPr>
          <p:cNvSpPr/>
          <p:nvPr userDrawn="1"/>
        </p:nvSpPr>
        <p:spPr>
          <a:xfrm>
            <a:off x="4226281" y="424192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xyxyxyxyxy</a:t>
            </a:r>
            <a:endParaRPr lang="en-GB" sz="1000">
              <a:solidFill>
                <a:schemeClr val="tx1">
                  <a:lumMod val="75000"/>
                  <a:lumOff val="25000"/>
                </a:schemeClr>
              </a:solidFill>
            </a:endParaRPr>
          </a:p>
        </p:txBody>
      </p:sp>
      <p:sp>
        <p:nvSpPr>
          <p:cNvPr id="65" name="Rectangle 64">
            <a:extLst>
              <a:ext uri="{FF2B5EF4-FFF2-40B4-BE49-F238E27FC236}">
                <a16:creationId xmlns:a16="http://schemas.microsoft.com/office/drawing/2014/main" id="{AEACFCD8-0A1A-4CCB-B691-FDF253139744}"/>
              </a:ext>
            </a:extLst>
          </p:cNvPr>
          <p:cNvSpPr/>
          <p:nvPr userDrawn="1"/>
        </p:nvSpPr>
        <p:spPr>
          <a:xfrm>
            <a:off x="5366869" y="424192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xyxyxyxyxy</a:t>
            </a:r>
            <a:endParaRPr lang="en-GB" sz="1000">
              <a:solidFill>
                <a:schemeClr val="tx1">
                  <a:lumMod val="75000"/>
                  <a:lumOff val="25000"/>
                </a:schemeClr>
              </a:solidFill>
            </a:endParaRPr>
          </a:p>
        </p:txBody>
      </p:sp>
      <p:sp>
        <p:nvSpPr>
          <p:cNvPr id="66" name="Rectangle 65">
            <a:extLst>
              <a:ext uri="{FF2B5EF4-FFF2-40B4-BE49-F238E27FC236}">
                <a16:creationId xmlns:a16="http://schemas.microsoft.com/office/drawing/2014/main" id="{D0C8E46C-79B3-447A-955F-8C00261833F5}"/>
              </a:ext>
            </a:extLst>
          </p:cNvPr>
          <p:cNvSpPr/>
          <p:nvPr userDrawn="1"/>
        </p:nvSpPr>
        <p:spPr>
          <a:xfrm>
            <a:off x="6507457" y="424192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xxxyyyyy</a:t>
            </a:r>
            <a:endParaRPr lang="en-GB" sz="1000">
              <a:solidFill>
                <a:schemeClr val="tx1">
                  <a:lumMod val="75000"/>
                  <a:lumOff val="25000"/>
                </a:schemeClr>
              </a:solidFill>
            </a:endParaRPr>
          </a:p>
        </p:txBody>
      </p:sp>
      <p:sp>
        <p:nvSpPr>
          <p:cNvPr id="67" name="Rectangle 66">
            <a:extLst>
              <a:ext uri="{FF2B5EF4-FFF2-40B4-BE49-F238E27FC236}">
                <a16:creationId xmlns:a16="http://schemas.microsoft.com/office/drawing/2014/main" id="{FD36F5ED-0446-47C5-88B5-8CFD92E69E81}"/>
              </a:ext>
            </a:extLst>
          </p:cNvPr>
          <p:cNvSpPr/>
          <p:nvPr userDrawn="1"/>
        </p:nvSpPr>
        <p:spPr>
          <a:xfrm>
            <a:off x="7583405" y="424192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ssssssss</a:t>
            </a:r>
            <a:endParaRPr lang="en-GB" sz="1000">
              <a:solidFill>
                <a:schemeClr val="tx1">
                  <a:lumMod val="75000"/>
                  <a:lumOff val="25000"/>
                </a:schemeClr>
              </a:solidFill>
            </a:endParaRPr>
          </a:p>
        </p:txBody>
      </p:sp>
      <p:sp>
        <p:nvSpPr>
          <p:cNvPr id="68" name="Rectangle 67">
            <a:extLst>
              <a:ext uri="{FF2B5EF4-FFF2-40B4-BE49-F238E27FC236}">
                <a16:creationId xmlns:a16="http://schemas.microsoft.com/office/drawing/2014/main" id="{5380190F-2418-4647-A45F-3B55E02A785B}"/>
              </a:ext>
            </a:extLst>
          </p:cNvPr>
          <p:cNvSpPr/>
          <p:nvPr userDrawn="1"/>
        </p:nvSpPr>
        <p:spPr>
          <a:xfrm>
            <a:off x="8741741" y="424192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sdqdskdkd</a:t>
            </a:r>
            <a:endParaRPr lang="en-GB" sz="1000">
              <a:solidFill>
                <a:schemeClr val="tx1">
                  <a:lumMod val="75000"/>
                  <a:lumOff val="25000"/>
                </a:schemeClr>
              </a:solidFill>
            </a:endParaRPr>
          </a:p>
        </p:txBody>
      </p:sp>
      <p:sp>
        <p:nvSpPr>
          <p:cNvPr id="69" name="Title 4">
            <a:extLst>
              <a:ext uri="{FF2B5EF4-FFF2-40B4-BE49-F238E27FC236}">
                <a16:creationId xmlns:a16="http://schemas.microsoft.com/office/drawing/2014/main" id="{D8591D78-02D5-4D87-B854-BDD32DF5214B}"/>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70" name="TextBox 69">
            <a:extLst>
              <a:ext uri="{FF2B5EF4-FFF2-40B4-BE49-F238E27FC236}">
                <a16:creationId xmlns:a16="http://schemas.microsoft.com/office/drawing/2014/main" id="{CC372E58-019C-46A7-8138-F02BEF0E0913}"/>
              </a:ext>
            </a:extLst>
          </p:cNvPr>
          <p:cNvSpPr txBox="1"/>
          <p:nvPr userDrawn="1"/>
        </p:nvSpPr>
        <p:spPr bwMode="auto">
          <a:xfrm>
            <a:off x="11255623" y="712343"/>
            <a:ext cx="409328" cy="428570"/>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solidFill>
                  <a:schemeClr val="tx1">
                    <a:lumMod val="75000"/>
                    <a:lumOff val="25000"/>
                  </a:schemeClr>
                </a:solidFill>
                <a:latin typeface="+mn-lt"/>
              </a:rPr>
              <a:t>1</a:t>
            </a:r>
          </a:p>
        </p:txBody>
      </p:sp>
      <p:sp>
        <p:nvSpPr>
          <p:cNvPr id="71" name="Rectangle 70">
            <a:extLst>
              <a:ext uri="{FF2B5EF4-FFF2-40B4-BE49-F238E27FC236}">
                <a16:creationId xmlns:a16="http://schemas.microsoft.com/office/drawing/2014/main" id="{22920549-FB36-4900-B96B-AFA1B0C66F29}"/>
              </a:ext>
            </a:extLst>
          </p:cNvPr>
          <p:cNvSpPr/>
          <p:nvPr userDrawn="1"/>
        </p:nvSpPr>
        <p:spPr>
          <a:xfrm>
            <a:off x="9909835" y="4222908"/>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sdqdskdkd</a:t>
            </a:r>
            <a:endParaRPr lang="en-GB" sz="1000">
              <a:solidFill>
                <a:schemeClr val="tx1">
                  <a:lumMod val="75000"/>
                  <a:lumOff val="25000"/>
                </a:schemeClr>
              </a:solidFill>
            </a:endParaRPr>
          </a:p>
        </p:txBody>
      </p:sp>
    </p:spTree>
    <p:extLst>
      <p:ext uri="{BB962C8B-B14F-4D97-AF65-F5344CB8AC3E}">
        <p14:creationId xmlns:p14="http://schemas.microsoft.com/office/powerpoint/2010/main" val="347719907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F9582A2-221B-43DB-9742-BDEAB6A8E543}"/>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737E1CB2-57C1-4FC3-8008-B7EF55D2E9C2}"/>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28D3FB01-C852-4297-BF42-BC49CDAF4CB3}"/>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Pentagon 5">
            <a:extLst>
              <a:ext uri="{FF2B5EF4-FFF2-40B4-BE49-F238E27FC236}">
                <a16:creationId xmlns:a16="http://schemas.microsoft.com/office/drawing/2014/main" id="{5147ECF2-930F-49AE-8356-48BFC2A8E3DB}"/>
              </a:ext>
            </a:extLst>
          </p:cNvPr>
          <p:cNvSpPr/>
          <p:nvPr userDrawn="1"/>
        </p:nvSpPr>
        <p:spPr bwMode="auto">
          <a:xfrm>
            <a:off x="1295467" y="4355375"/>
            <a:ext cx="2836711" cy="1001898"/>
          </a:xfrm>
          <a:prstGeom prst="homePlate">
            <a:avLst>
              <a:gd name="adj" fmla="val 15019"/>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b="1">
                <a:solidFill>
                  <a:schemeClr val="tx1">
                    <a:lumMod val="75000"/>
                    <a:lumOff val="25000"/>
                  </a:schemeClr>
                </a:solidFill>
              </a:rPr>
              <a:t>…………………………….</a:t>
            </a:r>
          </a:p>
        </p:txBody>
      </p:sp>
      <p:sp>
        <p:nvSpPr>
          <p:cNvPr id="7" name="Pentagon 3">
            <a:extLst>
              <a:ext uri="{FF2B5EF4-FFF2-40B4-BE49-F238E27FC236}">
                <a16:creationId xmlns:a16="http://schemas.microsoft.com/office/drawing/2014/main" id="{93489C7D-3562-4373-BBBB-196F35E5453A}"/>
              </a:ext>
            </a:extLst>
          </p:cNvPr>
          <p:cNvSpPr/>
          <p:nvPr userDrawn="1"/>
        </p:nvSpPr>
        <p:spPr bwMode="auto">
          <a:xfrm>
            <a:off x="1305367" y="1693579"/>
            <a:ext cx="2836711" cy="1001898"/>
          </a:xfrm>
          <a:prstGeom prst="homePlate">
            <a:avLst>
              <a:gd name="adj" fmla="val 15019"/>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b="1" err="1">
                <a:solidFill>
                  <a:schemeClr val="tx1">
                    <a:lumMod val="75000"/>
                    <a:lumOff val="25000"/>
                  </a:schemeClr>
                </a:solidFill>
              </a:rPr>
              <a:t>lslslslslslsllslsllsolslsl</a:t>
            </a:r>
            <a:endParaRPr lang="en-GB" sz="1400" b="1">
              <a:solidFill>
                <a:schemeClr val="tx1">
                  <a:lumMod val="75000"/>
                  <a:lumOff val="25000"/>
                </a:schemeClr>
              </a:solidFill>
            </a:endParaRPr>
          </a:p>
        </p:txBody>
      </p:sp>
      <p:sp>
        <p:nvSpPr>
          <p:cNvPr id="8" name="Oval 7">
            <a:extLst>
              <a:ext uri="{FF2B5EF4-FFF2-40B4-BE49-F238E27FC236}">
                <a16:creationId xmlns:a16="http://schemas.microsoft.com/office/drawing/2014/main" id="{60F0C89F-77E4-428D-A451-D6B61F62B2D1}"/>
              </a:ext>
            </a:extLst>
          </p:cNvPr>
          <p:cNvSpPr/>
          <p:nvPr userDrawn="1"/>
        </p:nvSpPr>
        <p:spPr>
          <a:xfrm>
            <a:off x="4363825" y="1696068"/>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9" name="Oval 8">
            <a:extLst>
              <a:ext uri="{FF2B5EF4-FFF2-40B4-BE49-F238E27FC236}">
                <a16:creationId xmlns:a16="http://schemas.microsoft.com/office/drawing/2014/main" id="{0CCC3833-846D-43D6-8C3E-2E8F4848EF47}"/>
              </a:ext>
            </a:extLst>
          </p:cNvPr>
          <p:cNvSpPr/>
          <p:nvPr userDrawn="1"/>
        </p:nvSpPr>
        <p:spPr>
          <a:xfrm>
            <a:off x="6232770" y="1696068"/>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10" name="Oval 9">
            <a:extLst>
              <a:ext uri="{FF2B5EF4-FFF2-40B4-BE49-F238E27FC236}">
                <a16:creationId xmlns:a16="http://schemas.microsoft.com/office/drawing/2014/main" id="{F3C0EBCF-3723-4FA8-A322-A1A3A518F6E7}"/>
              </a:ext>
            </a:extLst>
          </p:cNvPr>
          <p:cNvSpPr/>
          <p:nvPr userDrawn="1"/>
        </p:nvSpPr>
        <p:spPr>
          <a:xfrm>
            <a:off x="8101715" y="1696068"/>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11" name="Oval 10">
            <a:extLst>
              <a:ext uri="{FF2B5EF4-FFF2-40B4-BE49-F238E27FC236}">
                <a16:creationId xmlns:a16="http://schemas.microsoft.com/office/drawing/2014/main" id="{9DC972A6-1EEF-478D-938A-AB3D4A6BD3BC}"/>
              </a:ext>
            </a:extLst>
          </p:cNvPr>
          <p:cNvSpPr/>
          <p:nvPr userDrawn="1"/>
        </p:nvSpPr>
        <p:spPr>
          <a:xfrm>
            <a:off x="9970661" y="1696068"/>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12" name="Rectangle 11">
            <a:extLst>
              <a:ext uri="{FF2B5EF4-FFF2-40B4-BE49-F238E27FC236}">
                <a16:creationId xmlns:a16="http://schemas.microsoft.com/office/drawing/2014/main" id="{957203DA-24AB-49E7-B282-708CB5085FF5}"/>
              </a:ext>
            </a:extLst>
          </p:cNvPr>
          <p:cNvSpPr/>
          <p:nvPr userDrawn="1"/>
        </p:nvSpPr>
        <p:spPr>
          <a:xfrm>
            <a:off x="4234871" y="1580131"/>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kdkdkdkd</a:t>
            </a:r>
            <a:endParaRPr lang="en-GB" sz="1200">
              <a:solidFill>
                <a:schemeClr val="tx1">
                  <a:lumMod val="75000"/>
                  <a:lumOff val="25000"/>
                </a:schemeClr>
              </a:solidFill>
            </a:endParaRPr>
          </a:p>
        </p:txBody>
      </p:sp>
      <p:sp>
        <p:nvSpPr>
          <p:cNvPr id="13" name="Rectangle 12">
            <a:extLst>
              <a:ext uri="{FF2B5EF4-FFF2-40B4-BE49-F238E27FC236}">
                <a16:creationId xmlns:a16="http://schemas.microsoft.com/office/drawing/2014/main" id="{A3713BAD-69C1-48DF-A77E-C4C7A40E511E}"/>
              </a:ext>
            </a:extLst>
          </p:cNvPr>
          <p:cNvSpPr/>
          <p:nvPr userDrawn="1"/>
        </p:nvSpPr>
        <p:spPr>
          <a:xfrm>
            <a:off x="6096000" y="1580131"/>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dkdfkdkd</a:t>
            </a:r>
            <a:endParaRPr lang="en-GB" sz="1200">
              <a:solidFill>
                <a:schemeClr val="tx1">
                  <a:lumMod val="75000"/>
                  <a:lumOff val="25000"/>
                </a:schemeClr>
              </a:solidFill>
            </a:endParaRPr>
          </a:p>
        </p:txBody>
      </p:sp>
      <p:sp>
        <p:nvSpPr>
          <p:cNvPr id="14" name="Rectangle 13">
            <a:extLst>
              <a:ext uri="{FF2B5EF4-FFF2-40B4-BE49-F238E27FC236}">
                <a16:creationId xmlns:a16="http://schemas.microsoft.com/office/drawing/2014/main" id="{4F3E33BA-E858-4949-89B6-793D082FFE11}"/>
              </a:ext>
            </a:extLst>
          </p:cNvPr>
          <p:cNvSpPr/>
          <p:nvPr userDrawn="1"/>
        </p:nvSpPr>
        <p:spPr>
          <a:xfrm>
            <a:off x="7957131" y="1580131"/>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ddddddd</a:t>
            </a:r>
            <a:endParaRPr lang="en-GB" sz="1200">
              <a:solidFill>
                <a:schemeClr val="tx1">
                  <a:lumMod val="75000"/>
                  <a:lumOff val="25000"/>
                </a:schemeClr>
              </a:solidFill>
            </a:endParaRPr>
          </a:p>
        </p:txBody>
      </p:sp>
      <p:sp>
        <p:nvSpPr>
          <p:cNvPr id="15" name="Rectangle 14">
            <a:extLst>
              <a:ext uri="{FF2B5EF4-FFF2-40B4-BE49-F238E27FC236}">
                <a16:creationId xmlns:a16="http://schemas.microsoft.com/office/drawing/2014/main" id="{628EB9D9-6DCC-4FD4-91F7-89BB2CBA7BB0}"/>
              </a:ext>
            </a:extLst>
          </p:cNvPr>
          <p:cNvSpPr/>
          <p:nvPr userDrawn="1"/>
        </p:nvSpPr>
        <p:spPr>
          <a:xfrm>
            <a:off x="9818260" y="1580131"/>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dddddddd</a:t>
            </a:r>
            <a:endParaRPr lang="en-GB" sz="1200">
              <a:solidFill>
                <a:schemeClr val="tx1">
                  <a:lumMod val="75000"/>
                  <a:lumOff val="25000"/>
                </a:schemeClr>
              </a:solidFill>
            </a:endParaRPr>
          </a:p>
        </p:txBody>
      </p:sp>
      <p:sp>
        <p:nvSpPr>
          <p:cNvPr id="16" name="Pentagon 21">
            <a:extLst>
              <a:ext uri="{FF2B5EF4-FFF2-40B4-BE49-F238E27FC236}">
                <a16:creationId xmlns:a16="http://schemas.microsoft.com/office/drawing/2014/main" id="{E2B62D12-2117-459F-B2B9-A92EF91C9387}"/>
              </a:ext>
            </a:extLst>
          </p:cNvPr>
          <p:cNvSpPr/>
          <p:nvPr userDrawn="1"/>
        </p:nvSpPr>
        <p:spPr bwMode="auto">
          <a:xfrm>
            <a:off x="1305367" y="3093296"/>
            <a:ext cx="2836711" cy="1001898"/>
          </a:xfrm>
          <a:prstGeom prst="homePlate">
            <a:avLst>
              <a:gd name="adj" fmla="val 15019"/>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b="1" err="1">
                <a:solidFill>
                  <a:schemeClr val="tx1">
                    <a:lumMod val="75000"/>
                    <a:lumOff val="25000"/>
                  </a:schemeClr>
                </a:solidFill>
              </a:rPr>
              <a:t>lslslslslsllslslsllslslsl</a:t>
            </a:r>
            <a:endParaRPr lang="en-GB" sz="1400" b="1">
              <a:solidFill>
                <a:schemeClr val="tx1">
                  <a:lumMod val="75000"/>
                  <a:lumOff val="25000"/>
                </a:schemeClr>
              </a:solidFill>
            </a:endParaRPr>
          </a:p>
        </p:txBody>
      </p:sp>
      <p:sp>
        <p:nvSpPr>
          <p:cNvPr id="17" name="Oval 16">
            <a:extLst>
              <a:ext uri="{FF2B5EF4-FFF2-40B4-BE49-F238E27FC236}">
                <a16:creationId xmlns:a16="http://schemas.microsoft.com/office/drawing/2014/main" id="{71272650-383B-46E9-BBFC-E1170B550A95}"/>
              </a:ext>
            </a:extLst>
          </p:cNvPr>
          <p:cNvSpPr/>
          <p:nvPr userDrawn="1"/>
        </p:nvSpPr>
        <p:spPr>
          <a:xfrm>
            <a:off x="4363825" y="3066189"/>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18" name="Oval 17">
            <a:extLst>
              <a:ext uri="{FF2B5EF4-FFF2-40B4-BE49-F238E27FC236}">
                <a16:creationId xmlns:a16="http://schemas.microsoft.com/office/drawing/2014/main" id="{AEC28B63-3900-4967-9485-DADD893089DB}"/>
              </a:ext>
            </a:extLst>
          </p:cNvPr>
          <p:cNvSpPr/>
          <p:nvPr userDrawn="1"/>
        </p:nvSpPr>
        <p:spPr>
          <a:xfrm>
            <a:off x="6232770" y="3066189"/>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19" name="Oval 18">
            <a:extLst>
              <a:ext uri="{FF2B5EF4-FFF2-40B4-BE49-F238E27FC236}">
                <a16:creationId xmlns:a16="http://schemas.microsoft.com/office/drawing/2014/main" id="{787BFBE1-FC3A-48E8-8DD9-C429CAD2D990}"/>
              </a:ext>
            </a:extLst>
          </p:cNvPr>
          <p:cNvSpPr/>
          <p:nvPr userDrawn="1"/>
        </p:nvSpPr>
        <p:spPr>
          <a:xfrm>
            <a:off x="8101715" y="3066189"/>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20" name="Oval 19">
            <a:extLst>
              <a:ext uri="{FF2B5EF4-FFF2-40B4-BE49-F238E27FC236}">
                <a16:creationId xmlns:a16="http://schemas.microsoft.com/office/drawing/2014/main" id="{8050F9D2-56FA-4373-9B26-BC64E405816B}"/>
              </a:ext>
            </a:extLst>
          </p:cNvPr>
          <p:cNvSpPr/>
          <p:nvPr userDrawn="1"/>
        </p:nvSpPr>
        <p:spPr>
          <a:xfrm>
            <a:off x="9970661" y="3066189"/>
            <a:ext cx="1329231" cy="996923"/>
          </a:xfrm>
          <a:prstGeom prst="ellipse">
            <a:avLst/>
          </a:prstGeom>
          <a:solidFill>
            <a:srgbClr val="39B54A">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200">
              <a:solidFill>
                <a:schemeClr val="tx1">
                  <a:lumMod val="75000"/>
                  <a:lumOff val="25000"/>
                </a:schemeClr>
              </a:solidFill>
            </a:endParaRPr>
          </a:p>
        </p:txBody>
      </p:sp>
      <p:sp>
        <p:nvSpPr>
          <p:cNvPr id="21" name="Rectangle 20">
            <a:extLst>
              <a:ext uri="{FF2B5EF4-FFF2-40B4-BE49-F238E27FC236}">
                <a16:creationId xmlns:a16="http://schemas.microsoft.com/office/drawing/2014/main" id="{0BCC631A-911C-40D5-8F5C-32F129D7C241}"/>
              </a:ext>
            </a:extLst>
          </p:cNvPr>
          <p:cNvSpPr/>
          <p:nvPr userDrawn="1"/>
        </p:nvSpPr>
        <p:spPr>
          <a:xfrm>
            <a:off x="4234871" y="295168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slslslslslsl</a:t>
            </a:r>
            <a:endParaRPr lang="en-GB" sz="1200">
              <a:solidFill>
                <a:schemeClr val="tx1">
                  <a:lumMod val="75000"/>
                  <a:lumOff val="25000"/>
                </a:schemeClr>
              </a:solidFill>
            </a:endParaRPr>
          </a:p>
        </p:txBody>
      </p:sp>
      <p:sp>
        <p:nvSpPr>
          <p:cNvPr id="22" name="Rectangle 21">
            <a:extLst>
              <a:ext uri="{FF2B5EF4-FFF2-40B4-BE49-F238E27FC236}">
                <a16:creationId xmlns:a16="http://schemas.microsoft.com/office/drawing/2014/main" id="{DD0E2A8C-3395-4DB5-9A97-9348DDC66821}"/>
              </a:ext>
            </a:extLst>
          </p:cNvPr>
          <p:cNvSpPr/>
          <p:nvPr userDrawn="1"/>
        </p:nvSpPr>
        <p:spPr>
          <a:xfrm>
            <a:off x="6096000" y="295168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ddddddd</a:t>
            </a:r>
            <a:endParaRPr lang="en-GB" sz="1200">
              <a:solidFill>
                <a:schemeClr val="tx1">
                  <a:lumMod val="75000"/>
                  <a:lumOff val="25000"/>
                </a:schemeClr>
              </a:solidFill>
            </a:endParaRPr>
          </a:p>
        </p:txBody>
      </p:sp>
      <p:sp>
        <p:nvSpPr>
          <p:cNvPr id="23" name="Rectangle 22">
            <a:extLst>
              <a:ext uri="{FF2B5EF4-FFF2-40B4-BE49-F238E27FC236}">
                <a16:creationId xmlns:a16="http://schemas.microsoft.com/office/drawing/2014/main" id="{A2FFACA2-15FD-45D2-9F88-1DC8CC361E50}"/>
              </a:ext>
            </a:extLst>
          </p:cNvPr>
          <p:cNvSpPr/>
          <p:nvPr userDrawn="1"/>
        </p:nvSpPr>
        <p:spPr>
          <a:xfrm>
            <a:off x="7957131" y="295168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dddddd</a:t>
            </a:r>
            <a:endParaRPr lang="en-GB" sz="1200">
              <a:solidFill>
                <a:schemeClr val="tx1">
                  <a:lumMod val="75000"/>
                  <a:lumOff val="25000"/>
                </a:schemeClr>
              </a:solidFill>
            </a:endParaRPr>
          </a:p>
        </p:txBody>
      </p:sp>
      <p:sp>
        <p:nvSpPr>
          <p:cNvPr id="24" name="Rectangle 23">
            <a:extLst>
              <a:ext uri="{FF2B5EF4-FFF2-40B4-BE49-F238E27FC236}">
                <a16:creationId xmlns:a16="http://schemas.microsoft.com/office/drawing/2014/main" id="{8C32F71E-6658-4659-979D-0FC2CCDEBA6E}"/>
              </a:ext>
            </a:extLst>
          </p:cNvPr>
          <p:cNvSpPr/>
          <p:nvPr userDrawn="1"/>
        </p:nvSpPr>
        <p:spPr>
          <a:xfrm>
            <a:off x="9818260" y="295168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kdkdkdkdk</a:t>
            </a:r>
            <a:endParaRPr lang="en-GB" sz="1200">
              <a:solidFill>
                <a:schemeClr val="tx1">
                  <a:lumMod val="75000"/>
                  <a:lumOff val="25000"/>
                </a:schemeClr>
              </a:solidFill>
            </a:endParaRPr>
          </a:p>
        </p:txBody>
      </p:sp>
      <p:sp>
        <p:nvSpPr>
          <p:cNvPr id="25" name="Oval 24">
            <a:extLst>
              <a:ext uri="{FF2B5EF4-FFF2-40B4-BE49-F238E27FC236}">
                <a16:creationId xmlns:a16="http://schemas.microsoft.com/office/drawing/2014/main" id="{F6361F5C-1D77-44C6-A718-92CD3D9C0A41}"/>
              </a:ext>
            </a:extLst>
          </p:cNvPr>
          <p:cNvSpPr/>
          <p:nvPr userDrawn="1"/>
        </p:nvSpPr>
        <p:spPr>
          <a:xfrm>
            <a:off x="4378127"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26" name="Oval 25">
            <a:extLst>
              <a:ext uri="{FF2B5EF4-FFF2-40B4-BE49-F238E27FC236}">
                <a16:creationId xmlns:a16="http://schemas.microsoft.com/office/drawing/2014/main" id="{A7285BE9-6108-4CF3-B79D-B55E2D06FC5A}"/>
              </a:ext>
            </a:extLst>
          </p:cNvPr>
          <p:cNvSpPr/>
          <p:nvPr userDrawn="1"/>
        </p:nvSpPr>
        <p:spPr>
          <a:xfrm>
            <a:off x="5515485"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27" name="Oval 26">
            <a:extLst>
              <a:ext uri="{FF2B5EF4-FFF2-40B4-BE49-F238E27FC236}">
                <a16:creationId xmlns:a16="http://schemas.microsoft.com/office/drawing/2014/main" id="{D2B40DB0-4088-43B5-9AB1-F3D2CF33024D}"/>
              </a:ext>
            </a:extLst>
          </p:cNvPr>
          <p:cNvSpPr/>
          <p:nvPr userDrawn="1"/>
        </p:nvSpPr>
        <p:spPr>
          <a:xfrm>
            <a:off x="6652843"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28" name="Oval 27">
            <a:extLst>
              <a:ext uri="{FF2B5EF4-FFF2-40B4-BE49-F238E27FC236}">
                <a16:creationId xmlns:a16="http://schemas.microsoft.com/office/drawing/2014/main" id="{F6F4CDD5-E15D-443D-9C6A-D87C71ADF3CA}"/>
              </a:ext>
            </a:extLst>
          </p:cNvPr>
          <p:cNvSpPr/>
          <p:nvPr userDrawn="1"/>
        </p:nvSpPr>
        <p:spPr>
          <a:xfrm>
            <a:off x="7790201"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29" name="Oval 28">
            <a:extLst>
              <a:ext uri="{FF2B5EF4-FFF2-40B4-BE49-F238E27FC236}">
                <a16:creationId xmlns:a16="http://schemas.microsoft.com/office/drawing/2014/main" id="{A80CF5CE-3F26-4ED0-8452-16DECD811B3C}"/>
              </a:ext>
            </a:extLst>
          </p:cNvPr>
          <p:cNvSpPr/>
          <p:nvPr userDrawn="1"/>
        </p:nvSpPr>
        <p:spPr>
          <a:xfrm>
            <a:off x="8927558"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30" name="Oval 29">
            <a:extLst>
              <a:ext uri="{FF2B5EF4-FFF2-40B4-BE49-F238E27FC236}">
                <a16:creationId xmlns:a16="http://schemas.microsoft.com/office/drawing/2014/main" id="{29A798BE-9F52-4F35-8DC9-DD8F762540FA}"/>
              </a:ext>
            </a:extLst>
          </p:cNvPr>
          <p:cNvSpPr/>
          <p:nvPr userDrawn="1"/>
        </p:nvSpPr>
        <p:spPr>
          <a:xfrm>
            <a:off x="10064913" y="4338845"/>
            <a:ext cx="1329231" cy="996923"/>
          </a:xfrm>
          <a:prstGeom prst="ellipse">
            <a:avLst/>
          </a:prstGeom>
          <a:solidFill>
            <a:schemeClr val="bg1">
              <a:lumMod val="95000"/>
            </a:schemeClr>
          </a:solidFill>
          <a:ln>
            <a:solidFill>
              <a:schemeClr val="bg1">
                <a:lumMod val="50000"/>
              </a:schemeClr>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endParaRPr lang="en-GB" sz="1000">
              <a:solidFill>
                <a:schemeClr val="tx1">
                  <a:lumMod val="75000"/>
                  <a:lumOff val="25000"/>
                </a:schemeClr>
              </a:solidFill>
            </a:endParaRPr>
          </a:p>
        </p:txBody>
      </p:sp>
      <p:sp>
        <p:nvSpPr>
          <p:cNvPr id="31" name="Rectangle 30">
            <a:extLst>
              <a:ext uri="{FF2B5EF4-FFF2-40B4-BE49-F238E27FC236}">
                <a16:creationId xmlns:a16="http://schemas.microsoft.com/office/drawing/2014/main" id="{6C3CEA32-C802-46B9-9C07-FC99458B0926}"/>
              </a:ext>
            </a:extLst>
          </p:cNvPr>
          <p:cNvSpPr/>
          <p:nvPr userDrawn="1"/>
        </p:nvSpPr>
        <p:spPr>
          <a:xfrm>
            <a:off x="4226281" y="424192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xyxyxyxyxy</a:t>
            </a:r>
            <a:endParaRPr lang="en-GB" sz="1000">
              <a:solidFill>
                <a:schemeClr val="tx1">
                  <a:lumMod val="75000"/>
                  <a:lumOff val="25000"/>
                </a:schemeClr>
              </a:solidFill>
            </a:endParaRPr>
          </a:p>
        </p:txBody>
      </p:sp>
      <p:sp>
        <p:nvSpPr>
          <p:cNvPr id="32" name="Rectangle 31">
            <a:extLst>
              <a:ext uri="{FF2B5EF4-FFF2-40B4-BE49-F238E27FC236}">
                <a16:creationId xmlns:a16="http://schemas.microsoft.com/office/drawing/2014/main" id="{9F2FFF34-FA96-4B31-81BD-1E892862A2C7}"/>
              </a:ext>
            </a:extLst>
          </p:cNvPr>
          <p:cNvSpPr/>
          <p:nvPr userDrawn="1"/>
        </p:nvSpPr>
        <p:spPr>
          <a:xfrm>
            <a:off x="5366869" y="424192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xyxyxyxyxy</a:t>
            </a:r>
            <a:endParaRPr lang="en-GB" sz="1000">
              <a:solidFill>
                <a:schemeClr val="tx1">
                  <a:lumMod val="75000"/>
                  <a:lumOff val="25000"/>
                </a:schemeClr>
              </a:solidFill>
            </a:endParaRPr>
          </a:p>
        </p:txBody>
      </p:sp>
      <p:sp>
        <p:nvSpPr>
          <p:cNvPr id="33" name="Rectangle 32">
            <a:extLst>
              <a:ext uri="{FF2B5EF4-FFF2-40B4-BE49-F238E27FC236}">
                <a16:creationId xmlns:a16="http://schemas.microsoft.com/office/drawing/2014/main" id="{EAB8B91D-FEAA-4EA3-A432-4EFF8EF52331}"/>
              </a:ext>
            </a:extLst>
          </p:cNvPr>
          <p:cNvSpPr/>
          <p:nvPr userDrawn="1"/>
        </p:nvSpPr>
        <p:spPr>
          <a:xfrm>
            <a:off x="6507457" y="424192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xxxyyyyy</a:t>
            </a:r>
            <a:endParaRPr lang="en-GB" sz="1000">
              <a:solidFill>
                <a:schemeClr val="tx1">
                  <a:lumMod val="75000"/>
                  <a:lumOff val="25000"/>
                </a:schemeClr>
              </a:solidFill>
            </a:endParaRPr>
          </a:p>
        </p:txBody>
      </p:sp>
      <p:sp>
        <p:nvSpPr>
          <p:cNvPr id="34" name="Rectangle 33">
            <a:extLst>
              <a:ext uri="{FF2B5EF4-FFF2-40B4-BE49-F238E27FC236}">
                <a16:creationId xmlns:a16="http://schemas.microsoft.com/office/drawing/2014/main" id="{866C0C93-304F-4368-BF2D-4F1ED0B88751}"/>
              </a:ext>
            </a:extLst>
          </p:cNvPr>
          <p:cNvSpPr/>
          <p:nvPr userDrawn="1"/>
        </p:nvSpPr>
        <p:spPr>
          <a:xfrm>
            <a:off x="7583405" y="424192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ssssssss</a:t>
            </a:r>
            <a:endParaRPr lang="en-GB" sz="1000">
              <a:solidFill>
                <a:schemeClr val="tx1">
                  <a:lumMod val="75000"/>
                  <a:lumOff val="25000"/>
                </a:schemeClr>
              </a:solidFill>
            </a:endParaRPr>
          </a:p>
        </p:txBody>
      </p:sp>
      <p:sp>
        <p:nvSpPr>
          <p:cNvPr id="35" name="Rectangle 34">
            <a:extLst>
              <a:ext uri="{FF2B5EF4-FFF2-40B4-BE49-F238E27FC236}">
                <a16:creationId xmlns:a16="http://schemas.microsoft.com/office/drawing/2014/main" id="{9F7FE527-312C-48AF-8DDB-D544B8F6B281}"/>
              </a:ext>
            </a:extLst>
          </p:cNvPr>
          <p:cNvSpPr/>
          <p:nvPr userDrawn="1"/>
        </p:nvSpPr>
        <p:spPr>
          <a:xfrm>
            <a:off x="8741741" y="4241927"/>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sdqdskdkd</a:t>
            </a:r>
            <a:endParaRPr lang="en-GB" sz="1000">
              <a:solidFill>
                <a:schemeClr val="tx1">
                  <a:lumMod val="75000"/>
                  <a:lumOff val="25000"/>
                </a:schemeClr>
              </a:solidFill>
            </a:endParaRPr>
          </a:p>
        </p:txBody>
      </p:sp>
      <p:sp>
        <p:nvSpPr>
          <p:cNvPr id="36" name="Title 4">
            <a:extLst>
              <a:ext uri="{FF2B5EF4-FFF2-40B4-BE49-F238E27FC236}">
                <a16:creationId xmlns:a16="http://schemas.microsoft.com/office/drawing/2014/main" id="{119981D6-EE3A-44FC-ADA1-97072DC3DF56}"/>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37" name="TextBox 36">
            <a:extLst>
              <a:ext uri="{FF2B5EF4-FFF2-40B4-BE49-F238E27FC236}">
                <a16:creationId xmlns:a16="http://schemas.microsoft.com/office/drawing/2014/main" id="{D0DEAC6E-A0CB-482F-B46C-038AD1C2DBF8}"/>
              </a:ext>
            </a:extLst>
          </p:cNvPr>
          <p:cNvSpPr txBox="1"/>
          <p:nvPr userDrawn="1"/>
        </p:nvSpPr>
        <p:spPr bwMode="auto">
          <a:xfrm>
            <a:off x="11255623" y="712343"/>
            <a:ext cx="409328" cy="428570"/>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solidFill>
                  <a:schemeClr val="tx1">
                    <a:lumMod val="75000"/>
                    <a:lumOff val="25000"/>
                  </a:schemeClr>
                </a:solidFill>
                <a:latin typeface="+mn-lt"/>
              </a:rPr>
              <a:t>1</a:t>
            </a:r>
          </a:p>
        </p:txBody>
      </p:sp>
      <p:sp>
        <p:nvSpPr>
          <p:cNvPr id="38" name="Rectangle 37">
            <a:extLst>
              <a:ext uri="{FF2B5EF4-FFF2-40B4-BE49-F238E27FC236}">
                <a16:creationId xmlns:a16="http://schemas.microsoft.com/office/drawing/2014/main" id="{E5368599-E20E-4261-8858-A1339731BB88}"/>
              </a:ext>
            </a:extLst>
          </p:cNvPr>
          <p:cNvSpPr/>
          <p:nvPr userDrawn="1"/>
        </p:nvSpPr>
        <p:spPr>
          <a:xfrm>
            <a:off x="9909835" y="4222908"/>
            <a:ext cx="1639384" cy="12287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000" err="1">
                <a:solidFill>
                  <a:schemeClr val="tx1">
                    <a:lumMod val="75000"/>
                    <a:lumOff val="25000"/>
                  </a:schemeClr>
                </a:solidFill>
              </a:rPr>
              <a:t>sdqdskdkd</a:t>
            </a:r>
            <a:endParaRPr lang="en-GB" sz="1000">
              <a:solidFill>
                <a:schemeClr val="tx1">
                  <a:lumMod val="75000"/>
                  <a:lumOff val="25000"/>
                </a:schemeClr>
              </a:solidFill>
            </a:endParaRPr>
          </a:p>
        </p:txBody>
      </p:sp>
    </p:spTree>
    <p:extLst>
      <p:ext uri="{BB962C8B-B14F-4D97-AF65-F5344CB8AC3E}">
        <p14:creationId xmlns:p14="http://schemas.microsoft.com/office/powerpoint/2010/main" val="5285160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9571A4E-CC15-4907-84FB-F6FD43993F56}"/>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1387454F-12E4-40BF-A2D3-F16ADCF3A73D}"/>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093E4F51-5E86-49DF-98A8-9318916B1E66}"/>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Pentagon 7">
            <a:extLst>
              <a:ext uri="{FF2B5EF4-FFF2-40B4-BE49-F238E27FC236}">
                <a16:creationId xmlns:a16="http://schemas.microsoft.com/office/drawing/2014/main" id="{2AAAB2E6-B27F-4BC4-B853-F6314763C952}"/>
              </a:ext>
            </a:extLst>
          </p:cNvPr>
          <p:cNvSpPr/>
          <p:nvPr userDrawn="1"/>
        </p:nvSpPr>
        <p:spPr bwMode="auto">
          <a:xfrm rot="5400000">
            <a:off x="3645799" y="-650186"/>
            <a:ext cx="528792" cy="5229589"/>
          </a:xfrm>
          <a:prstGeom prst="homePlate">
            <a:avLst>
              <a:gd name="adj" fmla="val 23542"/>
            </a:avLst>
          </a:prstGeom>
          <a:solidFill>
            <a:schemeClr val="accent2"/>
          </a:solidFill>
          <a:ln w="9525" cap="flat" cmpd="sng" algn="ctr">
            <a:solidFill>
              <a:srgbClr val="00B050"/>
            </a:solidFill>
            <a:prstDash val="solid"/>
            <a:round/>
            <a:headEnd type="none" w="med" len="med"/>
            <a:tailEnd type="none" w="med" len="med"/>
          </a:ln>
          <a:effectLst>
            <a:outerShdw blurRad="50800" dist="38100" dir="2700000" algn="tl" rotWithShape="0">
              <a:prstClr val="black">
                <a:alpha val="40000"/>
              </a:prstClr>
            </a:outerShdw>
          </a:effectLst>
        </p:spPr>
        <p:txBody>
          <a:bodyPr vert="vert270" wrap="square" lIns="84406" tIns="42203" rIns="84406" bIns="42203" numCol="1" rtlCol="0" anchor="ctr" anchorCtr="0" compatLnSpc="1">
            <a:prstTxWarp prst="textNoShape">
              <a:avLst/>
            </a:prstTxWarp>
          </a:bodyPr>
          <a:lstStyle/>
          <a:p>
            <a:pPr algn="ctr"/>
            <a:r>
              <a:rPr lang="en-GB" sz="1100" b="1" err="1">
                <a:solidFill>
                  <a:schemeClr val="bg1"/>
                </a:solidFill>
              </a:rPr>
              <a:t>Eddddddddddddddddddddddd</a:t>
            </a:r>
            <a:endParaRPr lang="en-GB" sz="1100" i="1">
              <a:solidFill>
                <a:schemeClr val="bg1"/>
              </a:solidFill>
            </a:endParaRPr>
          </a:p>
        </p:txBody>
      </p:sp>
      <p:sp>
        <p:nvSpPr>
          <p:cNvPr id="7" name="Pentagon 8">
            <a:extLst>
              <a:ext uri="{FF2B5EF4-FFF2-40B4-BE49-F238E27FC236}">
                <a16:creationId xmlns:a16="http://schemas.microsoft.com/office/drawing/2014/main" id="{B6454127-B97A-4435-87D2-0C11040BD5B3}"/>
              </a:ext>
            </a:extLst>
          </p:cNvPr>
          <p:cNvSpPr/>
          <p:nvPr userDrawn="1"/>
        </p:nvSpPr>
        <p:spPr bwMode="auto">
          <a:xfrm rot="5400000">
            <a:off x="8972521" y="-465224"/>
            <a:ext cx="526703" cy="4861761"/>
          </a:xfrm>
          <a:prstGeom prst="homePlate">
            <a:avLst>
              <a:gd name="adj" fmla="val 23542"/>
            </a:avLst>
          </a:prstGeom>
          <a:solidFill>
            <a:schemeClr val="accent2"/>
          </a:solidFill>
          <a:ln w="9525" cap="flat" cmpd="sng" algn="ctr">
            <a:solidFill>
              <a:srgbClr val="00B050"/>
            </a:solidFill>
            <a:prstDash val="solid"/>
            <a:round/>
            <a:headEnd type="none" w="med" len="med"/>
            <a:tailEnd type="none" w="med" len="med"/>
          </a:ln>
          <a:effectLst>
            <a:outerShdw blurRad="50800" dist="38100" dir="2700000" algn="tl" rotWithShape="0">
              <a:prstClr val="black">
                <a:alpha val="40000"/>
              </a:prstClr>
            </a:outerShdw>
          </a:effectLst>
        </p:spPr>
        <p:txBody>
          <a:bodyPr vert="vert270" wrap="square" lIns="84406" tIns="42203" rIns="84406" bIns="42203" numCol="1" rtlCol="0" anchor="ctr" anchorCtr="0" compatLnSpc="1">
            <a:prstTxWarp prst="textNoShape">
              <a:avLst/>
            </a:prstTxWarp>
          </a:bodyPr>
          <a:lstStyle/>
          <a:p>
            <a:pPr algn="ctr"/>
            <a:r>
              <a:rPr lang="en-GB" sz="1100" b="1" err="1">
                <a:solidFill>
                  <a:schemeClr val="bg1"/>
                </a:solidFill>
              </a:rPr>
              <a:t>dddddddddddddddddddddddddd</a:t>
            </a:r>
            <a:endParaRPr lang="en-GB" sz="1100" b="1">
              <a:solidFill>
                <a:schemeClr val="bg1"/>
              </a:solidFill>
            </a:endParaRPr>
          </a:p>
        </p:txBody>
      </p:sp>
      <p:sp>
        <p:nvSpPr>
          <p:cNvPr id="8" name="Rectangle 7">
            <a:extLst>
              <a:ext uri="{FF2B5EF4-FFF2-40B4-BE49-F238E27FC236}">
                <a16:creationId xmlns:a16="http://schemas.microsoft.com/office/drawing/2014/main" id="{0E952CF2-43B7-4767-8BF6-CA35B445412E}"/>
              </a:ext>
            </a:extLst>
          </p:cNvPr>
          <p:cNvSpPr/>
          <p:nvPr userDrawn="1"/>
        </p:nvSpPr>
        <p:spPr>
          <a:xfrm>
            <a:off x="6804995" y="2481359"/>
            <a:ext cx="1595261" cy="101919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err="1">
                <a:solidFill>
                  <a:schemeClr val="tx1"/>
                </a:solidFill>
              </a:rPr>
              <a:t>qdssfdqfds</a:t>
            </a:r>
            <a:endParaRPr lang="en-GB" sz="1100" b="1">
              <a:solidFill>
                <a:schemeClr val="tx1"/>
              </a:solidFill>
            </a:endParaRPr>
          </a:p>
        </p:txBody>
      </p:sp>
      <p:sp>
        <p:nvSpPr>
          <p:cNvPr id="9" name="Rectangle 8">
            <a:extLst>
              <a:ext uri="{FF2B5EF4-FFF2-40B4-BE49-F238E27FC236}">
                <a16:creationId xmlns:a16="http://schemas.microsoft.com/office/drawing/2014/main" id="{7C92AB74-A0D6-4ADB-8294-1ED0B6653B0A}"/>
              </a:ext>
            </a:extLst>
          </p:cNvPr>
          <p:cNvSpPr/>
          <p:nvPr userDrawn="1"/>
        </p:nvSpPr>
        <p:spPr>
          <a:xfrm>
            <a:off x="8496267" y="2480405"/>
            <a:ext cx="3168684" cy="1037476"/>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buClr>
              <a:buFont typeface="Arial" panose="020B0604020202020204" pitchFamily="34" charset="0"/>
              <a:buChar char="•"/>
            </a:pPr>
            <a:r>
              <a:rPr lang="en-GB" sz="1100" err="1">
                <a:solidFill>
                  <a:schemeClr val="tx1"/>
                </a:solidFill>
              </a:rPr>
              <a:t>dsdsdsfdffdfdsf</a:t>
            </a:r>
            <a:endParaRPr lang="en-GB" sz="1100" u="sng">
              <a:solidFill>
                <a:schemeClr val="tx1"/>
              </a:solidFill>
            </a:endParaRPr>
          </a:p>
        </p:txBody>
      </p:sp>
      <p:sp>
        <p:nvSpPr>
          <p:cNvPr id="10" name="Rectangle 9">
            <a:extLst>
              <a:ext uri="{FF2B5EF4-FFF2-40B4-BE49-F238E27FC236}">
                <a16:creationId xmlns:a16="http://schemas.microsoft.com/office/drawing/2014/main" id="{76B982C7-8FED-4412-9D45-EF82F6DDCCD0}"/>
              </a:ext>
            </a:extLst>
          </p:cNvPr>
          <p:cNvSpPr/>
          <p:nvPr userDrawn="1"/>
        </p:nvSpPr>
        <p:spPr>
          <a:xfrm>
            <a:off x="6804995" y="3588222"/>
            <a:ext cx="1595261" cy="1063502"/>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err="1">
                <a:solidFill>
                  <a:schemeClr val="tx1"/>
                </a:solidFill>
              </a:rPr>
              <a:t>ddqsfdE</a:t>
            </a:r>
            <a:endParaRPr lang="en-GB" sz="1100" b="1">
              <a:solidFill>
                <a:schemeClr val="tx1"/>
              </a:solidFill>
            </a:endParaRPr>
          </a:p>
        </p:txBody>
      </p:sp>
      <p:sp>
        <p:nvSpPr>
          <p:cNvPr id="11" name="Rectangle 10">
            <a:extLst>
              <a:ext uri="{FF2B5EF4-FFF2-40B4-BE49-F238E27FC236}">
                <a16:creationId xmlns:a16="http://schemas.microsoft.com/office/drawing/2014/main" id="{A29F9A51-C499-4AF1-B07D-B86E4BC9EE71}"/>
              </a:ext>
            </a:extLst>
          </p:cNvPr>
          <p:cNvSpPr/>
          <p:nvPr userDrawn="1"/>
        </p:nvSpPr>
        <p:spPr>
          <a:xfrm>
            <a:off x="6804995" y="4797153"/>
            <a:ext cx="1595261" cy="1283838"/>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err="1">
                <a:solidFill>
                  <a:schemeClr val="tx1"/>
                </a:solidFill>
              </a:rPr>
              <a:t>dqsqdfs</a:t>
            </a:r>
            <a:endParaRPr lang="en-GB" sz="1100" b="1">
              <a:solidFill>
                <a:schemeClr val="tx1"/>
              </a:solidFill>
            </a:endParaRPr>
          </a:p>
        </p:txBody>
      </p:sp>
      <p:sp>
        <p:nvSpPr>
          <p:cNvPr id="12" name="Rectangle 11">
            <a:extLst>
              <a:ext uri="{FF2B5EF4-FFF2-40B4-BE49-F238E27FC236}">
                <a16:creationId xmlns:a16="http://schemas.microsoft.com/office/drawing/2014/main" id="{47588646-489D-4F59-AFFF-F45FA99F6527}"/>
              </a:ext>
            </a:extLst>
          </p:cNvPr>
          <p:cNvSpPr/>
          <p:nvPr userDrawn="1"/>
        </p:nvSpPr>
        <p:spPr>
          <a:xfrm>
            <a:off x="8496267" y="3596663"/>
            <a:ext cx="3168685" cy="1055061"/>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buClr>
              <a:buFont typeface="Arial" panose="020B0604020202020204" pitchFamily="34" charset="0"/>
              <a:buChar char="•"/>
            </a:pPr>
            <a:r>
              <a:rPr lang="en-GB" sz="1100" err="1">
                <a:solidFill>
                  <a:schemeClr val="tx1"/>
                </a:solidFill>
              </a:rPr>
              <a:t>qsdfdfdsff</a:t>
            </a:r>
            <a:endParaRPr lang="en-GB" sz="1100" i="1">
              <a:solidFill>
                <a:schemeClr val="tx1"/>
              </a:solidFill>
            </a:endParaRPr>
          </a:p>
        </p:txBody>
      </p:sp>
      <p:sp>
        <p:nvSpPr>
          <p:cNvPr id="13" name="Rectangle 12">
            <a:extLst>
              <a:ext uri="{FF2B5EF4-FFF2-40B4-BE49-F238E27FC236}">
                <a16:creationId xmlns:a16="http://schemas.microsoft.com/office/drawing/2014/main" id="{58A70B21-8EA4-4E10-A32A-EC0CFD8F38DF}"/>
              </a:ext>
            </a:extLst>
          </p:cNvPr>
          <p:cNvSpPr/>
          <p:nvPr userDrawn="1"/>
        </p:nvSpPr>
        <p:spPr>
          <a:xfrm>
            <a:off x="8496267" y="4797153"/>
            <a:ext cx="3183819" cy="128383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buClr>
              <a:buFont typeface="Arial" panose="020B0604020202020204" pitchFamily="34" charset="0"/>
              <a:buChar char="•"/>
            </a:pPr>
            <a:r>
              <a:rPr lang="en-GB" sz="1100" err="1">
                <a:solidFill>
                  <a:schemeClr val="tx1"/>
                </a:solidFill>
              </a:rPr>
              <a:t>qsfdfsqdffdffdsqfd</a:t>
            </a:r>
            <a:endParaRPr lang="en-GB" sz="1100">
              <a:solidFill>
                <a:schemeClr val="tx1"/>
              </a:solidFill>
            </a:endParaRPr>
          </a:p>
          <a:p>
            <a:pPr marL="171450" indent="-171450">
              <a:buClr>
                <a:schemeClr val="accent2"/>
              </a:buClr>
              <a:buFont typeface="Arial" panose="020B0604020202020204" pitchFamily="34" charset="0"/>
              <a:buChar char="•"/>
            </a:pPr>
            <a:r>
              <a:rPr lang="en-GB" sz="1100" err="1">
                <a:solidFill>
                  <a:schemeClr val="tx1"/>
                </a:solidFill>
              </a:rPr>
              <a:t>qsdqsdddddddd</a:t>
            </a:r>
            <a:endParaRPr lang="en-GB" sz="1100" b="1">
              <a:solidFill>
                <a:schemeClr val="tx1"/>
              </a:solidFill>
            </a:endParaRPr>
          </a:p>
        </p:txBody>
      </p:sp>
      <p:sp>
        <p:nvSpPr>
          <p:cNvPr id="14" name="Rectangle 13">
            <a:extLst>
              <a:ext uri="{FF2B5EF4-FFF2-40B4-BE49-F238E27FC236}">
                <a16:creationId xmlns:a16="http://schemas.microsoft.com/office/drawing/2014/main" id="{66C48209-AAF5-4333-AD4C-BBC0F1143742}"/>
              </a:ext>
            </a:extLst>
          </p:cNvPr>
          <p:cNvSpPr/>
          <p:nvPr userDrawn="1"/>
        </p:nvSpPr>
        <p:spPr>
          <a:xfrm>
            <a:off x="1295399" y="4793686"/>
            <a:ext cx="1595261" cy="1283838"/>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err="1">
                <a:solidFill>
                  <a:schemeClr val="tx1"/>
                </a:solidFill>
              </a:rPr>
              <a:t>qsddsfqfsdfdf</a:t>
            </a:r>
            <a:endParaRPr lang="en-GB" sz="1100" b="1">
              <a:solidFill>
                <a:schemeClr val="tx1"/>
              </a:solidFill>
            </a:endParaRPr>
          </a:p>
        </p:txBody>
      </p:sp>
      <p:sp>
        <p:nvSpPr>
          <p:cNvPr id="15" name="Rectangle 14">
            <a:extLst>
              <a:ext uri="{FF2B5EF4-FFF2-40B4-BE49-F238E27FC236}">
                <a16:creationId xmlns:a16="http://schemas.microsoft.com/office/drawing/2014/main" id="{E08FC4CC-908D-4960-BE20-AE06F5AEA536}"/>
              </a:ext>
            </a:extLst>
          </p:cNvPr>
          <p:cNvSpPr/>
          <p:nvPr userDrawn="1"/>
        </p:nvSpPr>
        <p:spPr>
          <a:xfrm>
            <a:off x="2996563" y="4793687"/>
            <a:ext cx="2553551" cy="58995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108"/>
              </a:spcAft>
            </a:pPr>
            <a:r>
              <a:rPr lang="en-GB" sz="1100">
                <a:solidFill>
                  <a:schemeClr val="tx1"/>
                </a:solidFill>
              </a:rPr>
              <a:t>Plenary Vote</a:t>
            </a:r>
          </a:p>
        </p:txBody>
      </p:sp>
      <p:sp>
        <p:nvSpPr>
          <p:cNvPr id="16" name="Rectangle 15">
            <a:extLst>
              <a:ext uri="{FF2B5EF4-FFF2-40B4-BE49-F238E27FC236}">
                <a16:creationId xmlns:a16="http://schemas.microsoft.com/office/drawing/2014/main" id="{076945A7-A16F-48EB-811C-05B95B9A862F}"/>
              </a:ext>
            </a:extLst>
          </p:cNvPr>
          <p:cNvSpPr/>
          <p:nvPr userDrawn="1"/>
        </p:nvSpPr>
        <p:spPr>
          <a:xfrm>
            <a:off x="1295399" y="2458653"/>
            <a:ext cx="1595261" cy="2145292"/>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err="1">
                <a:solidFill>
                  <a:schemeClr val="tx1"/>
                </a:solidFill>
              </a:rPr>
              <a:t>qsdqdsfdfsdfs</a:t>
            </a:r>
            <a:endParaRPr lang="en-GB" sz="1100" b="1">
              <a:solidFill>
                <a:schemeClr val="tx1"/>
              </a:solidFill>
            </a:endParaRPr>
          </a:p>
        </p:txBody>
      </p:sp>
      <p:sp>
        <p:nvSpPr>
          <p:cNvPr id="17" name="Rectangle 16">
            <a:extLst>
              <a:ext uri="{FF2B5EF4-FFF2-40B4-BE49-F238E27FC236}">
                <a16:creationId xmlns:a16="http://schemas.microsoft.com/office/drawing/2014/main" id="{F78C2D70-48DC-4084-8CBB-4219D575D282}"/>
              </a:ext>
            </a:extLst>
          </p:cNvPr>
          <p:cNvSpPr/>
          <p:nvPr userDrawn="1"/>
        </p:nvSpPr>
        <p:spPr>
          <a:xfrm>
            <a:off x="3034841" y="2476940"/>
            <a:ext cx="2515272" cy="465282"/>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err="1">
                <a:solidFill>
                  <a:schemeClr val="tx1"/>
                </a:solidFill>
              </a:rPr>
              <a:t>sqdlqsdflkfdqlkdfsqlkdfqs</a:t>
            </a:r>
            <a:endParaRPr lang="en-GB" sz="1100">
              <a:solidFill>
                <a:schemeClr val="tx1"/>
              </a:solidFill>
            </a:endParaRPr>
          </a:p>
        </p:txBody>
      </p:sp>
      <p:sp>
        <p:nvSpPr>
          <p:cNvPr id="18" name="Rectangle 17">
            <a:extLst>
              <a:ext uri="{FF2B5EF4-FFF2-40B4-BE49-F238E27FC236}">
                <a16:creationId xmlns:a16="http://schemas.microsoft.com/office/drawing/2014/main" id="{A24AB73D-4047-491A-B8B2-1FD6148C8997}"/>
              </a:ext>
            </a:extLst>
          </p:cNvPr>
          <p:cNvSpPr/>
          <p:nvPr userDrawn="1"/>
        </p:nvSpPr>
        <p:spPr>
          <a:xfrm>
            <a:off x="3034841" y="3022406"/>
            <a:ext cx="2515272" cy="465282"/>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err="1">
                <a:solidFill>
                  <a:schemeClr val="tx1"/>
                </a:solidFill>
              </a:rPr>
              <a:t>dqsdklsdfqkldfsqklmdfskldfs</a:t>
            </a:r>
            <a:endParaRPr lang="en-GB" sz="1100">
              <a:solidFill>
                <a:schemeClr val="tx1"/>
              </a:solidFill>
            </a:endParaRPr>
          </a:p>
        </p:txBody>
      </p:sp>
      <p:sp>
        <p:nvSpPr>
          <p:cNvPr id="19" name="Rectangle 18">
            <a:extLst>
              <a:ext uri="{FF2B5EF4-FFF2-40B4-BE49-F238E27FC236}">
                <a16:creationId xmlns:a16="http://schemas.microsoft.com/office/drawing/2014/main" id="{0A71BCAD-4BB8-4EF5-935F-D5528141B18F}"/>
              </a:ext>
            </a:extLst>
          </p:cNvPr>
          <p:cNvSpPr/>
          <p:nvPr userDrawn="1"/>
        </p:nvSpPr>
        <p:spPr>
          <a:xfrm>
            <a:off x="3034841" y="3567872"/>
            <a:ext cx="2515272" cy="465282"/>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err="1">
                <a:solidFill>
                  <a:schemeClr val="tx1"/>
                </a:solidFill>
              </a:rPr>
              <a:t>sdqklsdqmsdqmdsm</a:t>
            </a:r>
            <a:endParaRPr lang="en-GB" sz="1100">
              <a:solidFill>
                <a:schemeClr val="tx1"/>
              </a:solidFill>
            </a:endParaRPr>
          </a:p>
        </p:txBody>
      </p:sp>
      <p:sp>
        <p:nvSpPr>
          <p:cNvPr id="20" name="Rectangle 19">
            <a:extLst>
              <a:ext uri="{FF2B5EF4-FFF2-40B4-BE49-F238E27FC236}">
                <a16:creationId xmlns:a16="http://schemas.microsoft.com/office/drawing/2014/main" id="{99772900-D86E-471C-956C-5666973A7587}"/>
              </a:ext>
            </a:extLst>
          </p:cNvPr>
          <p:cNvSpPr/>
          <p:nvPr userDrawn="1"/>
        </p:nvSpPr>
        <p:spPr>
          <a:xfrm>
            <a:off x="3035544" y="4138663"/>
            <a:ext cx="2515272" cy="465282"/>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100" err="1">
                <a:solidFill>
                  <a:schemeClr val="tx1"/>
                </a:solidFill>
              </a:rPr>
              <a:t>qsdfdsqfsdqlkfdskldsf</a:t>
            </a:r>
            <a:endParaRPr lang="en-GB" sz="1100">
              <a:solidFill>
                <a:schemeClr val="tx1"/>
              </a:solidFill>
            </a:endParaRPr>
          </a:p>
        </p:txBody>
      </p:sp>
      <p:sp>
        <p:nvSpPr>
          <p:cNvPr id="21" name="Rectangle 20">
            <a:extLst>
              <a:ext uri="{FF2B5EF4-FFF2-40B4-BE49-F238E27FC236}">
                <a16:creationId xmlns:a16="http://schemas.microsoft.com/office/drawing/2014/main" id="{3DE969FC-386E-4F9E-AF01-E39A364D7B48}"/>
              </a:ext>
            </a:extLst>
          </p:cNvPr>
          <p:cNvSpPr/>
          <p:nvPr userDrawn="1"/>
        </p:nvSpPr>
        <p:spPr>
          <a:xfrm>
            <a:off x="5727363" y="2476940"/>
            <a:ext cx="797627" cy="465282"/>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err="1">
                <a:solidFill>
                  <a:schemeClr val="tx1"/>
                </a:solidFill>
              </a:rPr>
              <a:t>qsdsdqfds</a:t>
            </a:r>
            <a:endParaRPr lang="en-GB" sz="1100">
              <a:solidFill>
                <a:schemeClr val="tx1"/>
              </a:solidFill>
            </a:endParaRPr>
          </a:p>
        </p:txBody>
      </p:sp>
      <p:sp>
        <p:nvSpPr>
          <p:cNvPr id="22" name="Rectangle 21">
            <a:extLst>
              <a:ext uri="{FF2B5EF4-FFF2-40B4-BE49-F238E27FC236}">
                <a16:creationId xmlns:a16="http://schemas.microsoft.com/office/drawing/2014/main" id="{A2DB2476-D2B2-433C-96ED-71A4E24D55C3}"/>
              </a:ext>
            </a:extLst>
          </p:cNvPr>
          <p:cNvSpPr/>
          <p:nvPr userDrawn="1"/>
        </p:nvSpPr>
        <p:spPr>
          <a:xfrm>
            <a:off x="5727363" y="3030848"/>
            <a:ext cx="797627" cy="465282"/>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err="1">
                <a:solidFill>
                  <a:schemeClr val="tx1"/>
                </a:solidFill>
              </a:rPr>
              <a:t>qsddsqf</a:t>
            </a:r>
            <a:endParaRPr lang="en-GB" sz="1100">
              <a:solidFill>
                <a:schemeClr val="tx1"/>
              </a:solidFill>
            </a:endParaRPr>
          </a:p>
        </p:txBody>
      </p:sp>
      <p:sp>
        <p:nvSpPr>
          <p:cNvPr id="23" name="Rectangle 22">
            <a:extLst>
              <a:ext uri="{FF2B5EF4-FFF2-40B4-BE49-F238E27FC236}">
                <a16:creationId xmlns:a16="http://schemas.microsoft.com/office/drawing/2014/main" id="{2D03ED51-5AD0-4D15-AFF4-087617F34769}"/>
              </a:ext>
            </a:extLst>
          </p:cNvPr>
          <p:cNvSpPr/>
          <p:nvPr userDrawn="1"/>
        </p:nvSpPr>
        <p:spPr>
          <a:xfrm>
            <a:off x="5727363" y="3584756"/>
            <a:ext cx="797627" cy="465282"/>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err="1">
                <a:solidFill>
                  <a:schemeClr val="tx1"/>
                </a:solidFill>
              </a:rPr>
              <a:t>qsddsfd</a:t>
            </a:r>
            <a:endParaRPr lang="en-GB" sz="1100">
              <a:solidFill>
                <a:schemeClr val="tx1"/>
              </a:solidFill>
            </a:endParaRPr>
          </a:p>
        </p:txBody>
      </p:sp>
      <p:sp>
        <p:nvSpPr>
          <p:cNvPr id="24" name="Rectangle 23">
            <a:extLst>
              <a:ext uri="{FF2B5EF4-FFF2-40B4-BE49-F238E27FC236}">
                <a16:creationId xmlns:a16="http://schemas.microsoft.com/office/drawing/2014/main" id="{F36F7125-C2F8-4F8F-A1BD-E8F54F3BD323}"/>
              </a:ext>
            </a:extLst>
          </p:cNvPr>
          <p:cNvSpPr/>
          <p:nvPr userDrawn="1"/>
        </p:nvSpPr>
        <p:spPr>
          <a:xfrm>
            <a:off x="5727363" y="4138663"/>
            <a:ext cx="797627" cy="465282"/>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err="1">
                <a:solidFill>
                  <a:schemeClr val="tx1"/>
                </a:solidFill>
              </a:rPr>
              <a:t>qsddsfq</a:t>
            </a:r>
            <a:endParaRPr lang="en-GB" sz="1100">
              <a:solidFill>
                <a:schemeClr val="tx1"/>
              </a:solidFill>
            </a:endParaRPr>
          </a:p>
        </p:txBody>
      </p:sp>
      <p:sp>
        <p:nvSpPr>
          <p:cNvPr id="25" name="Rectangle 24">
            <a:extLst>
              <a:ext uri="{FF2B5EF4-FFF2-40B4-BE49-F238E27FC236}">
                <a16:creationId xmlns:a16="http://schemas.microsoft.com/office/drawing/2014/main" id="{9174657A-36A2-43BE-ADFE-C558571B3356}"/>
              </a:ext>
            </a:extLst>
          </p:cNvPr>
          <p:cNvSpPr/>
          <p:nvPr userDrawn="1"/>
        </p:nvSpPr>
        <p:spPr>
          <a:xfrm>
            <a:off x="5727363" y="4793687"/>
            <a:ext cx="797627" cy="589955"/>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00" err="1">
                <a:solidFill>
                  <a:schemeClr val="tx1"/>
                </a:solidFill>
              </a:rPr>
              <a:t>dsqsd</a:t>
            </a:r>
            <a:endParaRPr lang="en-GB" sz="1100">
              <a:solidFill>
                <a:schemeClr val="tx1"/>
              </a:solidFill>
            </a:endParaRPr>
          </a:p>
        </p:txBody>
      </p:sp>
      <p:sp>
        <p:nvSpPr>
          <p:cNvPr id="26" name="Rectangle 25">
            <a:extLst>
              <a:ext uri="{FF2B5EF4-FFF2-40B4-BE49-F238E27FC236}">
                <a16:creationId xmlns:a16="http://schemas.microsoft.com/office/drawing/2014/main" id="{3A95AD85-4DCF-4F05-95BE-0A71BF2CA433}"/>
              </a:ext>
            </a:extLst>
          </p:cNvPr>
          <p:cNvSpPr/>
          <p:nvPr userDrawn="1"/>
        </p:nvSpPr>
        <p:spPr>
          <a:xfrm>
            <a:off x="5727363" y="5506904"/>
            <a:ext cx="797627" cy="57062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100" i="1" err="1">
                <a:solidFill>
                  <a:schemeClr val="tx1"/>
                </a:solidFill>
              </a:rPr>
              <a:t>qdd</a:t>
            </a:r>
            <a:endParaRPr lang="en-GB" sz="1100" i="1">
              <a:solidFill>
                <a:schemeClr val="tx1"/>
              </a:solidFill>
            </a:endParaRPr>
          </a:p>
        </p:txBody>
      </p:sp>
      <p:sp>
        <p:nvSpPr>
          <p:cNvPr id="27" name="Rectangle 26">
            <a:extLst>
              <a:ext uri="{FF2B5EF4-FFF2-40B4-BE49-F238E27FC236}">
                <a16:creationId xmlns:a16="http://schemas.microsoft.com/office/drawing/2014/main" id="{C925098D-0941-472F-943C-3E72056DF9C7}"/>
              </a:ext>
            </a:extLst>
          </p:cNvPr>
          <p:cNvSpPr/>
          <p:nvPr userDrawn="1"/>
        </p:nvSpPr>
        <p:spPr>
          <a:xfrm>
            <a:off x="3035547" y="5506904"/>
            <a:ext cx="2514568" cy="570621"/>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108"/>
              </a:spcAft>
            </a:pPr>
            <a:r>
              <a:rPr lang="en-GB" sz="1100" err="1">
                <a:solidFill>
                  <a:schemeClr val="tx1"/>
                </a:solidFill>
              </a:rPr>
              <a:t>dsqdsfffdf</a:t>
            </a:r>
            <a:endParaRPr lang="en-GB" sz="1100">
              <a:solidFill>
                <a:schemeClr val="tx1"/>
              </a:solidFill>
            </a:endParaRPr>
          </a:p>
        </p:txBody>
      </p:sp>
      <p:sp>
        <p:nvSpPr>
          <p:cNvPr id="28" name="Freeform 538">
            <a:extLst>
              <a:ext uri="{FF2B5EF4-FFF2-40B4-BE49-F238E27FC236}">
                <a16:creationId xmlns:a16="http://schemas.microsoft.com/office/drawing/2014/main" id="{EDC9FE8E-E21F-4BC4-BC2A-3E11BDD1E6D7}"/>
              </a:ext>
            </a:extLst>
          </p:cNvPr>
          <p:cNvSpPr>
            <a:spLocks/>
          </p:cNvSpPr>
          <p:nvPr userDrawn="1"/>
        </p:nvSpPr>
        <p:spPr bwMode="auto">
          <a:xfrm>
            <a:off x="6392067" y="2399923"/>
            <a:ext cx="265847" cy="166154"/>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bg1">
              <a:lumMod val="50000"/>
            </a:schemeClr>
          </a:solidFill>
          <a:ln w="9525" cap="flat" cmpd="sng">
            <a:solidFill>
              <a:schemeClr val="bg1">
                <a:lumMod val="50000"/>
              </a:schemeClr>
            </a:solidFill>
            <a:prstDash val="solid"/>
            <a:round/>
            <a:headEnd type="none" w="med" len="med"/>
            <a:tailEnd type="none" w="med" len="med"/>
          </a:ln>
          <a:effectLst/>
        </p:spPr>
        <p:txBody>
          <a:bodyPr wrap="none" anchor="ctr"/>
          <a:lstStyle/>
          <a:p>
            <a:endParaRPr lang="en-GB" sz="1100"/>
          </a:p>
        </p:txBody>
      </p:sp>
      <p:sp>
        <p:nvSpPr>
          <p:cNvPr id="29" name="Freeform 538">
            <a:extLst>
              <a:ext uri="{FF2B5EF4-FFF2-40B4-BE49-F238E27FC236}">
                <a16:creationId xmlns:a16="http://schemas.microsoft.com/office/drawing/2014/main" id="{E7F516A0-B979-411E-A9B5-9BA52210EEA6}"/>
              </a:ext>
            </a:extLst>
          </p:cNvPr>
          <p:cNvSpPr>
            <a:spLocks/>
          </p:cNvSpPr>
          <p:nvPr userDrawn="1"/>
        </p:nvSpPr>
        <p:spPr bwMode="auto">
          <a:xfrm>
            <a:off x="6436394" y="2964928"/>
            <a:ext cx="265847" cy="166154"/>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bg1">
              <a:lumMod val="50000"/>
            </a:schemeClr>
          </a:solidFill>
          <a:ln w="9525" cap="flat" cmpd="sng">
            <a:solidFill>
              <a:schemeClr val="bg1">
                <a:lumMod val="50000"/>
              </a:schemeClr>
            </a:solidFill>
            <a:prstDash val="solid"/>
            <a:round/>
            <a:headEnd type="none" w="med" len="med"/>
            <a:tailEnd type="none" w="med" len="med"/>
          </a:ln>
          <a:effectLst/>
        </p:spPr>
        <p:txBody>
          <a:bodyPr wrap="none" anchor="ctr"/>
          <a:lstStyle/>
          <a:p>
            <a:endParaRPr lang="en-GB" sz="1100"/>
          </a:p>
        </p:txBody>
      </p:sp>
      <p:sp>
        <p:nvSpPr>
          <p:cNvPr id="30" name="Title 3">
            <a:extLst>
              <a:ext uri="{FF2B5EF4-FFF2-40B4-BE49-F238E27FC236}">
                <a16:creationId xmlns:a16="http://schemas.microsoft.com/office/drawing/2014/main" id="{0AECE58E-1207-47DB-8DDF-44EF05B0C0C5}"/>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31" name="TextBox 30">
            <a:extLst>
              <a:ext uri="{FF2B5EF4-FFF2-40B4-BE49-F238E27FC236}">
                <a16:creationId xmlns:a16="http://schemas.microsoft.com/office/drawing/2014/main" id="{222A628F-AD9C-4548-95B3-230700BDBE69}"/>
              </a:ext>
            </a:extLst>
          </p:cNvPr>
          <p:cNvSpPr txBox="1"/>
          <p:nvPr userDrawn="1"/>
        </p:nvSpPr>
        <p:spPr bwMode="auto">
          <a:xfrm>
            <a:off x="11255623" y="712343"/>
            <a:ext cx="409328" cy="428570"/>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solidFill>
                  <a:schemeClr val="tx1">
                    <a:lumMod val="75000"/>
                    <a:lumOff val="25000"/>
                  </a:schemeClr>
                </a:solidFill>
                <a:latin typeface="+mn-lt"/>
              </a:rPr>
              <a:t>1</a:t>
            </a:r>
          </a:p>
        </p:txBody>
      </p:sp>
      <p:sp>
        <p:nvSpPr>
          <p:cNvPr id="32" name="Pentagon 53">
            <a:extLst>
              <a:ext uri="{FF2B5EF4-FFF2-40B4-BE49-F238E27FC236}">
                <a16:creationId xmlns:a16="http://schemas.microsoft.com/office/drawing/2014/main" id="{BC0AD9BE-EBAE-4DB3-951D-E6115199775D}"/>
              </a:ext>
            </a:extLst>
          </p:cNvPr>
          <p:cNvSpPr/>
          <p:nvPr userDrawn="1"/>
        </p:nvSpPr>
        <p:spPr bwMode="auto">
          <a:xfrm rot="5400000">
            <a:off x="3645799" y="-650185"/>
            <a:ext cx="528792" cy="5229589"/>
          </a:xfrm>
          <a:prstGeom prst="homePlate">
            <a:avLst>
              <a:gd name="adj" fmla="val 23542"/>
            </a:avLst>
          </a:prstGeom>
          <a:solidFill>
            <a:schemeClr val="accent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vert270" wrap="square" lIns="84406" tIns="42203" rIns="84406" bIns="42203" numCol="1" rtlCol="0" anchor="ctr" anchorCtr="0" compatLnSpc="1">
            <a:prstTxWarp prst="textNoShape">
              <a:avLst/>
            </a:prstTxWarp>
          </a:bodyPr>
          <a:lstStyle/>
          <a:p>
            <a:pPr algn="ctr"/>
            <a:r>
              <a:rPr lang="en-GB" sz="1100" b="1" err="1">
                <a:solidFill>
                  <a:schemeClr val="bg1"/>
                </a:solidFill>
              </a:rPr>
              <a:t>Eddddddddddddddddddddddd</a:t>
            </a:r>
            <a:endParaRPr lang="en-GB" sz="1100" i="1">
              <a:solidFill>
                <a:schemeClr val="bg1"/>
              </a:solidFill>
            </a:endParaRPr>
          </a:p>
        </p:txBody>
      </p:sp>
      <p:sp>
        <p:nvSpPr>
          <p:cNvPr id="33" name="Pentagon 54">
            <a:extLst>
              <a:ext uri="{FF2B5EF4-FFF2-40B4-BE49-F238E27FC236}">
                <a16:creationId xmlns:a16="http://schemas.microsoft.com/office/drawing/2014/main" id="{F4EAA9F1-C543-4A1A-937A-FD34D197B42D}"/>
              </a:ext>
            </a:extLst>
          </p:cNvPr>
          <p:cNvSpPr/>
          <p:nvPr userDrawn="1"/>
        </p:nvSpPr>
        <p:spPr bwMode="auto">
          <a:xfrm rot="5400000">
            <a:off x="8972521" y="-465222"/>
            <a:ext cx="526703" cy="4861757"/>
          </a:xfrm>
          <a:prstGeom prst="homePlate">
            <a:avLst>
              <a:gd name="adj" fmla="val 23542"/>
            </a:avLst>
          </a:prstGeom>
          <a:solidFill>
            <a:schemeClr val="accent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vert270" wrap="square" lIns="84406" tIns="42203" rIns="84406" bIns="42203" numCol="1" rtlCol="0" anchor="ctr" anchorCtr="0" compatLnSpc="1">
            <a:prstTxWarp prst="textNoShape">
              <a:avLst/>
            </a:prstTxWarp>
          </a:bodyPr>
          <a:lstStyle/>
          <a:p>
            <a:pPr algn="ctr"/>
            <a:r>
              <a:rPr lang="en-GB" sz="1100" b="1" err="1">
                <a:solidFill>
                  <a:schemeClr val="bg1"/>
                </a:solidFill>
              </a:rPr>
              <a:t>dddddddddddddddddddddddddd</a:t>
            </a:r>
            <a:endParaRPr lang="en-GB" sz="1100" b="1">
              <a:solidFill>
                <a:schemeClr val="bg1"/>
              </a:solidFill>
            </a:endParaRPr>
          </a:p>
        </p:txBody>
      </p:sp>
    </p:spTree>
    <p:extLst>
      <p:ext uri="{BB962C8B-B14F-4D97-AF65-F5344CB8AC3E}">
        <p14:creationId xmlns:p14="http://schemas.microsoft.com/office/powerpoint/2010/main" val="42551853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BB44F-361F-4675-A637-BA7358DC933C}"/>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16D18926-18C3-4D10-82AC-37687D0BFDB4}"/>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BD9C093B-C0ED-43C7-A6B1-B6D5C0A8ED0F}"/>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Rectangle 5">
            <a:extLst>
              <a:ext uri="{FF2B5EF4-FFF2-40B4-BE49-F238E27FC236}">
                <a16:creationId xmlns:a16="http://schemas.microsoft.com/office/drawing/2014/main" id="{3F77C774-27DF-4DAA-81EE-EEF681F3823E}"/>
              </a:ext>
            </a:extLst>
          </p:cNvPr>
          <p:cNvSpPr/>
          <p:nvPr userDrawn="1"/>
        </p:nvSpPr>
        <p:spPr>
          <a:xfrm>
            <a:off x="1295400" y="2701306"/>
            <a:ext cx="6558267" cy="531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200" b="1" err="1">
                <a:solidFill>
                  <a:schemeClr val="bg2"/>
                </a:solidFill>
              </a:rPr>
              <a:t>qsddsqddfddd</a:t>
            </a:r>
            <a:endParaRPr lang="en-GB" sz="1200" b="1">
              <a:solidFill>
                <a:schemeClr val="bg2"/>
              </a:solidFill>
            </a:endParaRPr>
          </a:p>
        </p:txBody>
      </p:sp>
      <p:sp>
        <p:nvSpPr>
          <p:cNvPr id="7" name="Chevron 4">
            <a:extLst>
              <a:ext uri="{FF2B5EF4-FFF2-40B4-BE49-F238E27FC236}">
                <a16:creationId xmlns:a16="http://schemas.microsoft.com/office/drawing/2014/main" id="{C94A3B92-7DE8-4150-B84B-0F41088E02BC}"/>
              </a:ext>
            </a:extLst>
          </p:cNvPr>
          <p:cNvSpPr/>
          <p:nvPr userDrawn="1"/>
        </p:nvSpPr>
        <p:spPr>
          <a:xfrm>
            <a:off x="8215016" y="1707210"/>
            <a:ext cx="3367384" cy="598220"/>
          </a:xfrm>
          <a:prstGeom prst="chevron">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sqdqsff</a:t>
            </a:r>
            <a:endParaRPr lang="en-GB" sz="1200" b="1">
              <a:solidFill>
                <a:schemeClr val="tx1">
                  <a:lumMod val="75000"/>
                  <a:lumOff val="25000"/>
                </a:schemeClr>
              </a:solidFill>
            </a:endParaRPr>
          </a:p>
        </p:txBody>
      </p:sp>
      <p:sp>
        <p:nvSpPr>
          <p:cNvPr id="8" name="Chevron 3">
            <a:extLst>
              <a:ext uri="{FF2B5EF4-FFF2-40B4-BE49-F238E27FC236}">
                <a16:creationId xmlns:a16="http://schemas.microsoft.com/office/drawing/2014/main" id="{98953365-B44F-42AA-98D9-CB656F7FE5B4}"/>
              </a:ext>
            </a:extLst>
          </p:cNvPr>
          <p:cNvSpPr/>
          <p:nvPr userDrawn="1"/>
        </p:nvSpPr>
        <p:spPr>
          <a:xfrm>
            <a:off x="4758051" y="1707115"/>
            <a:ext cx="3367384" cy="598220"/>
          </a:xfrm>
          <a:prstGeom prst="chevron">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dsqqsfdffdsf</a:t>
            </a:r>
            <a:endParaRPr lang="en-GB" sz="1200" b="1">
              <a:solidFill>
                <a:schemeClr val="tx1">
                  <a:lumMod val="75000"/>
                  <a:lumOff val="25000"/>
                </a:schemeClr>
              </a:solidFill>
            </a:endParaRPr>
          </a:p>
        </p:txBody>
      </p:sp>
      <p:sp>
        <p:nvSpPr>
          <p:cNvPr id="9" name="Chevron 5">
            <a:extLst>
              <a:ext uri="{FF2B5EF4-FFF2-40B4-BE49-F238E27FC236}">
                <a16:creationId xmlns:a16="http://schemas.microsoft.com/office/drawing/2014/main" id="{A497A670-F13C-4A5B-87E4-EB981FEC3AB6}"/>
              </a:ext>
            </a:extLst>
          </p:cNvPr>
          <p:cNvSpPr/>
          <p:nvPr userDrawn="1"/>
        </p:nvSpPr>
        <p:spPr>
          <a:xfrm>
            <a:off x="1301084" y="1707115"/>
            <a:ext cx="3367384" cy="598220"/>
          </a:xfrm>
          <a:prstGeom prst="chevron">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lumMod val="75000"/>
                    <a:lumOff val="25000"/>
                  </a:schemeClr>
                </a:solidFill>
              </a:rPr>
              <a:t>qsdqsdffdfd</a:t>
            </a:r>
            <a:endParaRPr lang="en-GB" sz="1200" b="1">
              <a:solidFill>
                <a:schemeClr val="tx1">
                  <a:lumMod val="75000"/>
                  <a:lumOff val="25000"/>
                </a:schemeClr>
              </a:solidFill>
            </a:endParaRPr>
          </a:p>
        </p:txBody>
      </p:sp>
      <p:cxnSp>
        <p:nvCxnSpPr>
          <p:cNvPr id="10" name="Straight Connector 9">
            <a:extLst>
              <a:ext uri="{FF2B5EF4-FFF2-40B4-BE49-F238E27FC236}">
                <a16:creationId xmlns:a16="http://schemas.microsoft.com/office/drawing/2014/main" id="{08775177-55FC-492A-8A85-74BEAFDF48F7}"/>
              </a:ext>
            </a:extLst>
          </p:cNvPr>
          <p:cNvCxnSpPr/>
          <p:nvPr userDrawn="1"/>
        </p:nvCxnSpPr>
        <p:spPr>
          <a:xfrm>
            <a:off x="1290552" y="2520942"/>
            <a:ext cx="6558267"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9B524C-BE51-4076-BCB2-F389CF282D9E}"/>
              </a:ext>
            </a:extLst>
          </p:cNvPr>
          <p:cNvCxnSpPr/>
          <p:nvPr userDrawn="1"/>
        </p:nvCxnSpPr>
        <p:spPr>
          <a:xfrm>
            <a:off x="8215016" y="2520942"/>
            <a:ext cx="3367384" cy="0"/>
          </a:xfrm>
          <a:prstGeom prst="line">
            <a:avLst/>
          </a:prstGeom>
          <a:ln>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1E4608D3-8D45-46C3-ACB7-BD05F6F7784E}"/>
              </a:ext>
            </a:extLst>
          </p:cNvPr>
          <p:cNvSpPr/>
          <p:nvPr userDrawn="1"/>
        </p:nvSpPr>
        <p:spPr>
          <a:xfrm>
            <a:off x="8215016" y="2702817"/>
            <a:ext cx="3367384" cy="531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200" b="1" err="1">
                <a:solidFill>
                  <a:schemeClr val="bg2"/>
                </a:solidFill>
              </a:rPr>
              <a:t>dqsdfdsfddfsqfsdf</a:t>
            </a:r>
            <a:endParaRPr lang="en-GB" sz="1200" b="1">
              <a:solidFill>
                <a:schemeClr val="bg2"/>
              </a:solidFill>
            </a:endParaRPr>
          </a:p>
        </p:txBody>
      </p:sp>
      <p:sp>
        <p:nvSpPr>
          <p:cNvPr id="13" name="Chevron 17">
            <a:extLst>
              <a:ext uri="{FF2B5EF4-FFF2-40B4-BE49-F238E27FC236}">
                <a16:creationId xmlns:a16="http://schemas.microsoft.com/office/drawing/2014/main" id="{6B26352A-3DFD-4BC9-8E48-F584DC0971AA}"/>
              </a:ext>
            </a:extLst>
          </p:cNvPr>
          <p:cNvSpPr/>
          <p:nvPr userDrawn="1"/>
        </p:nvSpPr>
        <p:spPr>
          <a:xfrm>
            <a:off x="1301085" y="3456364"/>
            <a:ext cx="10281316" cy="598220"/>
          </a:xfrm>
          <a:prstGeom prst="chevron">
            <a:avLst/>
          </a:prstGeom>
          <a:solidFill>
            <a:schemeClr val="bg1">
              <a:lumMod val="85000"/>
            </a:schemeClr>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solidFill>
              </a:rPr>
              <a:t>sdqsqddfsfdf</a:t>
            </a:r>
            <a:endParaRPr lang="en-GB" sz="1200" b="1">
              <a:solidFill>
                <a:schemeClr val="tx1"/>
              </a:solidFill>
            </a:endParaRPr>
          </a:p>
        </p:txBody>
      </p:sp>
      <p:sp>
        <p:nvSpPr>
          <p:cNvPr id="14" name="Chevron 18">
            <a:extLst>
              <a:ext uri="{FF2B5EF4-FFF2-40B4-BE49-F238E27FC236}">
                <a16:creationId xmlns:a16="http://schemas.microsoft.com/office/drawing/2014/main" id="{879EB108-6CC6-468D-851A-373A11C6C48E}"/>
              </a:ext>
            </a:extLst>
          </p:cNvPr>
          <p:cNvSpPr/>
          <p:nvPr userDrawn="1"/>
        </p:nvSpPr>
        <p:spPr>
          <a:xfrm>
            <a:off x="1290552" y="4269195"/>
            <a:ext cx="10291848" cy="598220"/>
          </a:xfrm>
          <a:prstGeom prst="chevron">
            <a:avLst/>
          </a:prstGeom>
          <a:solidFill>
            <a:schemeClr val="bg1">
              <a:lumMod val="85000"/>
            </a:schemeClr>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solidFill>
              </a:rPr>
              <a:t>qsdqsdsdd</a:t>
            </a:r>
            <a:endParaRPr lang="en-GB" sz="1200" b="1">
              <a:solidFill>
                <a:schemeClr val="tx1"/>
              </a:solidFill>
            </a:endParaRPr>
          </a:p>
        </p:txBody>
      </p:sp>
      <p:sp>
        <p:nvSpPr>
          <p:cNvPr id="15" name="Chevron 19">
            <a:extLst>
              <a:ext uri="{FF2B5EF4-FFF2-40B4-BE49-F238E27FC236}">
                <a16:creationId xmlns:a16="http://schemas.microsoft.com/office/drawing/2014/main" id="{C3403722-9CAA-43DF-8284-146AE55DCEFF}"/>
              </a:ext>
            </a:extLst>
          </p:cNvPr>
          <p:cNvSpPr/>
          <p:nvPr userDrawn="1"/>
        </p:nvSpPr>
        <p:spPr>
          <a:xfrm>
            <a:off x="1295402" y="5147806"/>
            <a:ext cx="6822285" cy="598220"/>
          </a:xfrm>
          <a:prstGeom prst="chevron">
            <a:avLst/>
          </a:prstGeom>
          <a:solidFill>
            <a:schemeClr val="bg1">
              <a:lumMod val="85000"/>
            </a:schemeClr>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200" b="1" err="1">
                <a:solidFill>
                  <a:schemeClr val="tx1"/>
                </a:solidFill>
              </a:rPr>
              <a:t>dddddddd</a:t>
            </a:r>
            <a:endParaRPr lang="en-GB" sz="1200" b="1">
              <a:solidFill>
                <a:schemeClr val="tx1"/>
              </a:solidFill>
            </a:endParaRPr>
          </a:p>
        </p:txBody>
      </p:sp>
      <p:sp>
        <p:nvSpPr>
          <p:cNvPr id="16" name="Title 6">
            <a:extLst>
              <a:ext uri="{FF2B5EF4-FFF2-40B4-BE49-F238E27FC236}">
                <a16:creationId xmlns:a16="http://schemas.microsoft.com/office/drawing/2014/main" id="{A77D4B55-5360-4B6C-88BD-61EECB6E1C69}"/>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17" name="TextBox 16">
            <a:extLst>
              <a:ext uri="{FF2B5EF4-FFF2-40B4-BE49-F238E27FC236}">
                <a16:creationId xmlns:a16="http://schemas.microsoft.com/office/drawing/2014/main" id="{14D8FBFA-BA07-4B6A-878C-8FF22AB285B1}"/>
              </a:ext>
            </a:extLst>
          </p:cNvPr>
          <p:cNvSpPr txBox="1"/>
          <p:nvPr userDrawn="1"/>
        </p:nvSpPr>
        <p:spPr bwMode="auto">
          <a:xfrm>
            <a:off x="11255623" y="712343"/>
            <a:ext cx="409328" cy="428570"/>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solidFill>
                  <a:schemeClr val="tx1">
                    <a:lumMod val="75000"/>
                    <a:lumOff val="25000"/>
                  </a:schemeClr>
                </a:solidFill>
                <a:latin typeface="+mn-lt"/>
              </a:rPr>
              <a:t>1</a:t>
            </a:r>
          </a:p>
        </p:txBody>
      </p:sp>
    </p:spTree>
    <p:extLst>
      <p:ext uri="{BB962C8B-B14F-4D97-AF65-F5344CB8AC3E}">
        <p14:creationId xmlns:p14="http://schemas.microsoft.com/office/powerpoint/2010/main" val="27090995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AE28367-0D39-4A1F-B858-5AD39697B2EA}"/>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7B9AD93A-BF6D-4D3B-A770-BC3E7FE69BB5}"/>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617CB37F-C44F-4C85-9F5B-2554FD0B8BE2}"/>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Pentagon 3">
            <a:extLst>
              <a:ext uri="{FF2B5EF4-FFF2-40B4-BE49-F238E27FC236}">
                <a16:creationId xmlns:a16="http://schemas.microsoft.com/office/drawing/2014/main" id="{F71E60EB-4D0C-41BC-9BB9-1FAB456F3BEA}"/>
              </a:ext>
            </a:extLst>
          </p:cNvPr>
          <p:cNvSpPr/>
          <p:nvPr userDrawn="1"/>
        </p:nvSpPr>
        <p:spPr bwMode="auto">
          <a:xfrm>
            <a:off x="1308106" y="1700808"/>
            <a:ext cx="2836711" cy="1001898"/>
          </a:xfrm>
          <a:prstGeom prst="homePlate">
            <a:avLst>
              <a:gd name="adj" fmla="val 15019"/>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b="1" err="1">
                <a:solidFill>
                  <a:schemeClr val="tx1">
                    <a:lumMod val="75000"/>
                    <a:lumOff val="25000"/>
                  </a:schemeClr>
                </a:solidFill>
              </a:rPr>
              <a:t>qdsqsfdfdsfsdfsdfd</a:t>
            </a:r>
            <a:endParaRPr lang="en-GB" sz="1400" b="1">
              <a:solidFill>
                <a:schemeClr val="tx1">
                  <a:lumMod val="75000"/>
                  <a:lumOff val="25000"/>
                </a:schemeClr>
              </a:solidFill>
            </a:endParaRPr>
          </a:p>
        </p:txBody>
      </p:sp>
      <p:sp>
        <p:nvSpPr>
          <p:cNvPr id="7" name="Pentagon 4">
            <a:extLst>
              <a:ext uri="{FF2B5EF4-FFF2-40B4-BE49-F238E27FC236}">
                <a16:creationId xmlns:a16="http://schemas.microsoft.com/office/drawing/2014/main" id="{3D27CB6D-795F-4E14-B82C-1A6CE2C9CB42}"/>
              </a:ext>
            </a:extLst>
          </p:cNvPr>
          <p:cNvSpPr/>
          <p:nvPr userDrawn="1"/>
        </p:nvSpPr>
        <p:spPr bwMode="auto">
          <a:xfrm>
            <a:off x="1308106" y="3068960"/>
            <a:ext cx="2836711" cy="1001898"/>
          </a:xfrm>
          <a:prstGeom prst="homePlate">
            <a:avLst>
              <a:gd name="adj" fmla="val 15019"/>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400" b="1" err="1">
                <a:solidFill>
                  <a:schemeClr val="tx1">
                    <a:lumMod val="75000"/>
                    <a:lumOff val="25000"/>
                  </a:schemeClr>
                </a:solidFill>
              </a:rPr>
              <a:t>dsfqfdsqfff</a:t>
            </a:r>
            <a:endParaRPr lang="en-GB" sz="1400" b="1">
              <a:solidFill>
                <a:schemeClr val="tx1">
                  <a:lumMod val="75000"/>
                  <a:lumOff val="25000"/>
                </a:schemeClr>
              </a:solidFill>
            </a:endParaRPr>
          </a:p>
        </p:txBody>
      </p:sp>
      <p:sp>
        <p:nvSpPr>
          <p:cNvPr id="8" name="Rectangle 7">
            <a:extLst>
              <a:ext uri="{FF2B5EF4-FFF2-40B4-BE49-F238E27FC236}">
                <a16:creationId xmlns:a16="http://schemas.microsoft.com/office/drawing/2014/main" id="{D9FEC4C1-F066-4E81-AF06-DC38526FEF0F}"/>
              </a:ext>
            </a:extLst>
          </p:cNvPr>
          <p:cNvSpPr/>
          <p:nvPr userDrawn="1"/>
        </p:nvSpPr>
        <p:spPr>
          <a:xfrm>
            <a:off x="4655841" y="1700808"/>
            <a:ext cx="7008779" cy="1001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316531" indent="-316531" algn="just">
              <a:spcBef>
                <a:spcPct val="20000"/>
              </a:spcBef>
              <a:buClr>
                <a:schemeClr val="accent2"/>
              </a:buClr>
              <a:buFont typeface="Arial" panose="020B0604020202020204" pitchFamily="34" charset="0"/>
              <a:buChar char="•"/>
            </a:pPr>
            <a:r>
              <a:rPr lang="en-GB" sz="1200" err="1">
                <a:solidFill>
                  <a:schemeClr val="tx1"/>
                </a:solidFill>
              </a:rPr>
              <a:t>Dqdsfsdklmfqsdklqsdfkfdskfkkfkfkfkfkkfkf</a:t>
            </a:r>
            <a:endParaRPr lang="en-GB" sz="1200">
              <a:solidFill>
                <a:schemeClr val="tx1"/>
              </a:solidFill>
            </a:endParaRPr>
          </a:p>
          <a:p>
            <a:pPr marL="316531" indent="-316531" algn="just">
              <a:spcBef>
                <a:spcPct val="20000"/>
              </a:spcBef>
              <a:buClr>
                <a:schemeClr val="accent2"/>
              </a:buClr>
              <a:buFont typeface="Arial" panose="020B0604020202020204" pitchFamily="34" charset="0"/>
              <a:buChar char="•"/>
            </a:pPr>
            <a:r>
              <a:rPr lang="en-GB" sz="1200" err="1">
                <a:solidFill>
                  <a:schemeClr val="tx1"/>
                </a:solidFill>
                <a:sym typeface="Wingdings" panose="05000000000000000000" pitchFamily="2" charset="2"/>
              </a:rPr>
              <a:t>Dlqslslslosllsllslslsllslsll</a:t>
            </a:r>
            <a:endParaRPr lang="en-GB" sz="1200">
              <a:solidFill>
                <a:schemeClr val="tx1"/>
              </a:solidFill>
              <a:sym typeface="Wingdings" panose="05000000000000000000" pitchFamily="2" charset="2"/>
            </a:endParaRPr>
          </a:p>
          <a:p>
            <a:pPr marL="316531" indent="-316531" algn="just">
              <a:spcBef>
                <a:spcPct val="20000"/>
              </a:spcBef>
              <a:buClr>
                <a:schemeClr val="accent2"/>
              </a:buClr>
              <a:buFont typeface="Arial" panose="020B0604020202020204" pitchFamily="34" charset="0"/>
              <a:buChar char="•"/>
            </a:pPr>
            <a:r>
              <a:rPr lang="en-GB" sz="1200" err="1">
                <a:solidFill>
                  <a:schemeClr val="tx1"/>
                </a:solidFill>
                <a:sym typeface="Wingdings" panose="05000000000000000000" pitchFamily="2" charset="2"/>
              </a:rPr>
              <a:t>dkdfkdkkkkdkkkdkkdkk</a:t>
            </a:r>
            <a:endParaRPr lang="en-GB" sz="1200">
              <a:solidFill>
                <a:schemeClr val="tx1"/>
              </a:solidFill>
              <a:sym typeface="Wingdings" panose="05000000000000000000" pitchFamily="2" charset="2"/>
            </a:endParaRPr>
          </a:p>
        </p:txBody>
      </p:sp>
      <p:sp>
        <p:nvSpPr>
          <p:cNvPr id="9" name="Rectangle 8">
            <a:extLst>
              <a:ext uri="{FF2B5EF4-FFF2-40B4-BE49-F238E27FC236}">
                <a16:creationId xmlns:a16="http://schemas.microsoft.com/office/drawing/2014/main" id="{113F14AB-1232-45E5-A35C-47567C234DA1}"/>
              </a:ext>
            </a:extLst>
          </p:cNvPr>
          <p:cNvSpPr/>
          <p:nvPr userDrawn="1"/>
        </p:nvSpPr>
        <p:spPr>
          <a:xfrm>
            <a:off x="4655842" y="3068960"/>
            <a:ext cx="7008777" cy="1001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316531" indent="-316531" algn="just">
              <a:spcBef>
                <a:spcPct val="20000"/>
              </a:spcBef>
              <a:buClr>
                <a:schemeClr val="accent2"/>
              </a:buClr>
              <a:buFont typeface="Arial" panose="020B0604020202020204" pitchFamily="34" charset="0"/>
              <a:buChar char="•"/>
            </a:pPr>
            <a:r>
              <a:rPr lang="en-GB" sz="1200" err="1">
                <a:solidFill>
                  <a:schemeClr val="tx1"/>
                </a:solidFill>
              </a:rPr>
              <a:t>Dkdkdkkdkdkdk</a:t>
            </a:r>
            <a:endParaRPr lang="en-GB" sz="1200">
              <a:solidFill>
                <a:schemeClr val="tx1"/>
              </a:solidFill>
            </a:endParaRPr>
          </a:p>
          <a:p>
            <a:pPr marL="316531" indent="-316531" algn="just">
              <a:spcBef>
                <a:spcPct val="20000"/>
              </a:spcBef>
              <a:buClr>
                <a:schemeClr val="accent2"/>
              </a:buClr>
              <a:buFont typeface="Arial" panose="020B0604020202020204" pitchFamily="34" charset="0"/>
              <a:buChar char="•"/>
            </a:pPr>
            <a:r>
              <a:rPr lang="en-GB" sz="1200" err="1">
                <a:solidFill>
                  <a:schemeClr val="tx1"/>
                </a:solidFill>
              </a:rPr>
              <a:t>Dkdkdkdkkdkdkdkkdkdkkdkdk</a:t>
            </a:r>
            <a:endParaRPr lang="en-GB" sz="1200">
              <a:solidFill>
                <a:schemeClr val="tx1"/>
              </a:solidFill>
            </a:endParaRPr>
          </a:p>
          <a:p>
            <a:pPr marL="316531" indent="-316531" algn="just">
              <a:spcBef>
                <a:spcPct val="20000"/>
              </a:spcBef>
              <a:buClr>
                <a:schemeClr val="accent2"/>
              </a:buClr>
              <a:buFont typeface="Arial" panose="020B0604020202020204" pitchFamily="34" charset="0"/>
              <a:buChar char="•"/>
            </a:pPr>
            <a:r>
              <a:rPr lang="en-GB" sz="1200" err="1">
                <a:solidFill>
                  <a:schemeClr val="tx1"/>
                </a:solidFill>
              </a:rPr>
              <a:t>dsqmqsdùmlfsdldfsllfdslfllflflfll</a:t>
            </a:r>
            <a:endParaRPr lang="en-GB" sz="1200">
              <a:solidFill>
                <a:schemeClr val="tx1"/>
              </a:solidFill>
            </a:endParaRPr>
          </a:p>
          <a:p>
            <a:pPr marL="316531" indent="-316531" algn="just">
              <a:spcBef>
                <a:spcPct val="20000"/>
              </a:spcBef>
              <a:buClr>
                <a:schemeClr val="accent2"/>
              </a:buClr>
              <a:buFont typeface="Arial" panose="020B0604020202020204" pitchFamily="34" charset="0"/>
              <a:buChar char="•"/>
            </a:pPr>
            <a:r>
              <a:rPr lang="en-GB" sz="1200" err="1">
                <a:solidFill>
                  <a:schemeClr val="tx1"/>
                </a:solidFill>
                <a:sym typeface="Wingdings" panose="05000000000000000000" pitchFamily="2" charset="2"/>
              </a:rPr>
              <a:t>qsdfkljmqsdfmfklfsdqlkmfsdkmfsdklmfdskml</a:t>
            </a:r>
            <a:endParaRPr lang="en-GB" sz="1200">
              <a:solidFill>
                <a:schemeClr val="tx1"/>
              </a:solidFill>
              <a:sym typeface="Wingdings" panose="05000000000000000000" pitchFamily="2" charset="2"/>
            </a:endParaRPr>
          </a:p>
        </p:txBody>
      </p:sp>
      <p:sp>
        <p:nvSpPr>
          <p:cNvPr id="10" name="Rectangle 9">
            <a:extLst>
              <a:ext uri="{FF2B5EF4-FFF2-40B4-BE49-F238E27FC236}">
                <a16:creationId xmlns:a16="http://schemas.microsoft.com/office/drawing/2014/main" id="{86690E37-CF9D-44D5-A8DC-8C1C0EDA64C7}"/>
              </a:ext>
            </a:extLst>
          </p:cNvPr>
          <p:cNvSpPr/>
          <p:nvPr userDrawn="1"/>
        </p:nvSpPr>
        <p:spPr>
          <a:xfrm>
            <a:off x="1295400" y="5489538"/>
            <a:ext cx="10369219" cy="5317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92" b="1" err="1">
                <a:solidFill>
                  <a:schemeClr val="bg2"/>
                </a:solidFill>
              </a:rPr>
              <a:t>Dfsklmdfskmfdskmlfdslk</a:t>
            </a:r>
            <a:r>
              <a:rPr lang="en-GB" sz="1292" b="1">
                <a:solidFill>
                  <a:schemeClr val="bg2"/>
                </a:solidFill>
              </a:rPr>
              <a:t>:</a:t>
            </a:r>
            <a:endParaRPr lang="en-GB" sz="1292">
              <a:solidFill>
                <a:schemeClr val="bg2"/>
              </a:solidFill>
            </a:endParaRPr>
          </a:p>
          <a:p>
            <a:pPr algn="ctr"/>
            <a:r>
              <a:rPr lang="en-GB" sz="1292" err="1">
                <a:solidFill>
                  <a:schemeClr val="bg2"/>
                </a:solidFill>
              </a:rPr>
              <a:t>qdfksjlfdqkjlfdsqjkmfdskjfdskjldfskkmdfsjkljfdsk</a:t>
            </a:r>
            <a:endParaRPr lang="en-GB" sz="1292">
              <a:solidFill>
                <a:schemeClr val="bg2"/>
              </a:solidFill>
            </a:endParaRPr>
          </a:p>
        </p:txBody>
      </p:sp>
      <p:sp>
        <p:nvSpPr>
          <p:cNvPr id="11" name="Title 8">
            <a:extLst>
              <a:ext uri="{FF2B5EF4-FFF2-40B4-BE49-F238E27FC236}">
                <a16:creationId xmlns:a16="http://schemas.microsoft.com/office/drawing/2014/main" id="{58F201F2-483C-45AB-98DB-49EAE783D962}"/>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12" name="TextBox 11">
            <a:extLst>
              <a:ext uri="{FF2B5EF4-FFF2-40B4-BE49-F238E27FC236}">
                <a16:creationId xmlns:a16="http://schemas.microsoft.com/office/drawing/2014/main" id="{4C11E4EE-682C-4B99-9AAB-24C676B4F60B}"/>
              </a:ext>
            </a:extLst>
          </p:cNvPr>
          <p:cNvSpPr txBox="1"/>
          <p:nvPr userDrawn="1"/>
        </p:nvSpPr>
        <p:spPr bwMode="auto">
          <a:xfrm>
            <a:off x="11255623" y="712343"/>
            <a:ext cx="409328" cy="428570"/>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solidFill>
                  <a:schemeClr val="tx1">
                    <a:lumMod val="75000"/>
                    <a:lumOff val="25000"/>
                  </a:schemeClr>
                </a:solidFill>
                <a:latin typeface="+mn-lt"/>
              </a:rPr>
              <a:t>1</a:t>
            </a:r>
          </a:p>
        </p:txBody>
      </p:sp>
    </p:spTree>
    <p:extLst>
      <p:ext uri="{BB962C8B-B14F-4D97-AF65-F5344CB8AC3E}">
        <p14:creationId xmlns:p14="http://schemas.microsoft.com/office/powerpoint/2010/main" val="9688092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C948D32-CD41-4BE9-A906-873C148B01CD}"/>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49EF82EB-D062-494A-A0C1-98E313CD3573}"/>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DA84CD3E-2A60-4848-9C48-BC6DD7BBBC01}"/>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TextBox 5">
            <a:extLst>
              <a:ext uri="{FF2B5EF4-FFF2-40B4-BE49-F238E27FC236}">
                <a16:creationId xmlns:a16="http://schemas.microsoft.com/office/drawing/2014/main" id="{01CD1B67-6C6E-4C8E-8B10-97C45C4947C6}"/>
              </a:ext>
            </a:extLst>
          </p:cNvPr>
          <p:cNvSpPr txBox="1"/>
          <p:nvPr userDrawn="1"/>
        </p:nvSpPr>
        <p:spPr bwMode="auto">
          <a:xfrm>
            <a:off x="2159563" y="1700809"/>
            <a:ext cx="9505387" cy="664689"/>
          </a:xfrm>
          <a:prstGeom prst="flowChartProcess">
            <a:avLst/>
          </a:prstGeom>
          <a:noFill/>
          <a:ln w="9525">
            <a:solidFill>
              <a:schemeClr val="accent2"/>
            </a:solidFill>
            <a:miter lim="800000"/>
            <a:headEnd/>
            <a:tailEnd/>
          </a:ln>
          <a:effectLst>
            <a:outerShdw blurRad="50800" dist="38100" dir="2700000" algn="tl" rotWithShape="0">
              <a:prstClr val="black">
                <a:alpha val="40000"/>
              </a:prstClr>
            </a:outerShdw>
          </a:effectLst>
        </p:spPr>
        <p:txBody>
          <a:bodyPr wrap="square" lIns="132923" rIns="66462" rtlCol="0" anchor="ctr">
            <a:noAutofit/>
          </a:bodyPr>
          <a:lstStyle/>
          <a:p>
            <a:r>
              <a:rPr lang="en-GB" sz="1200" b="1">
                <a:solidFill>
                  <a:schemeClr val="accent5">
                    <a:lumMod val="50000"/>
                    <a:lumOff val="50000"/>
                  </a:schemeClr>
                </a:solidFill>
              </a:rPr>
              <a:t>………………………………………………………………………………………………….</a:t>
            </a:r>
          </a:p>
        </p:txBody>
      </p:sp>
      <p:sp>
        <p:nvSpPr>
          <p:cNvPr id="7" name="TextBox 6">
            <a:extLst>
              <a:ext uri="{FF2B5EF4-FFF2-40B4-BE49-F238E27FC236}">
                <a16:creationId xmlns:a16="http://schemas.microsoft.com/office/drawing/2014/main" id="{625D883F-F7A8-44E0-B34F-B0D0F89FCB18}"/>
              </a:ext>
            </a:extLst>
          </p:cNvPr>
          <p:cNvSpPr txBox="1"/>
          <p:nvPr userDrawn="1"/>
        </p:nvSpPr>
        <p:spPr bwMode="auto">
          <a:xfrm>
            <a:off x="2159563" y="2498436"/>
            <a:ext cx="9505387" cy="664689"/>
          </a:xfrm>
          <a:prstGeom prst="flowChartProcess">
            <a:avLst/>
          </a:prstGeom>
          <a:solidFill>
            <a:schemeClr val="bg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132923" rIns="66462" rtlCol="0" anchor="ctr">
            <a:noAutofit/>
          </a:bodyPr>
          <a:lstStyle/>
          <a:p>
            <a:r>
              <a:rPr lang="en-GB" sz="1200" b="1">
                <a:solidFill>
                  <a:schemeClr val="accent5"/>
                </a:solidFill>
              </a:rPr>
              <a:t>………………………………………………………………………………………………………</a:t>
            </a:r>
          </a:p>
        </p:txBody>
      </p:sp>
      <p:sp>
        <p:nvSpPr>
          <p:cNvPr id="8" name="TextBox 7">
            <a:extLst>
              <a:ext uri="{FF2B5EF4-FFF2-40B4-BE49-F238E27FC236}">
                <a16:creationId xmlns:a16="http://schemas.microsoft.com/office/drawing/2014/main" id="{3C7DE150-9E6E-409F-ABA5-ADA643461DA1}"/>
              </a:ext>
            </a:extLst>
          </p:cNvPr>
          <p:cNvSpPr txBox="1"/>
          <p:nvPr userDrawn="1"/>
        </p:nvSpPr>
        <p:spPr bwMode="auto">
          <a:xfrm>
            <a:off x="2159563" y="3296063"/>
            <a:ext cx="9505387" cy="664689"/>
          </a:xfrm>
          <a:prstGeom prst="flowChartProcess">
            <a:avLst/>
          </a:prstGeom>
          <a:solidFill>
            <a:schemeClr val="bg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132923" rIns="66462" rtlCol="0" anchor="ctr">
            <a:noAutofit/>
          </a:bodyPr>
          <a:lstStyle/>
          <a:p>
            <a:r>
              <a:rPr lang="en-GB" sz="1200" b="1">
                <a:solidFill>
                  <a:schemeClr val="accent5">
                    <a:lumMod val="50000"/>
                    <a:lumOff val="50000"/>
                  </a:schemeClr>
                </a:solidFill>
              </a:rPr>
              <a:t>…………………………………………………………………………………………………………</a:t>
            </a:r>
          </a:p>
        </p:txBody>
      </p:sp>
      <p:sp>
        <p:nvSpPr>
          <p:cNvPr id="9" name="TextBox 8">
            <a:extLst>
              <a:ext uri="{FF2B5EF4-FFF2-40B4-BE49-F238E27FC236}">
                <a16:creationId xmlns:a16="http://schemas.microsoft.com/office/drawing/2014/main" id="{97C23F9C-CF36-4F88-8514-709C35CA97DD}"/>
              </a:ext>
            </a:extLst>
          </p:cNvPr>
          <p:cNvSpPr txBox="1"/>
          <p:nvPr userDrawn="1"/>
        </p:nvSpPr>
        <p:spPr bwMode="auto">
          <a:xfrm>
            <a:off x="1332695" y="1700809"/>
            <a:ext cx="634847" cy="664689"/>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latin typeface="+mn-lt"/>
              </a:rPr>
              <a:t>1</a:t>
            </a:r>
          </a:p>
        </p:txBody>
      </p:sp>
      <p:sp>
        <p:nvSpPr>
          <p:cNvPr id="10" name="TextBox 9">
            <a:extLst>
              <a:ext uri="{FF2B5EF4-FFF2-40B4-BE49-F238E27FC236}">
                <a16:creationId xmlns:a16="http://schemas.microsoft.com/office/drawing/2014/main" id="{BC17D93E-ABAA-4022-9545-8BB1B07B3DCD}"/>
              </a:ext>
            </a:extLst>
          </p:cNvPr>
          <p:cNvSpPr txBox="1"/>
          <p:nvPr userDrawn="1"/>
        </p:nvSpPr>
        <p:spPr bwMode="auto">
          <a:xfrm>
            <a:off x="1332695" y="2498436"/>
            <a:ext cx="634847" cy="664689"/>
          </a:xfrm>
          <a:prstGeom prst="flowChartPunchedCard">
            <a:avLst/>
          </a:prstGeom>
          <a:solidFill>
            <a:schemeClr val="accent1"/>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latin typeface="+mn-lt"/>
              </a:rPr>
              <a:t>2</a:t>
            </a:r>
          </a:p>
        </p:txBody>
      </p:sp>
      <p:sp>
        <p:nvSpPr>
          <p:cNvPr id="11" name="TextBox 10">
            <a:extLst>
              <a:ext uri="{FF2B5EF4-FFF2-40B4-BE49-F238E27FC236}">
                <a16:creationId xmlns:a16="http://schemas.microsoft.com/office/drawing/2014/main" id="{EAA13EDB-9486-4A84-A9F0-270FA9111903}"/>
              </a:ext>
            </a:extLst>
          </p:cNvPr>
          <p:cNvSpPr txBox="1"/>
          <p:nvPr userDrawn="1"/>
        </p:nvSpPr>
        <p:spPr bwMode="auto">
          <a:xfrm>
            <a:off x="1332695" y="3296063"/>
            <a:ext cx="634847" cy="664689"/>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latin typeface="+mn-lt"/>
              </a:rPr>
              <a:t>3</a:t>
            </a:r>
          </a:p>
        </p:txBody>
      </p:sp>
      <p:sp>
        <p:nvSpPr>
          <p:cNvPr id="12" name="Title 2">
            <a:extLst>
              <a:ext uri="{FF2B5EF4-FFF2-40B4-BE49-F238E27FC236}">
                <a16:creationId xmlns:a16="http://schemas.microsoft.com/office/drawing/2014/main" id="{A232C868-C8CE-497A-80C9-279140DE9D14}"/>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Tree>
    <p:extLst>
      <p:ext uri="{BB962C8B-B14F-4D97-AF65-F5344CB8AC3E}">
        <p14:creationId xmlns:p14="http://schemas.microsoft.com/office/powerpoint/2010/main" val="126515555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4050FE8-0AF1-4C9A-9234-EC352C9D1290}"/>
              </a:ext>
            </a:extLst>
          </p:cNvPr>
          <p:cNvSpPr>
            <a:spLocks noGrp="1"/>
          </p:cNvSpPr>
          <p:nvPr>
            <p:ph type="dt" sz="half" idx="10"/>
          </p:nvPr>
        </p:nvSpPr>
        <p:spPr/>
        <p:txBody>
          <a:bodyPr/>
          <a:lstStyle/>
          <a:p>
            <a:fld id="{68D80C0F-9C3E-4349-8766-2C60FFEA92D8}" type="datetime1">
              <a:rPr lang="nl-BE" smtClean="0"/>
              <a:pPr/>
              <a:t>30/05/2023</a:t>
            </a:fld>
            <a:endParaRPr lang="nl-BE"/>
          </a:p>
        </p:txBody>
      </p:sp>
      <p:sp>
        <p:nvSpPr>
          <p:cNvPr id="4" name="Footer Placeholder 3">
            <a:extLst>
              <a:ext uri="{FF2B5EF4-FFF2-40B4-BE49-F238E27FC236}">
                <a16:creationId xmlns:a16="http://schemas.microsoft.com/office/drawing/2014/main" id="{583770D1-D381-4FA5-80D1-D6F91B0369F6}"/>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4E1BEBAA-A8B2-43DC-93F3-962940EC6823}"/>
              </a:ext>
            </a:extLst>
          </p:cNvPr>
          <p:cNvSpPr>
            <a:spLocks noGrp="1"/>
          </p:cNvSpPr>
          <p:nvPr>
            <p:ph type="sldNum" sz="quarter" idx="12"/>
          </p:nvPr>
        </p:nvSpPr>
        <p:spPr/>
        <p:txBody>
          <a:bodyPr/>
          <a:lstStyle/>
          <a:p>
            <a:fld id="{9BE375CD-4755-4D83-B134-E6AD5007676A}" type="slidenum">
              <a:rPr lang="nl-BE" smtClean="0"/>
              <a:pPr/>
              <a:t>‹nr.›</a:t>
            </a:fld>
            <a:endParaRPr lang="nl-BE"/>
          </a:p>
        </p:txBody>
      </p:sp>
      <p:sp>
        <p:nvSpPr>
          <p:cNvPr id="6" name="Rectangle 5">
            <a:extLst>
              <a:ext uri="{FF2B5EF4-FFF2-40B4-BE49-F238E27FC236}">
                <a16:creationId xmlns:a16="http://schemas.microsoft.com/office/drawing/2014/main" id="{D8A43F4F-9E16-4C70-90D9-437574D9D3B4}"/>
              </a:ext>
            </a:extLst>
          </p:cNvPr>
          <p:cNvSpPr/>
          <p:nvPr userDrawn="1"/>
        </p:nvSpPr>
        <p:spPr>
          <a:xfrm>
            <a:off x="2897666" y="5224317"/>
            <a:ext cx="8769772" cy="100189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7" name="Pentagon 5">
            <a:extLst>
              <a:ext uri="{FF2B5EF4-FFF2-40B4-BE49-F238E27FC236}">
                <a16:creationId xmlns:a16="http://schemas.microsoft.com/office/drawing/2014/main" id="{DC7BBDD6-F7C1-444C-B918-452FD37D8615}"/>
              </a:ext>
            </a:extLst>
          </p:cNvPr>
          <p:cNvSpPr/>
          <p:nvPr userDrawn="1"/>
        </p:nvSpPr>
        <p:spPr bwMode="auto">
          <a:xfrm>
            <a:off x="1295400" y="2531109"/>
            <a:ext cx="1496787" cy="1001898"/>
          </a:xfrm>
          <a:prstGeom prst="homePlate">
            <a:avLst>
              <a:gd name="adj" fmla="val 15019"/>
            </a:avLst>
          </a:prstGeom>
          <a:solidFill>
            <a:schemeClr val="accent4">
              <a:lumMod val="20000"/>
              <a:lumOff val="80000"/>
            </a:schemeClr>
          </a:solidFill>
          <a:ln>
            <a:noFill/>
          </a:ln>
          <a:effectLst>
            <a:outerShdw blurRad="50800" dist="38100" dir="2700000" algn="tl" rotWithShape="0">
              <a:prstClr val="black">
                <a:alpha val="40000"/>
              </a:prstClr>
            </a:outerShdw>
          </a:effectLst>
        </p:spPr>
        <p:txBody>
          <a:bodyPr vert="horz" wrap="square" lIns="0" tIns="42198" rIns="0" bIns="42198" numCol="1" anchor="ctr" anchorCtr="0" compatLnSpc="1">
            <a:prstTxWarp prst="textNoShape">
              <a:avLst/>
            </a:prstTxWarp>
          </a:bodyPr>
          <a:lstStyle/>
          <a:p>
            <a:pPr algn="ctr" eaLnBrk="1" hangingPunct="1"/>
            <a:r>
              <a:rPr lang="en-GB" sz="1662" b="1" kern="0">
                <a:latin typeface="Calibri" panose="020F0502020204030204" pitchFamily="34" charset="0"/>
              </a:rPr>
              <a:t>Goals</a:t>
            </a:r>
          </a:p>
        </p:txBody>
      </p:sp>
      <p:sp>
        <p:nvSpPr>
          <p:cNvPr id="8" name="Rectangle 7">
            <a:extLst>
              <a:ext uri="{FF2B5EF4-FFF2-40B4-BE49-F238E27FC236}">
                <a16:creationId xmlns:a16="http://schemas.microsoft.com/office/drawing/2014/main" id="{E467B9E8-D5A9-4C2B-AE28-8F37147072A6}"/>
              </a:ext>
            </a:extLst>
          </p:cNvPr>
          <p:cNvSpPr/>
          <p:nvPr userDrawn="1"/>
        </p:nvSpPr>
        <p:spPr>
          <a:xfrm>
            <a:off x="8831523" y="1712172"/>
            <a:ext cx="2835915" cy="631455"/>
          </a:xfrm>
          <a:prstGeom prst="rect">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662" b="1" err="1"/>
              <a:t>dfsqsdffdqsf</a:t>
            </a:r>
            <a:endParaRPr lang="en-GB" sz="1662" b="1"/>
          </a:p>
        </p:txBody>
      </p:sp>
      <p:sp>
        <p:nvSpPr>
          <p:cNvPr id="9" name="Rectangle 8">
            <a:extLst>
              <a:ext uri="{FF2B5EF4-FFF2-40B4-BE49-F238E27FC236}">
                <a16:creationId xmlns:a16="http://schemas.microsoft.com/office/drawing/2014/main" id="{0835EE3E-4EA2-44A7-866A-B64C5CE87F0F}"/>
              </a:ext>
            </a:extLst>
          </p:cNvPr>
          <p:cNvSpPr/>
          <p:nvPr userDrawn="1"/>
        </p:nvSpPr>
        <p:spPr>
          <a:xfrm>
            <a:off x="5857608" y="1700214"/>
            <a:ext cx="2826696" cy="631455"/>
          </a:xfrm>
          <a:prstGeom prst="rect">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662" b="1" err="1"/>
              <a:t>fqsdfsdqfdqsf</a:t>
            </a:r>
            <a:endParaRPr lang="en-GB" sz="1662" b="1"/>
          </a:p>
        </p:txBody>
      </p:sp>
      <p:sp>
        <p:nvSpPr>
          <p:cNvPr id="10" name="Rectangle 9">
            <a:extLst>
              <a:ext uri="{FF2B5EF4-FFF2-40B4-BE49-F238E27FC236}">
                <a16:creationId xmlns:a16="http://schemas.microsoft.com/office/drawing/2014/main" id="{456EF0FC-7B62-4E88-86E5-E59E46521B6F}"/>
              </a:ext>
            </a:extLst>
          </p:cNvPr>
          <p:cNvSpPr/>
          <p:nvPr userDrawn="1"/>
        </p:nvSpPr>
        <p:spPr>
          <a:xfrm>
            <a:off x="2905491" y="1712172"/>
            <a:ext cx="2795679" cy="631455"/>
          </a:xfrm>
          <a:prstGeom prst="rect">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algn="ctr"/>
            <a:r>
              <a:rPr lang="en-GB" sz="1662" b="1" err="1"/>
              <a:t>dsjkqsdfkjlqsdf</a:t>
            </a:r>
            <a:endParaRPr lang="en-GB" sz="1662" b="1"/>
          </a:p>
        </p:txBody>
      </p:sp>
      <p:sp>
        <p:nvSpPr>
          <p:cNvPr id="11" name="Pentagon 12">
            <a:extLst>
              <a:ext uri="{FF2B5EF4-FFF2-40B4-BE49-F238E27FC236}">
                <a16:creationId xmlns:a16="http://schemas.microsoft.com/office/drawing/2014/main" id="{654A387E-583C-4420-97A2-42A16B24C835}"/>
              </a:ext>
            </a:extLst>
          </p:cNvPr>
          <p:cNvSpPr/>
          <p:nvPr userDrawn="1"/>
        </p:nvSpPr>
        <p:spPr bwMode="auto">
          <a:xfrm>
            <a:off x="1295400" y="3894937"/>
            <a:ext cx="1496787" cy="1001898"/>
          </a:xfrm>
          <a:prstGeom prst="homePlate">
            <a:avLst>
              <a:gd name="adj" fmla="val 15019"/>
            </a:avLst>
          </a:prstGeom>
          <a:solidFill>
            <a:schemeClr val="accent4">
              <a:lumMod val="60000"/>
              <a:lumOff val="40000"/>
            </a:schemeClr>
          </a:solidFill>
          <a:ln>
            <a:noFill/>
          </a:ln>
          <a:effectLst>
            <a:outerShdw blurRad="50800" dist="38100" dir="2700000" algn="tl" rotWithShape="0">
              <a:prstClr val="black">
                <a:alpha val="40000"/>
              </a:prstClr>
            </a:outerShdw>
          </a:effectLst>
        </p:spPr>
        <p:txBody>
          <a:bodyPr vert="horz" wrap="square" lIns="0" tIns="42198" rIns="0" bIns="42198" numCol="1" anchor="ctr" anchorCtr="0" compatLnSpc="1">
            <a:prstTxWarp prst="textNoShape">
              <a:avLst/>
            </a:prstTxWarp>
          </a:bodyPr>
          <a:lstStyle/>
          <a:p>
            <a:pPr algn="ctr" eaLnBrk="1" hangingPunct="1"/>
            <a:r>
              <a:rPr lang="en-GB" sz="1662" b="1" kern="0">
                <a:latin typeface="Calibri" panose="020F0502020204030204" pitchFamily="34" charset="0"/>
              </a:rPr>
              <a:t>Challenges</a:t>
            </a:r>
          </a:p>
        </p:txBody>
      </p:sp>
      <p:sp>
        <p:nvSpPr>
          <p:cNvPr id="12" name="Pentagon 13">
            <a:extLst>
              <a:ext uri="{FF2B5EF4-FFF2-40B4-BE49-F238E27FC236}">
                <a16:creationId xmlns:a16="http://schemas.microsoft.com/office/drawing/2014/main" id="{6EC81F78-162D-47EC-AC60-D5AED3B59154}"/>
              </a:ext>
            </a:extLst>
          </p:cNvPr>
          <p:cNvSpPr/>
          <p:nvPr userDrawn="1"/>
        </p:nvSpPr>
        <p:spPr bwMode="auto">
          <a:xfrm>
            <a:off x="1295400" y="5224317"/>
            <a:ext cx="1496787" cy="1001898"/>
          </a:xfrm>
          <a:prstGeom prst="homePlate">
            <a:avLst>
              <a:gd name="adj" fmla="val 15019"/>
            </a:avLst>
          </a:prstGeom>
          <a:solidFill>
            <a:schemeClr val="accent4">
              <a:lumMod val="50000"/>
            </a:schemeClr>
          </a:solidFill>
          <a:ln>
            <a:noFill/>
          </a:ln>
          <a:effectLst>
            <a:outerShdw blurRad="50800" dist="38100" dir="2700000" algn="tl" rotWithShape="0">
              <a:prstClr val="black">
                <a:alpha val="40000"/>
              </a:prstClr>
            </a:outerShdw>
          </a:effectLst>
        </p:spPr>
        <p:txBody>
          <a:bodyPr vert="horz" wrap="square" lIns="0" tIns="42198" rIns="0" bIns="42198" numCol="1" anchor="ctr" anchorCtr="0" compatLnSpc="1">
            <a:prstTxWarp prst="textNoShape">
              <a:avLst/>
            </a:prstTxWarp>
          </a:bodyPr>
          <a:lstStyle/>
          <a:p>
            <a:pPr algn="ctr" eaLnBrk="1" hangingPunct="1"/>
            <a:r>
              <a:rPr lang="en-GB" sz="1662" b="1" kern="0">
                <a:solidFill>
                  <a:schemeClr val="bg1"/>
                </a:solidFill>
                <a:latin typeface="Calibri" panose="020F0502020204030204" pitchFamily="34" charset="0"/>
              </a:rPr>
              <a:t>Actions</a:t>
            </a:r>
          </a:p>
        </p:txBody>
      </p:sp>
      <p:cxnSp>
        <p:nvCxnSpPr>
          <p:cNvPr id="13" name="Straight Connector 12">
            <a:extLst>
              <a:ext uri="{FF2B5EF4-FFF2-40B4-BE49-F238E27FC236}">
                <a16:creationId xmlns:a16="http://schemas.microsoft.com/office/drawing/2014/main" id="{A8CE180D-8500-4C8D-8FAB-BF543842C7A0}"/>
              </a:ext>
            </a:extLst>
          </p:cNvPr>
          <p:cNvCxnSpPr/>
          <p:nvPr userDrawn="1"/>
        </p:nvCxnSpPr>
        <p:spPr>
          <a:xfrm flipV="1">
            <a:off x="511908" y="3731197"/>
            <a:ext cx="11256107" cy="0"/>
          </a:xfrm>
          <a:prstGeom prst="line">
            <a:avLst/>
          </a:prstGeom>
          <a:ln w="6350">
            <a:solidFill>
              <a:schemeClr val="bg1">
                <a:lumMod val="50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2B762AF-AF0A-46C6-A588-A2FB6205BE76}"/>
              </a:ext>
            </a:extLst>
          </p:cNvPr>
          <p:cNvCxnSpPr/>
          <p:nvPr userDrawn="1"/>
        </p:nvCxnSpPr>
        <p:spPr>
          <a:xfrm flipV="1">
            <a:off x="511908" y="5060575"/>
            <a:ext cx="11256107" cy="0"/>
          </a:xfrm>
          <a:prstGeom prst="line">
            <a:avLst/>
          </a:prstGeom>
          <a:ln w="6350">
            <a:solidFill>
              <a:schemeClr val="bg1">
                <a:lumMod val="50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FD4FF70-FF95-487D-BC43-6B645914C5D5}"/>
              </a:ext>
            </a:extLst>
          </p:cNvPr>
          <p:cNvSpPr/>
          <p:nvPr userDrawn="1"/>
        </p:nvSpPr>
        <p:spPr>
          <a:xfrm>
            <a:off x="2905491" y="2525427"/>
            <a:ext cx="2795680" cy="1001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171450" indent="-171450">
              <a:buClr>
                <a:schemeClr val="accent2"/>
              </a:buClr>
              <a:buFont typeface="Arial" panose="020B0604020202020204" pitchFamily="34" charset="0"/>
              <a:buChar char="•"/>
            </a:pPr>
            <a:r>
              <a:rPr lang="en-GB" sz="1108" err="1">
                <a:solidFill>
                  <a:schemeClr val="tx1"/>
                </a:solidFill>
              </a:rPr>
              <a:t>Qmkqsdklfdsklfdsqkmlf</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Qsdmlqsdfkldfsklfdsk</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Qsdfmkfqsdkklsdqmkl</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qdsmfdsklfdskmfk</a:t>
            </a:r>
            <a:endParaRPr lang="en-GB" sz="1108">
              <a:solidFill>
                <a:schemeClr val="tx1"/>
              </a:solidFill>
            </a:endParaRPr>
          </a:p>
        </p:txBody>
      </p:sp>
      <p:sp>
        <p:nvSpPr>
          <p:cNvPr id="16" name="Rectangle 15">
            <a:extLst>
              <a:ext uri="{FF2B5EF4-FFF2-40B4-BE49-F238E27FC236}">
                <a16:creationId xmlns:a16="http://schemas.microsoft.com/office/drawing/2014/main" id="{85FB5085-962B-41C9-BAAE-106A2D086E64}"/>
              </a:ext>
            </a:extLst>
          </p:cNvPr>
          <p:cNvSpPr/>
          <p:nvPr userDrawn="1"/>
        </p:nvSpPr>
        <p:spPr>
          <a:xfrm>
            <a:off x="2897665" y="3894936"/>
            <a:ext cx="2811328" cy="1001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171450" indent="-171450">
              <a:buClr>
                <a:schemeClr val="accent2"/>
              </a:buClr>
              <a:buFont typeface="Arial" panose="020B0604020202020204" pitchFamily="34" charset="0"/>
              <a:buChar char="•"/>
            </a:pPr>
            <a:r>
              <a:rPr lang="en-GB" sz="1108" err="1">
                <a:solidFill>
                  <a:schemeClr val="tx1"/>
                </a:solidFill>
              </a:rPr>
              <a:t>Dsfqfsdqfdskdfskjfdskjfdf</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Dfqskljsqdfkjqsdfkjdfsqkjf</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Jdoi^dfooiîodioddijsdiod</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Dsqmqsdfkmdsqfkdkdk</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sdqmdqskmldqskdk</a:t>
            </a:r>
            <a:endParaRPr lang="en-GB" sz="1108">
              <a:solidFill>
                <a:schemeClr val="tx1"/>
              </a:solidFill>
            </a:endParaRPr>
          </a:p>
        </p:txBody>
      </p:sp>
      <p:sp>
        <p:nvSpPr>
          <p:cNvPr id="17" name="Rectangle 16">
            <a:extLst>
              <a:ext uri="{FF2B5EF4-FFF2-40B4-BE49-F238E27FC236}">
                <a16:creationId xmlns:a16="http://schemas.microsoft.com/office/drawing/2014/main" id="{BB56628C-A43C-4E35-9647-9FD3EB8C81AA}"/>
              </a:ext>
            </a:extLst>
          </p:cNvPr>
          <p:cNvSpPr/>
          <p:nvPr userDrawn="1"/>
        </p:nvSpPr>
        <p:spPr>
          <a:xfrm>
            <a:off x="2905492" y="5235414"/>
            <a:ext cx="3339425" cy="100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t"/>
          <a:lstStyle/>
          <a:p>
            <a:pPr marL="167058" indent="-167058">
              <a:buFont typeface="+mj-lt"/>
              <a:buAutoNum type="arabicPeriod"/>
            </a:pPr>
            <a:r>
              <a:rPr lang="en-GB" sz="1000" err="1">
                <a:solidFill>
                  <a:schemeClr val="bg1"/>
                </a:solidFill>
              </a:rPr>
              <a:t>dsqDSQJHKSDQhjldsj</a:t>
            </a:r>
            <a:endParaRPr lang="en-GB" sz="1000">
              <a:solidFill>
                <a:schemeClr val="bg1"/>
              </a:solidFill>
            </a:endParaRPr>
          </a:p>
          <a:p>
            <a:pPr marL="167058" indent="-167058">
              <a:buFont typeface="+mj-lt"/>
              <a:buAutoNum type="arabicPeriod"/>
            </a:pPr>
            <a:r>
              <a:rPr lang="en-GB" sz="1000" err="1">
                <a:solidFill>
                  <a:schemeClr val="bg1"/>
                </a:solidFill>
              </a:rPr>
              <a:t>Fqsdmlsdqfkmdsqkjldfsklm</a:t>
            </a:r>
            <a:endParaRPr lang="en-GB" sz="1000">
              <a:solidFill>
                <a:schemeClr val="bg1"/>
              </a:solidFill>
            </a:endParaRPr>
          </a:p>
          <a:p>
            <a:pPr marL="167058" indent="-167058">
              <a:buFont typeface="+mj-lt"/>
              <a:buAutoNum type="arabicPeriod"/>
            </a:pPr>
            <a:r>
              <a:rPr lang="en-GB" sz="1000" err="1">
                <a:solidFill>
                  <a:schemeClr val="bg1"/>
                </a:solidFill>
              </a:rPr>
              <a:t>Sqdfmqsdmkldsfqkfdskljdfs</a:t>
            </a:r>
            <a:endParaRPr lang="en-GB" sz="1000">
              <a:solidFill>
                <a:schemeClr val="bg1"/>
              </a:solidFill>
            </a:endParaRPr>
          </a:p>
          <a:p>
            <a:pPr marL="167058" indent="-167058">
              <a:buFont typeface="+mj-lt"/>
              <a:buAutoNum type="arabicPeriod"/>
            </a:pPr>
            <a:endParaRPr lang="en-GB" sz="1108">
              <a:solidFill>
                <a:schemeClr val="bg1"/>
              </a:solidFill>
            </a:endParaRPr>
          </a:p>
        </p:txBody>
      </p:sp>
      <p:sp>
        <p:nvSpPr>
          <p:cNvPr id="18" name="Rectangle 17">
            <a:extLst>
              <a:ext uri="{FF2B5EF4-FFF2-40B4-BE49-F238E27FC236}">
                <a16:creationId xmlns:a16="http://schemas.microsoft.com/office/drawing/2014/main" id="{462F7D2A-8B6B-49C0-BC48-F4BC4FD14CC1}"/>
              </a:ext>
            </a:extLst>
          </p:cNvPr>
          <p:cNvSpPr/>
          <p:nvPr userDrawn="1"/>
        </p:nvSpPr>
        <p:spPr>
          <a:xfrm>
            <a:off x="8831523" y="2531109"/>
            <a:ext cx="2835915" cy="1001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171450" indent="-171450">
              <a:buClr>
                <a:schemeClr val="accent2"/>
              </a:buClr>
              <a:buFont typeface="Arial" panose="020B0604020202020204" pitchFamily="34" charset="0"/>
              <a:buChar char="•"/>
            </a:pPr>
            <a:r>
              <a:rPr lang="en-GB" sz="1108" err="1">
                <a:solidFill>
                  <a:schemeClr val="tx1"/>
                </a:solidFill>
              </a:rPr>
              <a:t>Dkmdsfkdkdkkdkdk</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Qsdfklmqdskdkdkdkdk</a:t>
            </a:r>
            <a:endParaRPr lang="en-GB" sz="1108">
              <a:solidFill>
                <a:schemeClr val="tx1"/>
              </a:solidFill>
            </a:endParaRPr>
          </a:p>
          <a:p>
            <a:pPr marL="171450" indent="-171450">
              <a:buClr>
                <a:schemeClr val="accent2"/>
              </a:buClr>
              <a:buFont typeface="Arial" panose="020B0604020202020204" pitchFamily="34" charset="0"/>
              <a:buChar char="•"/>
            </a:pPr>
            <a:endParaRPr lang="en-GB" sz="1108">
              <a:solidFill>
                <a:schemeClr val="tx1"/>
              </a:solidFill>
            </a:endParaRPr>
          </a:p>
          <a:p>
            <a:pPr marL="171450" indent="-171450">
              <a:buClr>
                <a:schemeClr val="accent2"/>
              </a:buClr>
              <a:buFont typeface="Arial" panose="020B0604020202020204" pitchFamily="34" charset="0"/>
              <a:buChar char="•"/>
            </a:pPr>
            <a:endParaRPr lang="en-GB" sz="1108">
              <a:solidFill>
                <a:schemeClr val="tx1"/>
              </a:solidFill>
            </a:endParaRPr>
          </a:p>
        </p:txBody>
      </p:sp>
      <p:sp>
        <p:nvSpPr>
          <p:cNvPr id="19" name="Rectangle 18">
            <a:extLst>
              <a:ext uri="{FF2B5EF4-FFF2-40B4-BE49-F238E27FC236}">
                <a16:creationId xmlns:a16="http://schemas.microsoft.com/office/drawing/2014/main" id="{B8D3D0A2-1591-4C7A-8FA3-BFF43424A5E7}"/>
              </a:ext>
            </a:extLst>
          </p:cNvPr>
          <p:cNvSpPr/>
          <p:nvPr userDrawn="1"/>
        </p:nvSpPr>
        <p:spPr>
          <a:xfrm>
            <a:off x="8825093" y="3894937"/>
            <a:ext cx="2842345" cy="1001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171450" indent="-171450">
              <a:buClr>
                <a:schemeClr val="accent2"/>
              </a:buClr>
              <a:buFont typeface="Arial" panose="020B0604020202020204" pitchFamily="34" charset="0"/>
              <a:buChar char="•"/>
            </a:pPr>
            <a:r>
              <a:rPr lang="en-GB" sz="1108" err="1">
                <a:solidFill>
                  <a:schemeClr val="tx1"/>
                </a:solidFill>
              </a:rPr>
              <a:t>Dfkjkjmlqdfskljmfqsdkjlmd</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Sdfmkldsfqkmlfsdqkjlfsdklj</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Sdfqmsdfqklfdskjlfsdklj</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Hqskchqchqcmhqsmcc</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hazdodazhdazdidizdihzdi</a:t>
            </a:r>
            <a:endParaRPr lang="en-GB" sz="1108">
              <a:solidFill>
                <a:schemeClr val="tx1"/>
              </a:solidFill>
            </a:endParaRPr>
          </a:p>
        </p:txBody>
      </p:sp>
      <p:sp>
        <p:nvSpPr>
          <p:cNvPr id="20" name="Rectangle 19">
            <a:extLst>
              <a:ext uri="{FF2B5EF4-FFF2-40B4-BE49-F238E27FC236}">
                <a16:creationId xmlns:a16="http://schemas.microsoft.com/office/drawing/2014/main" id="{083A2634-3DAB-476A-AFBA-CA70AE509FC4}"/>
              </a:ext>
            </a:extLst>
          </p:cNvPr>
          <p:cNvSpPr/>
          <p:nvPr userDrawn="1"/>
        </p:nvSpPr>
        <p:spPr>
          <a:xfrm>
            <a:off x="8825092" y="5224316"/>
            <a:ext cx="2924632" cy="100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t"/>
          <a:lstStyle/>
          <a:p>
            <a:pPr marL="167058" indent="-167058">
              <a:buFont typeface="+mj-lt"/>
              <a:buAutoNum type="arabicPeriod"/>
            </a:pPr>
            <a:r>
              <a:rPr lang="en-GB" sz="1000" err="1">
                <a:solidFill>
                  <a:schemeClr val="bg1"/>
                </a:solidFill>
              </a:rPr>
              <a:t>Fdqsfsdqsklmjfsdqkfsdqkjk</a:t>
            </a:r>
            <a:endParaRPr lang="en-GB" sz="1000">
              <a:solidFill>
                <a:schemeClr val="bg1"/>
              </a:solidFill>
            </a:endParaRPr>
          </a:p>
          <a:p>
            <a:pPr marL="167058" indent="-167058">
              <a:buFont typeface="+mj-lt"/>
              <a:buAutoNum type="arabicPeriod"/>
            </a:pPr>
            <a:r>
              <a:rPr lang="en-GB" sz="1000" err="1">
                <a:solidFill>
                  <a:schemeClr val="bg1"/>
                </a:solidFill>
              </a:rPr>
              <a:t>Fsdqjdfsqkldfskjldfskjl</a:t>
            </a:r>
            <a:endParaRPr lang="en-GB" sz="1000">
              <a:solidFill>
                <a:schemeClr val="bg1"/>
              </a:solidFill>
            </a:endParaRPr>
          </a:p>
          <a:p>
            <a:pPr marL="167058" indent="-167058">
              <a:buFont typeface="+mj-lt"/>
              <a:buAutoNum type="arabicPeriod"/>
            </a:pPr>
            <a:r>
              <a:rPr lang="en-GB" sz="1000" err="1">
                <a:solidFill>
                  <a:schemeClr val="bg1"/>
                </a:solidFill>
              </a:rPr>
              <a:t>sdfqjklsdfkjldfskjlfkjldkj</a:t>
            </a:r>
            <a:endParaRPr lang="en-GB" sz="1000">
              <a:solidFill>
                <a:schemeClr val="bg1"/>
              </a:solidFill>
            </a:endParaRPr>
          </a:p>
        </p:txBody>
      </p:sp>
      <p:sp>
        <p:nvSpPr>
          <p:cNvPr id="21" name="Rectangle 20">
            <a:extLst>
              <a:ext uri="{FF2B5EF4-FFF2-40B4-BE49-F238E27FC236}">
                <a16:creationId xmlns:a16="http://schemas.microsoft.com/office/drawing/2014/main" id="{D647400A-8DE9-4A52-8EB7-EEDCEF75E0A9}"/>
              </a:ext>
            </a:extLst>
          </p:cNvPr>
          <p:cNvSpPr/>
          <p:nvPr userDrawn="1"/>
        </p:nvSpPr>
        <p:spPr>
          <a:xfrm>
            <a:off x="5857608" y="2525427"/>
            <a:ext cx="2826696" cy="1001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171450" indent="-171450">
              <a:buClr>
                <a:schemeClr val="accent2"/>
              </a:buClr>
              <a:buFont typeface="Arial" panose="020B0604020202020204" pitchFamily="34" charset="0"/>
              <a:buChar char="•"/>
            </a:pPr>
            <a:r>
              <a:rPr lang="en-GB" sz="1108" err="1">
                <a:solidFill>
                  <a:schemeClr val="tx1"/>
                </a:solidFill>
              </a:rPr>
              <a:t>Dqfsfdsfdsklfsdmkjlfdskjl</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Fdsqmfsdqklfdskjfdkjfkj</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Qsdfmdqsfmkldsfkds</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sdfqfldldldlldldldld</a:t>
            </a:r>
            <a:endParaRPr lang="en-GB" sz="1108">
              <a:solidFill>
                <a:schemeClr val="tx1"/>
              </a:solidFill>
            </a:endParaRPr>
          </a:p>
        </p:txBody>
      </p:sp>
      <p:sp>
        <p:nvSpPr>
          <p:cNvPr id="22" name="Rectangle 21">
            <a:extLst>
              <a:ext uri="{FF2B5EF4-FFF2-40B4-BE49-F238E27FC236}">
                <a16:creationId xmlns:a16="http://schemas.microsoft.com/office/drawing/2014/main" id="{5368B8F8-62BC-4B5E-8D93-AF1A39B26EFE}"/>
              </a:ext>
            </a:extLst>
          </p:cNvPr>
          <p:cNvSpPr/>
          <p:nvPr userDrawn="1"/>
        </p:nvSpPr>
        <p:spPr>
          <a:xfrm>
            <a:off x="5853695" y="3894937"/>
            <a:ext cx="2826696" cy="10018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171450" indent="-171450">
              <a:buClr>
                <a:schemeClr val="accent2"/>
              </a:buClr>
              <a:buFont typeface="Arial" panose="020B0604020202020204" pitchFamily="34" charset="0"/>
              <a:buChar char="•"/>
            </a:pPr>
            <a:r>
              <a:rPr lang="en-GB" sz="1108" err="1">
                <a:solidFill>
                  <a:schemeClr val="tx1"/>
                </a:solidFill>
              </a:rPr>
              <a:t>Dfqsqsdfkjlqfsdkjqfsdkjd</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euhedhadhaddxmmdxmx</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Sdfqmjfsdqkmlsdfklfsdkj</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Fsdqmdsfqmsdqmklfsdk</a:t>
            </a:r>
            <a:endParaRPr lang="en-GB" sz="1108">
              <a:solidFill>
                <a:schemeClr val="tx1"/>
              </a:solidFill>
            </a:endParaRPr>
          </a:p>
          <a:p>
            <a:pPr marL="171450" indent="-171450">
              <a:buClr>
                <a:schemeClr val="accent2"/>
              </a:buClr>
              <a:buFont typeface="Arial" panose="020B0604020202020204" pitchFamily="34" charset="0"/>
              <a:buChar char="•"/>
            </a:pPr>
            <a:r>
              <a:rPr lang="en-GB" sz="1108" err="1">
                <a:solidFill>
                  <a:schemeClr val="tx1"/>
                </a:solidFill>
              </a:rPr>
              <a:t>dfsqmsdfqmkldfsklfdsk</a:t>
            </a:r>
            <a:endParaRPr lang="en-GB" sz="1108">
              <a:solidFill>
                <a:schemeClr val="tx1"/>
              </a:solidFill>
            </a:endParaRPr>
          </a:p>
        </p:txBody>
      </p:sp>
      <p:sp>
        <p:nvSpPr>
          <p:cNvPr id="23" name="Rectangle 22">
            <a:extLst>
              <a:ext uri="{FF2B5EF4-FFF2-40B4-BE49-F238E27FC236}">
                <a16:creationId xmlns:a16="http://schemas.microsoft.com/office/drawing/2014/main" id="{07A69A04-8A2D-4444-A05C-B4DD0BB05550}"/>
              </a:ext>
            </a:extLst>
          </p:cNvPr>
          <p:cNvSpPr/>
          <p:nvPr userDrawn="1"/>
        </p:nvSpPr>
        <p:spPr>
          <a:xfrm>
            <a:off x="5851109" y="5233009"/>
            <a:ext cx="2924632" cy="10018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t"/>
          <a:lstStyle/>
          <a:p>
            <a:pPr marL="167058" indent="-167058">
              <a:buFont typeface="+mj-lt"/>
              <a:buAutoNum type="arabicPeriod"/>
            </a:pPr>
            <a:r>
              <a:rPr lang="en-GB" sz="1000" err="1">
                <a:solidFill>
                  <a:schemeClr val="bg1"/>
                </a:solidFill>
              </a:rPr>
              <a:t>Dsdfsqfdsfqsdkkjfsdjkfdskj</a:t>
            </a:r>
            <a:endParaRPr lang="en-GB" sz="1000">
              <a:solidFill>
                <a:schemeClr val="bg1"/>
              </a:solidFill>
            </a:endParaRPr>
          </a:p>
          <a:p>
            <a:pPr marL="167058" indent="-167058">
              <a:buFont typeface="+mj-lt"/>
              <a:buAutoNum type="arabicPeriod"/>
            </a:pPr>
            <a:r>
              <a:rPr lang="en-GB" sz="1000" err="1">
                <a:solidFill>
                  <a:schemeClr val="bg1"/>
                </a:solidFill>
              </a:rPr>
              <a:t>Dfsqkjmsdqfklfsdqkjfsdkjfd</a:t>
            </a:r>
            <a:endParaRPr lang="en-GB" sz="1000">
              <a:solidFill>
                <a:schemeClr val="bg1"/>
              </a:solidFill>
            </a:endParaRPr>
          </a:p>
          <a:p>
            <a:pPr marL="167058" indent="-167058">
              <a:buFont typeface="+mj-lt"/>
              <a:buAutoNum type="arabicPeriod"/>
            </a:pPr>
            <a:r>
              <a:rPr lang="en-GB" sz="1000" err="1">
                <a:solidFill>
                  <a:schemeClr val="bg1"/>
                </a:solidFill>
              </a:rPr>
              <a:t>sfdqmjsqdmlkdskldskdk</a:t>
            </a:r>
            <a:endParaRPr lang="en-GB" sz="1000">
              <a:solidFill>
                <a:schemeClr val="bg1"/>
              </a:solidFill>
            </a:endParaRPr>
          </a:p>
        </p:txBody>
      </p:sp>
      <p:sp>
        <p:nvSpPr>
          <p:cNvPr id="24" name="Title 3">
            <a:extLst>
              <a:ext uri="{FF2B5EF4-FFF2-40B4-BE49-F238E27FC236}">
                <a16:creationId xmlns:a16="http://schemas.microsoft.com/office/drawing/2014/main" id="{254BE8E8-319D-4274-A1F9-FE9A816D0E1C}"/>
              </a:ext>
            </a:extLst>
          </p:cNvPr>
          <p:cNvSpPr>
            <a:spLocks noGrp="1"/>
          </p:cNvSpPr>
          <p:nvPr>
            <p:ph type="title"/>
          </p:nvPr>
        </p:nvSpPr>
        <p:spPr>
          <a:xfrm>
            <a:off x="609600" y="730560"/>
            <a:ext cx="10972800" cy="565200"/>
          </a:xfrm>
        </p:spPr>
        <p:txBody>
          <a:bodyPr/>
          <a:lstStyle/>
          <a:p>
            <a:r>
              <a:rPr lang="en-US"/>
              <a:t>Click to edit Master title style</a:t>
            </a:r>
            <a:endParaRPr lang="nl-BE"/>
          </a:p>
        </p:txBody>
      </p:sp>
      <p:sp>
        <p:nvSpPr>
          <p:cNvPr id="25" name="TextBox 24">
            <a:extLst>
              <a:ext uri="{FF2B5EF4-FFF2-40B4-BE49-F238E27FC236}">
                <a16:creationId xmlns:a16="http://schemas.microsoft.com/office/drawing/2014/main" id="{479ED8F5-D1B7-4682-BF82-B60CBD149F83}"/>
              </a:ext>
            </a:extLst>
          </p:cNvPr>
          <p:cNvSpPr txBox="1"/>
          <p:nvPr userDrawn="1"/>
        </p:nvSpPr>
        <p:spPr bwMode="auto">
          <a:xfrm>
            <a:off x="11255623" y="712343"/>
            <a:ext cx="409328" cy="428570"/>
          </a:xfrm>
          <a:prstGeom prst="flowChartPunchedCard">
            <a:avLst/>
          </a:prstGeom>
          <a:solidFill>
            <a:schemeClr val="accent4"/>
          </a:solidFill>
          <a:ln w="9525">
            <a:solidFill>
              <a:schemeClr val="accent2"/>
            </a:solidFill>
            <a:miter lim="800000"/>
            <a:headEnd/>
            <a:tailEnd/>
          </a:ln>
          <a:effectLst>
            <a:outerShdw blurRad="50800" dist="38100" dir="2700000" algn="tl" rotWithShape="0">
              <a:prstClr val="black">
                <a:alpha val="40000"/>
              </a:prstClr>
            </a:outerShdw>
          </a:effectLst>
        </p:spPr>
        <p:txBody>
          <a:bodyPr wrap="square" lIns="66462" rIns="66462" bIns="132923" rtlCol="0" anchor="ctr">
            <a:noAutofit/>
          </a:bodyPr>
          <a:lstStyle>
            <a:defPPr>
              <a:defRPr lang="en-US"/>
            </a:defPPr>
            <a:lvl1pPr algn="ctr">
              <a:defRPr sz="2200" b="1">
                <a:solidFill>
                  <a:schemeClr val="bg1"/>
                </a:solidFill>
                <a:latin typeface="Calibri" pitchFamily="34" charset="0"/>
              </a:defRPr>
            </a:lvl1pPr>
          </a:lstStyle>
          <a:p>
            <a:r>
              <a:rPr lang="en-GB" sz="1600">
                <a:solidFill>
                  <a:schemeClr val="tx1">
                    <a:lumMod val="75000"/>
                    <a:lumOff val="25000"/>
                  </a:schemeClr>
                </a:solidFill>
                <a:latin typeface="+mn-lt"/>
              </a:rPr>
              <a:t>1</a:t>
            </a:r>
          </a:p>
        </p:txBody>
      </p:sp>
    </p:spTree>
    <p:extLst>
      <p:ext uri="{BB962C8B-B14F-4D97-AF65-F5344CB8AC3E}">
        <p14:creationId xmlns:p14="http://schemas.microsoft.com/office/powerpoint/2010/main" val="34856576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heme" Target="../theme/theme3.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41" Type="http://schemas.openxmlformats.org/officeDocument/2006/relationships/theme" Target="../theme/theme4.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theme" Target="../theme/theme5.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9" Type="http://schemas.openxmlformats.org/officeDocument/2006/relationships/slideLayout" Target="../slideLayouts/slideLayout175.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34" Type="http://schemas.openxmlformats.org/officeDocument/2006/relationships/slideLayout" Target="../slideLayouts/slideLayout170.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29" Type="http://schemas.openxmlformats.org/officeDocument/2006/relationships/slideLayout" Target="../slideLayouts/slideLayout165.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40" Type="http://schemas.openxmlformats.org/officeDocument/2006/relationships/theme" Target="../theme/theme6.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slideLayout" Target="../slideLayouts/slideLayout167.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9600" y="730560"/>
            <a:ext cx="10972800" cy="565200"/>
          </a:xfrm>
          <a:prstGeom prst="rect">
            <a:avLst/>
          </a:prstGeom>
        </p:spPr>
        <p:txBody>
          <a:bodyPr vert="horz" lIns="91440" tIns="45720" rIns="91440" bIns="45720" rtlCol="0" anchor="t" anchorCtr="0">
            <a:normAutofit/>
          </a:bodyPr>
          <a:lstStyle/>
          <a:p>
            <a:r>
              <a:rPr lang="en-US" dirty="0"/>
              <a:t>This is the title of the subject on this page</a:t>
            </a:r>
            <a:endParaRPr lang="nl-BE" dirty="0"/>
          </a:p>
        </p:txBody>
      </p:sp>
      <p:sp>
        <p:nvSpPr>
          <p:cNvPr id="3" name="Tijdelijke aanduiding voor tekst 2"/>
          <p:cNvSpPr>
            <a:spLocks noGrp="1"/>
          </p:cNvSpPr>
          <p:nvPr>
            <p:ph type="body" idx="1"/>
          </p:nvPr>
        </p:nvSpPr>
        <p:spPr>
          <a:xfrm>
            <a:off x="609600" y="1623061"/>
            <a:ext cx="10972800" cy="4525963"/>
          </a:xfrm>
          <a:prstGeom prst="rect">
            <a:avLst/>
          </a:prstGeom>
        </p:spPr>
        <p:txBody>
          <a:bodyPr vert="horz" lIns="486000" tIns="45720" rIns="91440" bIns="45720" rtlCol="0">
            <a:normAutofit/>
          </a:bodyPr>
          <a:lstStyle/>
          <a:p>
            <a:pPr lvl="0"/>
            <a:r>
              <a:rPr lang="en-US" dirty="0"/>
              <a:t>this could be a bulletpoint</a:t>
            </a:r>
            <a:endParaRPr lang="nl-NL" dirty="0"/>
          </a:p>
          <a:p>
            <a:pPr lvl="0"/>
            <a:r>
              <a:rPr lang="en-US" dirty="0"/>
              <a:t>this could be another bulletpoint</a:t>
            </a:r>
            <a:endParaRPr lang="nl-NL" dirty="0"/>
          </a:p>
          <a:p>
            <a:pPr lvl="0"/>
            <a:r>
              <a:rPr lang="en-US" dirty="0"/>
              <a:t>this could be the third bulletpoint</a:t>
            </a:r>
            <a:endParaRPr lang="nl-NL" dirty="0"/>
          </a:p>
          <a:p>
            <a:pPr lvl="0"/>
            <a:r>
              <a:rPr lang="en-US" dirty="0"/>
              <a:t>this bulletpoint needs some bodycopy</a:t>
            </a:r>
            <a:endParaRPr lang="nl-BE" dirty="0"/>
          </a:p>
        </p:txBody>
      </p:sp>
      <p:sp>
        <p:nvSpPr>
          <p:cNvPr id="4" name="Tijdelijke aanduiding voor datum 3"/>
          <p:cNvSpPr>
            <a:spLocks noGrp="1"/>
          </p:cNvSpPr>
          <p:nvPr>
            <p:ph type="dt" sz="half" idx="2"/>
          </p:nvPr>
        </p:nvSpPr>
        <p:spPr>
          <a:xfrm>
            <a:off x="1199456" y="6400801"/>
            <a:ext cx="917211" cy="276224"/>
          </a:xfrm>
          <a:prstGeom prst="rect">
            <a:avLst/>
          </a:prstGeom>
        </p:spPr>
        <p:txBody>
          <a:bodyPr vert="horz" lIns="72000" tIns="45720" rIns="72000" bIns="45720" rtlCol="0" anchor="b" anchorCtr="0"/>
          <a:lstStyle>
            <a:lvl1pPr algn="r">
              <a:defRPr sz="700">
                <a:solidFill>
                  <a:schemeClr val="tx1">
                    <a:tint val="75000"/>
                  </a:schemeClr>
                </a:solidFill>
              </a:defRPr>
            </a:lvl1pPr>
          </a:lstStyle>
          <a:p>
            <a:fld id="{68D80C0F-9C3E-4349-8766-2C60FFEA92D8}" type="datetime1">
              <a:rPr lang="nl-BE" smtClean="0"/>
              <a:pPr/>
              <a:t>30/05/2023</a:t>
            </a:fld>
            <a:endParaRPr lang="nl-BE" dirty="0"/>
          </a:p>
        </p:txBody>
      </p:sp>
      <p:sp>
        <p:nvSpPr>
          <p:cNvPr id="5" name="Tijdelijke aanduiding voor voettekst 4"/>
          <p:cNvSpPr>
            <a:spLocks noGrp="1"/>
          </p:cNvSpPr>
          <p:nvPr>
            <p:ph type="ftr" sz="quarter" idx="3"/>
          </p:nvPr>
        </p:nvSpPr>
        <p:spPr>
          <a:xfrm>
            <a:off x="2116667" y="6400801"/>
            <a:ext cx="8313605" cy="276224"/>
          </a:xfrm>
          <a:prstGeom prst="rect">
            <a:avLst/>
          </a:prstGeom>
        </p:spPr>
        <p:txBody>
          <a:bodyPr vert="horz" lIns="0" tIns="45720" rIns="0" bIns="45720" rtlCol="0" anchor="b" anchorCtr="0"/>
          <a:lstStyle>
            <a:lvl1pPr marL="88900" indent="-88900" algn="l">
              <a:buClr>
                <a:schemeClr val="accent2"/>
              </a:buClr>
              <a:buFont typeface="Arial" panose="020B0604020202020204" pitchFamily="34" charset="0"/>
              <a:buChar char="•"/>
              <a:defRPr sz="700">
                <a:solidFill>
                  <a:schemeClr val="tx1">
                    <a:tint val="75000"/>
                  </a:schemeClr>
                </a:solidFill>
              </a:defRPr>
            </a:lvl1pPr>
          </a:lstStyle>
          <a:p>
            <a:endParaRPr lang="nl-BE" dirty="0"/>
          </a:p>
        </p:txBody>
      </p:sp>
      <p:sp>
        <p:nvSpPr>
          <p:cNvPr id="6" name="Tijdelijke aanduiding voor dianummer 5"/>
          <p:cNvSpPr>
            <a:spLocks noGrp="1"/>
          </p:cNvSpPr>
          <p:nvPr>
            <p:ph type="sldNum" sz="quarter" idx="4"/>
          </p:nvPr>
        </p:nvSpPr>
        <p:spPr>
          <a:xfrm>
            <a:off x="609600" y="6400801"/>
            <a:ext cx="589856" cy="276224"/>
          </a:xfrm>
          <a:prstGeom prst="rect">
            <a:avLst/>
          </a:prstGeom>
        </p:spPr>
        <p:txBody>
          <a:bodyPr vert="horz" lIns="91440" tIns="45720" rIns="91440" bIns="45720" rtlCol="0" anchor="b" anchorCtr="0"/>
          <a:lstStyle>
            <a:lvl1pPr algn="l">
              <a:defRPr sz="700">
                <a:solidFill>
                  <a:schemeClr val="tx1">
                    <a:tint val="75000"/>
                  </a:schemeClr>
                </a:solidFill>
              </a:defRPr>
            </a:lvl1pPr>
          </a:lstStyle>
          <a:p>
            <a:fld id="{9BE375CD-4755-4D83-B134-E6AD5007676A}" type="slidenum">
              <a:rPr lang="nl-BE" smtClean="0"/>
              <a:pPr/>
              <a:t>‹nr.›</a:t>
            </a:fld>
            <a:endParaRPr lang="nl-BE" dirty="0"/>
          </a:p>
        </p:txBody>
      </p:sp>
      <p:sp>
        <p:nvSpPr>
          <p:cNvPr id="10" name="Rechthoek 9"/>
          <p:cNvSpPr/>
          <p:nvPr/>
        </p:nvSpPr>
        <p:spPr>
          <a:xfrm>
            <a:off x="0" y="6791326"/>
            <a:ext cx="12192000" cy="66675"/>
          </a:xfrm>
          <a:prstGeom prst="rect">
            <a:avLst/>
          </a:prstGeom>
          <a:solidFill>
            <a:srgbClr val="C6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800"/>
          </a:p>
        </p:txBody>
      </p:sp>
      <p:grpSp>
        <p:nvGrpSpPr>
          <p:cNvPr id="12" name="Group 7"/>
          <p:cNvGrpSpPr>
            <a:grpSpLocks noChangeAspect="1"/>
          </p:cNvGrpSpPr>
          <p:nvPr/>
        </p:nvGrpSpPr>
        <p:grpSpPr bwMode="auto">
          <a:xfrm>
            <a:off x="11110397" y="6416042"/>
            <a:ext cx="554553" cy="258577"/>
            <a:chOff x="4371" y="191"/>
            <a:chExt cx="5592" cy="2723"/>
          </a:xfrm>
          <a:solidFill>
            <a:srgbClr val="C62B37"/>
          </a:solidFill>
        </p:grpSpPr>
        <p:sp>
          <p:nvSpPr>
            <p:cNvPr id="13" name="Freeform 9"/>
            <p:cNvSpPr>
              <a:spLocks/>
            </p:cNvSpPr>
            <p:nvPr/>
          </p:nvSpPr>
          <p:spPr bwMode="auto">
            <a:xfrm>
              <a:off x="4649" y="1284"/>
              <a:ext cx="1811" cy="920"/>
            </a:xfrm>
            <a:custGeom>
              <a:avLst/>
              <a:gdLst>
                <a:gd name="T0" fmla="*/ 68 w 1811"/>
                <a:gd name="T1" fmla="*/ 0 h 920"/>
                <a:gd name="T2" fmla="*/ 611 w 1811"/>
                <a:gd name="T3" fmla="*/ 58 h 920"/>
                <a:gd name="T4" fmla="*/ 581 w 1811"/>
                <a:gd name="T5" fmla="*/ 189 h 920"/>
                <a:gd name="T6" fmla="*/ 582 w 1811"/>
                <a:gd name="T7" fmla="*/ 330 h 920"/>
                <a:gd name="T8" fmla="*/ 616 w 1811"/>
                <a:gd name="T9" fmla="*/ 454 h 920"/>
                <a:gd name="T10" fmla="*/ 686 w 1811"/>
                <a:gd name="T11" fmla="*/ 564 h 920"/>
                <a:gd name="T12" fmla="*/ 786 w 1811"/>
                <a:gd name="T13" fmla="*/ 657 h 920"/>
                <a:gd name="T14" fmla="*/ 903 w 1811"/>
                <a:gd name="T15" fmla="*/ 722 h 920"/>
                <a:gd name="T16" fmla="*/ 1032 w 1811"/>
                <a:gd name="T17" fmla="*/ 754 h 920"/>
                <a:gd name="T18" fmla="*/ 1641 w 1811"/>
                <a:gd name="T19" fmla="*/ 757 h 920"/>
                <a:gd name="T20" fmla="*/ 1657 w 1811"/>
                <a:gd name="T21" fmla="*/ 776 h 920"/>
                <a:gd name="T22" fmla="*/ 1672 w 1811"/>
                <a:gd name="T23" fmla="*/ 795 h 920"/>
                <a:gd name="T24" fmla="*/ 1689 w 1811"/>
                <a:gd name="T25" fmla="*/ 813 h 920"/>
                <a:gd name="T26" fmla="*/ 1758 w 1811"/>
                <a:gd name="T27" fmla="*/ 880 h 920"/>
                <a:gd name="T28" fmla="*/ 1102 w 1811"/>
                <a:gd name="T29" fmla="*/ 920 h 920"/>
                <a:gd name="T30" fmla="*/ 951 w 1811"/>
                <a:gd name="T31" fmla="*/ 905 h 920"/>
                <a:gd name="T32" fmla="*/ 811 w 1811"/>
                <a:gd name="T33" fmla="*/ 858 h 920"/>
                <a:gd name="T34" fmla="*/ 682 w 1811"/>
                <a:gd name="T35" fmla="*/ 780 h 920"/>
                <a:gd name="T36" fmla="*/ 569 w 1811"/>
                <a:gd name="T37" fmla="*/ 671 h 920"/>
                <a:gd name="T38" fmla="*/ 486 w 1811"/>
                <a:gd name="T39" fmla="*/ 549 h 920"/>
                <a:gd name="T40" fmla="*/ 435 w 1811"/>
                <a:gd name="T41" fmla="*/ 413 h 920"/>
                <a:gd name="T42" fmla="*/ 418 w 1811"/>
                <a:gd name="T43" fmla="*/ 263 h 920"/>
                <a:gd name="T44" fmla="*/ 426 w 1811"/>
                <a:gd name="T45" fmla="*/ 146 h 920"/>
                <a:gd name="T46" fmla="*/ 153 w 1811"/>
                <a:gd name="T47" fmla="*/ 839 h 920"/>
                <a:gd name="T48" fmla="*/ 150 w 1811"/>
                <a:gd name="T49" fmla="*/ 868 h 920"/>
                <a:gd name="T50" fmla="*/ 122 w 1811"/>
                <a:gd name="T51" fmla="*/ 905 h 920"/>
                <a:gd name="T52" fmla="*/ 77 w 1811"/>
                <a:gd name="T53" fmla="*/ 920 h 920"/>
                <a:gd name="T54" fmla="*/ 33 w 1811"/>
                <a:gd name="T55" fmla="*/ 905 h 920"/>
                <a:gd name="T56" fmla="*/ 5 w 1811"/>
                <a:gd name="T57" fmla="*/ 868 h 920"/>
                <a:gd name="T58" fmla="*/ 2 w 1811"/>
                <a:gd name="T59" fmla="*/ 842 h 920"/>
                <a:gd name="T60" fmla="*/ 0 w 1811"/>
                <a:gd name="T61" fmla="*/ 70 h 920"/>
                <a:gd name="T62" fmla="*/ 2 w 1811"/>
                <a:gd name="T63" fmla="*/ 60 h 920"/>
                <a:gd name="T64" fmla="*/ 9 w 1811"/>
                <a:gd name="T65" fmla="*/ 36 h 920"/>
                <a:gd name="T66" fmla="*/ 27 w 1811"/>
                <a:gd name="T67" fmla="*/ 11 h 920"/>
                <a:gd name="T68" fmla="*/ 68 w 1811"/>
                <a:gd name="T69"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1" h="920">
                  <a:moveTo>
                    <a:pt x="68" y="0"/>
                  </a:moveTo>
                  <a:lnTo>
                    <a:pt x="68" y="0"/>
                  </a:lnTo>
                  <a:lnTo>
                    <a:pt x="637" y="0"/>
                  </a:lnTo>
                  <a:lnTo>
                    <a:pt x="611" y="58"/>
                  </a:lnTo>
                  <a:lnTo>
                    <a:pt x="593" y="121"/>
                  </a:lnTo>
                  <a:lnTo>
                    <a:pt x="581" y="189"/>
                  </a:lnTo>
                  <a:lnTo>
                    <a:pt x="577" y="263"/>
                  </a:lnTo>
                  <a:lnTo>
                    <a:pt x="582" y="330"/>
                  </a:lnTo>
                  <a:lnTo>
                    <a:pt x="594" y="392"/>
                  </a:lnTo>
                  <a:lnTo>
                    <a:pt x="616" y="454"/>
                  </a:lnTo>
                  <a:lnTo>
                    <a:pt x="647" y="510"/>
                  </a:lnTo>
                  <a:lnTo>
                    <a:pt x="686" y="564"/>
                  </a:lnTo>
                  <a:lnTo>
                    <a:pt x="733" y="613"/>
                  </a:lnTo>
                  <a:lnTo>
                    <a:pt x="786" y="657"/>
                  </a:lnTo>
                  <a:lnTo>
                    <a:pt x="844" y="693"/>
                  </a:lnTo>
                  <a:lnTo>
                    <a:pt x="903" y="722"/>
                  </a:lnTo>
                  <a:lnTo>
                    <a:pt x="966" y="742"/>
                  </a:lnTo>
                  <a:lnTo>
                    <a:pt x="1032" y="754"/>
                  </a:lnTo>
                  <a:lnTo>
                    <a:pt x="1102" y="757"/>
                  </a:lnTo>
                  <a:lnTo>
                    <a:pt x="1641" y="757"/>
                  </a:lnTo>
                  <a:lnTo>
                    <a:pt x="1641" y="757"/>
                  </a:lnTo>
                  <a:lnTo>
                    <a:pt x="1657" y="776"/>
                  </a:lnTo>
                  <a:lnTo>
                    <a:pt x="1658" y="778"/>
                  </a:lnTo>
                  <a:lnTo>
                    <a:pt x="1672" y="795"/>
                  </a:lnTo>
                  <a:lnTo>
                    <a:pt x="1677" y="802"/>
                  </a:lnTo>
                  <a:lnTo>
                    <a:pt x="1689" y="813"/>
                  </a:lnTo>
                  <a:lnTo>
                    <a:pt x="1707" y="832"/>
                  </a:lnTo>
                  <a:lnTo>
                    <a:pt x="1758" y="880"/>
                  </a:lnTo>
                  <a:lnTo>
                    <a:pt x="1811" y="920"/>
                  </a:lnTo>
                  <a:lnTo>
                    <a:pt x="1102" y="920"/>
                  </a:lnTo>
                  <a:lnTo>
                    <a:pt x="1025" y="917"/>
                  </a:lnTo>
                  <a:lnTo>
                    <a:pt x="951" y="905"/>
                  </a:lnTo>
                  <a:lnTo>
                    <a:pt x="879" y="885"/>
                  </a:lnTo>
                  <a:lnTo>
                    <a:pt x="811" y="858"/>
                  </a:lnTo>
                  <a:lnTo>
                    <a:pt x="745" y="822"/>
                  </a:lnTo>
                  <a:lnTo>
                    <a:pt x="682" y="780"/>
                  </a:lnTo>
                  <a:lnTo>
                    <a:pt x="623" y="729"/>
                  </a:lnTo>
                  <a:lnTo>
                    <a:pt x="569" y="671"/>
                  </a:lnTo>
                  <a:lnTo>
                    <a:pt x="523" y="611"/>
                  </a:lnTo>
                  <a:lnTo>
                    <a:pt x="486" y="549"/>
                  </a:lnTo>
                  <a:lnTo>
                    <a:pt x="457" y="482"/>
                  </a:lnTo>
                  <a:lnTo>
                    <a:pt x="435" y="413"/>
                  </a:lnTo>
                  <a:lnTo>
                    <a:pt x="423" y="340"/>
                  </a:lnTo>
                  <a:lnTo>
                    <a:pt x="418" y="263"/>
                  </a:lnTo>
                  <a:lnTo>
                    <a:pt x="421" y="204"/>
                  </a:lnTo>
                  <a:lnTo>
                    <a:pt x="426" y="146"/>
                  </a:lnTo>
                  <a:lnTo>
                    <a:pt x="153" y="146"/>
                  </a:lnTo>
                  <a:lnTo>
                    <a:pt x="153" y="839"/>
                  </a:lnTo>
                  <a:lnTo>
                    <a:pt x="153" y="844"/>
                  </a:lnTo>
                  <a:lnTo>
                    <a:pt x="150" y="868"/>
                  </a:lnTo>
                  <a:lnTo>
                    <a:pt x="138" y="890"/>
                  </a:lnTo>
                  <a:lnTo>
                    <a:pt x="122" y="905"/>
                  </a:lnTo>
                  <a:lnTo>
                    <a:pt x="100" y="917"/>
                  </a:lnTo>
                  <a:lnTo>
                    <a:pt x="77" y="920"/>
                  </a:lnTo>
                  <a:lnTo>
                    <a:pt x="53" y="917"/>
                  </a:lnTo>
                  <a:lnTo>
                    <a:pt x="33" y="905"/>
                  </a:lnTo>
                  <a:lnTo>
                    <a:pt x="16" y="890"/>
                  </a:lnTo>
                  <a:lnTo>
                    <a:pt x="5" y="868"/>
                  </a:lnTo>
                  <a:lnTo>
                    <a:pt x="0" y="844"/>
                  </a:lnTo>
                  <a:lnTo>
                    <a:pt x="2" y="842"/>
                  </a:lnTo>
                  <a:lnTo>
                    <a:pt x="0" y="842"/>
                  </a:lnTo>
                  <a:lnTo>
                    <a:pt x="0" y="70"/>
                  </a:lnTo>
                  <a:lnTo>
                    <a:pt x="0" y="68"/>
                  </a:lnTo>
                  <a:lnTo>
                    <a:pt x="2" y="60"/>
                  </a:lnTo>
                  <a:lnTo>
                    <a:pt x="4" y="48"/>
                  </a:lnTo>
                  <a:lnTo>
                    <a:pt x="9" y="36"/>
                  </a:lnTo>
                  <a:lnTo>
                    <a:pt x="16" y="22"/>
                  </a:lnTo>
                  <a:lnTo>
                    <a:pt x="27" y="11"/>
                  </a:lnTo>
                  <a:lnTo>
                    <a:pt x="44" y="4"/>
                  </a:lnTo>
                  <a:lnTo>
                    <a:pt x="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4" name="Freeform 10"/>
            <p:cNvSpPr>
              <a:spLocks noEditPoints="1"/>
            </p:cNvSpPr>
            <p:nvPr/>
          </p:nvSpPr>
          <p:spPr bwMode="auto">
            <a:xfrm>
              <a:off x="6528" y="1152"/>
              <a:ext cx="784" cy="789"/>
            </a:xfrm>
            <a:custGeom>
              <a:avLst/>
              <a:gdLst>
                <a:gd name="T0" fmla="*/ 341 w 784"/>
                <a:gd name="T1" fmla="*/ 166 h 789"/>
                <a:gd name="T2" fmla="*/ 259 w 784"/>
                <a:gd name="T3" fmla="*/ 200 h 789"/>
                <a:gd name="T4" fmla="*/ 195 w 784"/>
                <a:gd name="T5" fmla="*/ 266 h 789"/>
                <a:gd name="T6" fmla="*/ 163 w 784"/>
                <a:gd name="T7" fmla="*/ 351 h 789"/>
                <a:gd name="T8" fmla="*/ 163 w 784"/>
                <a:gd name="T9" fmla="*/ 445 h 789"/>
                <a:gd name="T10" fmla="*/ 197 w 784"/>
                <a:gd name="T11" fmla="*/ 526 h 789"/>
                <a:gd name="T12" fmla="*/ 261 w 784"/>
                <a:gd name="T13" fmla="*/ 591 h 789"/>
                <a:gd name="T14" fmla="*/ 343 w 784"/>
                <a:gd name="T15" fmla="*/ 623 h 789"/>
                <a:gd name="T16" fmla="*/ 436 w 784"/>
                <a:gd name="T17" fmla="*/ 623 h 789"/>
                <a:gd name="T18" fmla="*/ 519 w 784"/>
                <a:gd name="T19" fmla="*/ 591 h 789"/>
                <a:gd name="T20" fmla="*/ 585 w 784"/>
                <a:gd name="T21" fmla="*/ 526 h 789"/>
                <a:gd name="T22" fmla="*/ 621 w 784"/>
                <a:gd name="T23" fmla="*/ 445 h 789"/>
                <a:gd name="T24" fmla="*/ 621 w 784"/>
                <a:gd name="T25" fmla="*/ 351 h 789"/>
                <a:gd name="T26" fmla="*/ 587 w 784"/>
                <a:gd name="T27" fmla="*/ 266 h 789"/>
                <a:gd name="T28" fmla="*/ 521 w 784"/>
                <a:gd name="T29" fmla="*/ 200 h 789"/>
                <a:gd name="T30" fmla="*/ 436 w 784"/>
                <a:gd name="T31" fmla="*/ 166 h 789"/>
                <a:gd name="T32" fmla="*/ 388 w 784"/>
                <a:gd name="T33" fmla="*/ 0 h 789"/>
                <a:gd name="T34" fmla="*/ 512 w 784"/>
                <a:gd name="T35" fmla="*/ 19 h 789"/>
                <a:gd name="T36" fmla="*/ 621 w 784"/>
                <a:gd name="T37" fmla="*/ 75 h 789"/>
                <a:gd name="T38" fmla="*/ 711 w 784"/>
                <a:gd name="T39" fmla="*/ 166 h 789"/>
                <a:gd name="T40" fmla="*/ 765 w 784"/>
                <a:gd name="T41" fmla="*/ 275 h 789"/>
                <a:gd name="T42" fmla="*/ 784 w 784"/>
                <a:gd name="T43" fmla="*/ 399 h 789"/>
                <a:gd name="T44" fmla="*/ 765 w 784"/>
                <a:gd name="T45" fmla="*/ 519 h 789"/>
                <a:gd name="T46" fmla="*/ 709 w 784"/>
                <a:gd name="T47" fmla="*/ 626 h 789"/>
                <a:gd name="T48" fmla="*/ 619 w 784"/>
                <a:gd name="T49" fmla="*/ 716 h 789"/>
                <a:gd name="T50" fmla="*/ 512 w 784"/>
                <a:gd name="T51" fmla="*/ 772 h 789"/>
                <a:gd name="T52" fmla="*/ 388 w 784"/>
                <a:gd name="T53" fmla="*/ 789 h 789"/>
                <a:gd name="T54" fmla="*/ 266 w 784"/>
                <a:gd name="T55" fmla="*/ 772 h 789"/>
                <a:gd name="T56" fmla="*/ 159 w 784"/>
                <a:gd name="T57" fmla="*/ 718 h 789"/>
                <a:gd name="T58" fmla="*/ 73 w 784"/>
                <a:gd name="T59" fmla="*/ 630 h 789"/>
                <a:gd name="T60" fmla="*/ 19 w 784"/>
                <a:gd name="T61" fmla="*/ 523 h 789"/>
                <a:gd name="T62" fmla="*/ 0 w 784"/>
                <a:gd name="T63" fmla="*/ 399 h 789"/>
                <a:gd name="T64" fmla="*/ 19 w 784"/>
                <a:gd name="T65" fmla="*/ 275 h 789"/>
                <a:gd name="T66" fmla="*/ 73 w 784"/>
                <a:gd name="T67" fmla="*/ 166 h 789"/>
                <a:gd name="T68" fmla="*/ 163 w 784"/>
                <a:gd name="T69" fmla="*/ 75 h 789"/>
                <a:gd name="T70" fmla="*/ 268 w 784"/>
                <a:gd name="T71" fmla="*/ 19 h 789"/>
                <a:gd name="T72" fmla="*/ 388 w 784"/>
                <a:gd name="T7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4" h="789">
                  <a:moveTo>
                    <a:pt x="388" y="161"/>
                  </a:moveTo>
                  <a:lnTo>
                    <a:pt x="341" y="166"/>
                  </a:lnTo>
                  <a:lnTo>
                    <a:pt x="299" y="178"/>
                  </a:lnTo>
                  <a:lnTo>
                    <a:pt x="259" y="200"/>
                  </a:lnTo>
                  <a:lnTo>
                    <a:pt x="224" y="229"/>
                  </a:lnTo>
                  <a:lnTo>
                    <a:pt x="195" y="266"/>
                  </a:lnTo>
                  <a:lnTo>
                    <a:pt x="175" y="305"/>
                  </a:lnTo>
                  <a:lnTo>
                    <a:pt x="163" y="351"/>
                  </a:lnTo>
                  <a:lnTo>
                    <a:pt x="159" y="399"/>
                  </a:lnTo>
                  <a:lnTo>
                    <a:pt x="163" y="445"/>
                  </a:lnTo>
                  <a:lnTo>
                    <a:pt x="175" y="487"/>
                  </a:lnTo>
                  <a:lnTo>
                    <a:pt x="197" y="526"/>
                  </a:lnTo>
                  <a:lnTo>
                    <a:pt x="226" y="562"/>
                  </a:lnTo>
                  <a:lnTo>
                    <a:pt x="261" y="591"/>
                  </a:lnTo>
                  <a:lnTo>
                    <a:pt x="300" y="611"/>
                  </a:lnTo>
                  <a:lnTo>
                    <a:pt x="343" y="623"/>
                  </a:lnTo>
                  <a:lnTo>
                    <a:pt x="388" y="628"/>
                  </a:lnTo>
                  <a:lnTo>
                    <a:pt x="436" y="623"/>
                  </a:lnTo>
                  <a:lnTo>
                    <a:pt x="478" y="611"/>
                  </a:lnTo>
                  <a:lnTo>
                    <a:pt x="519" y="591"/>
                  </a:lnTo>
                  <a:lnTo>
                    <a:pt x="555" y="562"/>
                  </a:lnTo>
                  <a:lnTo>
                    <a:pt x="585" y="526"/>
                  </a:lnTo>
                  <a:lnTo>
                    <a:pt x="607" y="487"/>
                  </a:lnTo>
                  <a:lnTo>
                    <a:pt x="621" y="445"/>
                  </a:lnTo>
                  <a:lnTo>
                    <a:pt x="624" y="399"/>
                  </a:lnTo>
                  <a:lnTo>
                    <a:pt x="621" y="351"/>
                  </a:lnTo>
                  <a:lnTo>
                    <a:pt x="607" y="305"/>
                  </a:lnTo>
                  <a:lnTo>
                    <a:pt x="587" y="266"/>
                  </a:lnTo>
                  <a:lnTo>
                    <a:pt x="556" y="229"/>
                  </a:lnTo>
                  <a:lnTo>
                    <a:pt x="521" y="200"/>
                  </a:lnTo>
                  <a:lnTo>
                    <a:pt x="480" y="178"/>
                  </a:lnTo>
                  <a:lnTo>
                    <a:pt x="436" y="166"/>
                  </a:lnTo>
                  <a:lnTo>
                    <a:pt x="388" y="161"/>
                  </a:lnTo>
                  <a:close/>
                  <a:moveTo>
                    <a:pt x="388" y="0"/>
                  </a:moveTo>
                  <a:lnTo>
                    <a:pt x="453" y="5"/>
                  </a:lnTo>
                  <a:lnTo>
                    <a:pt x="512" y="19"/>
                  </a:lnTo>
                  <a:lnTo>
                    <a:pt x="570" y="42"/>
                  </a:lnTo>
                  <a:lnTo>
                    <a:pt x="621" y="75"/>
                  </a:lnTo>
                  <a:lnTo>
                    <a:pt x="668" y="117"/>
                  </a:lnTo>
                  <a:lnTo>
                    <a:pt x="711" y="166"/>
                  </a:lnTo>
                  <a:lnTo>
                    <a:pt x="743" y="219"/>
                  </a:lnTo>
                  <a:lnTo>
                    <a:pt x="765" y="275"/>
                  </a:lnTo>
                  <a:lnTo>
                    <a:pt x="779" y="334"/>
                  </a:lnTo>
                  <a:lnTo>
                    <a:pt x="784" y="399"/>
                  </a:lnTo>
                  <a:lnTo>
                    <a:pt x="779" y="462"/>
                  </a:lnTo>
                  <a:lnTo>
                    <a:pt x="765" y="519"/>
                  </a:lnTo>
                  <a:lnTo>
                    <a:pt x="741" y="575"/>
                  </a:lnTo>
                  <a:lnTo>
                    <a:pt x="709" y="626"/>
                  </a:lnTo>
                  <a:lnTo>
                    <a:pt x="668" y="674"/>
                  </a:lnTo>
                  <a:lnTo>
                    <a:pt x="619" y="716"/>
                  </a:lnTo>
                  <a:lnTo>
                    <a:pt x="567" y="749"/>
                  </a:lnTo>
                  <a:lnTo>
                    <a:pt x="512" y="772"/>
                  </a:lnTo>
                  <a:lnTo>
                    <a:pt x="451" y="786"/>
                  </a:lnTo>
                  <a:lnTo>
                    <a:pt x="388" y="789"/>
                  </a:lnTo>
                  <a:lnTo>
                    <a:pt x="326" y="786"/>
                  </a:lnTo>
                  <a:lnTo>
                    <a:pt x="266" y="772"/>
                  </a:lnTo>
                  <a:lnTo>
                    <a:pt x="212" y="750"/>
                  </a:lnTo>
                  <a:lnTo>
                    <a:pt x="159" y="718"/>
                  </a:lnTo>
                  <a:lnTo>
                    <a:pt x="114" y="677"/>
                  </a:lnTo>
                  <a:lnTo>
                    <a:pt x="73" y="630"/>
                  </a:lnTo>
                  <a:lnTo>
                    <a:pt x="41" y="579"/>
                  </a:lnTo>
                  <a:lnTo>
                    <a:pt x="19" y="523"/>
                  </a:lnTo>
                  <a:lnTo>
                    <a:pt x="5" y="463"/>
                  </a:lnTo>
                  <a:lnTo>
                    <a:pt x="0" y="399"/>
                  </a:lnTo>
                  <a:lnTo>
                    <a:pt x="5" y="334"/>
                  </a:lnTo>
                  <a:lnTo>
                    <a:pt x="19" y="275"/>
                  </a:lnTo>
                  <a:lnTo>
                    <a:pt x="41" y="219"/>
                  </a:lnTo>
                  <a:lnTo>
                    <a:pt x="73" y="166"/>
                  </a:lnTo>
                  <a:lnTo>
                    <a:pt x="114" y="117"/>
                  </a:lnTo>
                  <a:lnTo>
                    <a:pt x="163" y="75"/>
                  </a:lnTo>
                  <a:lnTo>
                    <a:pt x="214" y="42"/>
                  </a:lnTo>
                  <a:lnTo>
                    <a:pt x="268" y="19"/>
                  </a:lnTo>
                  <a:lnTo>
                    <a:pt x="327" y="5"/>
                  </a:lnTo>
                  <a:lnTo>
                    <a:pt x="3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5" name="Freeform 11"/>
            <p:cNvSpPr>
              <a:spLocks/>
            </p:cNvSpPr>
            <p:nvPr/>
          </p:nvSpPr>
          <p:spPr bwMode="auto">
            <a:xfrm>
              <a:off x="4371" y="191"/>
              <a:ext cx="5327" cy="2450"/>
            </a:xfrm>
            <a:custGeom>
              <a:avLst/>
              <a:gdLst>
                <a:gd name="T0" fmla="*/ 2282 w 5327"/>
                <a:gd name="T1" fmla="*/ 127 h 2450"/>
                <a:gd name="T2" fmla="*/ 2342 w 5327"/>
                <a:gd name="T3" fmla="*/ 739 h 2450"/>
                <a:gd name="T4" fmla="*/ 2773 w 5327"/>
                <a:gd name="T5" fmla="*/ 737 h 2450"/>
                <a:gd name="T6" fmla="*/ 3136 w 5327"/>
                <a:gd name="T7" fmla="*/ 1061 h 2450"/>
                <a:gd name="T8" fmla="*/ 3448 w 5327"/>
                <a:gd name="T9" fmla="*/ 749 h 2450"/>
                <a:gd name="T10" fmla="*/ 3968 w 5327"/>
                <a:gd name="T11" fmla="*/ 720 h 2450"/>
                <a:gd name="T12" fmla="*/ 4337 w 5327"/>
                <a:gd name="T13" fmla="*/ 1017 h 2450"/>
                <a:gd name="T14" fmla="*/ 4422 w 5327"/>
                <a:gd name="T15" fmla="*/ 1353 h 2450"/>
                <a:gd name="T16" fmla="*/ 4617 w 5327"/>
                <a:gd name="T17" fmla="*/ 1767 h 2450"/>
                <a:gd name="T18" fmla="*/ 5060 w 5327"/>
                <a:gd name="T19" fmla="*/ 1852 h 2450"/>
                <a:gd name="T20" fmla="*/ 5322 w 5327"/>
                <a:gd name="T21" fmla="*/ 2129 h 2450"/>
                <a:gd name="T22" fmla="*/ 5089 w 5327"/>
                <a:gd name="T23" fmla="*/ 2433 h 2450"/>
                <a:gd name="T24" fmla="*/ 4826 w 5327"/>
                <a:gd name="T25" fmla="*/ 2419 h 2450"/>
                <a:gd name="T26" fmla="*/ 4813 w 5327"/>
                <a:gd name="T27" fmla="*/ 2283 h 2450"/>
                <a:gd name="T28" fmla="*/ 4886 w 5327"/>
                <a:gd name="T29" fmla="*/ 2273 h 2450"/>
                <a:gd name="T30" fmla="*/ 5062 w 5327"/>
                <a:gd name="T31" fmla="*/ 2278 h 2450"/>
                <a:gd name="T32" fmla="*/ 5179 w 5327"/>
                <a:gd name="T33" fmla="*/ 2007 h 2450"/>
                <a:gd name="T34" fmla="*/ 4852 w 5327"/>
                <a:gd name="T35" fmla="*/ 2003 h 2450"/>
                <a:gd name="T36" fmla="*/ 4417 w 5327"/>
                <a:gd name="T37" fmla="*/ 1755 h 2450"/>
                <a:gd name="T38" fmla="*/ 4271 w 5327"/>
                <a:gd name="T39" fmla="*/ 1312 h 2450"/>
                <a:gd name="T40" fmla="*/ 4096 w 5327"/>
                <a:gd name="T41" fmla="*/ 961 h 2450"/>
                <a:gd name="T42" fmla="*/ 3679 w 5327"/>
                <a:gd name="T43" fmla="*/ 847 h 2450"/>
                <a:gd name="T44" fmla="*/ 3312 w 5327"/>
                <a:gd name="T45" fmla="*/ 1064 h 2450"/>
                <a:gd name="T46" fmla="*/ 3255 w 5327"/>
                <a:gd name="T47" fmla="*/ 1485 h 2450"/>
                <a:gd name="T48" fmla="*/ 3562 w 5327"/>
                <a:gd name="T49" fmla="*/ 1815 h 2450"/>
                <a:gd name="T50" fmla="*/ 4424 w 5327"/>
                <a:gd name="T51" fmla="*/ 1973 h 2450"/>
                <a:gd name="T52" fmla="*/ 3406 w 5327"/>
                <a:gd name="T53" fmla="*/ 1915 h 2450"/>
                <a:gd name="T54" fmla="*/ 3066 w 5327"/>
                <a:gd name="T55" fmla="*/ 1767 h 2450"/>
                <a:gd name="T56" fmla="*/ 2627 w 5327"/>
                <a:gd name="T57" fmla="*/ 2010 h 2450"/>
                <a:gd name="T58" fmla="*/ 2140 w 5327"/>
                <a:gd name="T59" fmla="*/ 1878 h 2450"/>
                <a:gd name="T60" fmla="*/ 1896 w 5327"/>
                <a:gd name="T61" fmla="*/ 1446 h 2450"/>
                <a:gd name="T62" fmla="*/ 1794 w 5327"/>
                <a:gd name="T63" fmla="*/ 1047 h 2450"/>
                <a:gd name="T64" fmla="*/ 1436 w 5327"/>
                <a:gd name="T65" fmla="*/ 847 h 2450"/>
                <a:gd name="T66" fmla="*/ 348 w 5327"/>
                <a:gd name="T67" fmla="*/ 947 h 2450"/>
                <a:gd name="T68" fmla="*/ 280 w 5327"/>
                <a:gd name="T69" fmla="*/ 888 h 2450"/>
                <a:gd name="T70" fmla="*/ 319 w 5327"/>
                <a:gd name="T71" fmla="*/ 465 h 2450"/>
                <a:gd name="T72" fmla="*/ 555 w 5327"/>
                <a:gd name="T73" fmla="*/ 333 h 2450"/>
                <a:gd name="T74" fmla="*/ 1081 w 5327"/>
                <a:gd name="T75" fmla="*/ 268 h 2450"/>
                <a:gd name="T76" fmla="*/ 531 w 5327"/>
                <a:gd name="T77" fmla="*/ 197 h 2450"/>
                <a:gd name="T78" fmla="*/ 251 w 5327"/>
                <a:gd name="T79" fmla="*/ 324 h 2450"/>
                <a:gd name="T80" fmla="*/ 151 w 5327"/>
                <a:gd name="T81" fmla="*/ 1940 h 2450"/>
                <a:gd name="T82" fmla="*/ 32 w 5327"/>
                <a:gd name="T83" fmla="*/ 2000 h 2450"/>
                <a:gd name="T84" fmla="*/ 10 w 5327"/>
                <a:gd name="T85" fmla="*/ 484 h 2450"/>
                <a:gd name="T86" fmla="*/ 243 w 5327"/>
                <a:gd name="T87" fmla="*/ 136 h 2450"/>
                <a:gd name="T88" fmla="*/ 1032 w 5327"/>
                <a:gd name="T89" fmla="*/ 44 h 2450"/>
                <a:gd name="T90" fmla="*/ 1224 w 5327"/>
                <a:gd name="T91" fmla="*/ 214 h 2450"/>
                <a:gd name="T92" fmla="*/ 1108 w 5327"/>
                <a:gd name="T93" fmla="*/ 452 h 2450"/>
                <a:gd name="T94" fmla="*/ 572 w 5327"/>
                <a:gd name="T95" fmla="*/ 474 h 2450"/>
                <a:gd name="T96" fmla="*/ 416 w 5327"/>
                <a:gd name="T97" fmla="*/ 635 h 2450"/>
                <a:gd name="T98" fmla="*/ 1290 w 5327"/>
                <a:gd name="T99" fmla="*/ 693 h 2450"/>
                <a:gd name="T100" fmla="*/ 1768 w 5327"/>
                <a:gd name="T101" fmla="*/ 808 h 2450"/>
                <a:gd name="T102" fmla="*/ 2028 w 5327"/>
                <a:gd name="T103" fmla="*/ 1226 h 2450"/>
                <a:gd name="T104" fmla="*/ 2147 w 5327"/>
                <a:gd name="T105" fmla="*/ 1660 h 2450"/>
                <a:gd name="T106" fmla="*/ 2554 w 5327"/>
                <a:gd name="T107" fmla="*/ 1852 h 2450"/>
                <a:gd name="T108" fmla="*/ 2954 w 5327"/>
                <a:gd name="T109" fmla="*/ 1662 h 2450"/>
                <a:gd name="T110" fmla="*/ 3041 w 5327"/>
                <a:gd name="T111" fmla="*/ 1226 h 2450"/>
                <a:gd name="T112" fmla="*/ 2751 w 5327"/>
                <a:gd name="T113" fmla="*/ 874 h 2450"/>
                <a:gd name="T114" fmla="*/ 2277 w 5327"/>
                <a:gd name="T115" fmla="*/ 918 h 2450"/>
                <a:gd name="T116" fmla="*/ 2136 w 5327"/>
                <a:gd name="T117" fmla="*/ 165 h 2450"/>
                <a:gd name="T118" fmla="*/ 2021 w 5327"/>
                <a:gd name="T119" fmla="*/ 195 h 2450"/>
                <a:gd name="T120" fmla="*/ 1896 w 5327"/>
                <a:gd name="T121" fmla="*/ 769 h 2450"/>
                <a:gd name="T122" fmla="*/ 1906 w 5327"/>
                <a:gd name="T123" fmla="*/ 93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7" h="2450">
                  <a:moveTo>
                    <a:pt x="2087" y="0"/>
                  </a:moveTo>
                  <a:lnTo>
                    <a:pt x="2130" y="3"/>
                  </a:lnTo>
                  <a:lnTo>
                    <a:pt x="2170" y="15"/>
                  </a:lnTo>
                  <a:lnTo>
                    <a:pt x="2206" y="36"/>
                  </a:lnTo>
                  <a:lnTo>
                    <a:pt x="2237" y="61"/>
                  </a:lnTo>
                  <a:lnTo>
                    <a:pt x="2264" y="92"/>
                  </a:lnTo>
                  <a:lnTo>
                    <a:pt x="2282" y="127"/>
                  </a:lnTo>
                  <a:lnTo>
                    <a:pt x="2296" y="168"/>
                  </a:lnTo>
                  <a:lnTo>
                    <a:pt x="2299" y="212"/>
                  </a:lnTo>
                  <a:lnTo>
                    <a:pt x="2299" y="212"/>
                  </a:lnTo>
                  <a:lnTo>
                    <a:pt x="2301" y="222"/>
                  </a:lnTo>
                  <a:lnTo>
                    <a:pt x="2301" y="233"/>
                  </a:lnTo>
                  <a:lnTo>
                    <a:pt x="2301" y="756"/>
                  </a:lnTo>
                  <a:lnTo>
                    <a:pt x="2342" y="739"/>
                  </a:lnTo>
                  <a:lnTo>
                    <a:pt x="2374" y="727"/>
                  </a:lnTo>
                  <a:lnTo>
                    <a:pt x="2433" y="711"/>
                  </a:lnTo>
                  <a:lnTo>
                    <a:pt x="2495" y="703"/>
                  </a:lnTo>
                  <a:lnTo>
                    <a:pt x="2556" y="699"/>
                  </a:lnTo>
                  <a:lnTo>
                    <a:pt x="2632" y="705"/>
                  </a:lnTo>
                  <a:lnTo>
                    <a:pt x="2703" y="716"/>
                  </a:lnTo>
                  <a:lnTo>
                    <a:pt x="2773" y="737"/>
                  </a:lnTo>
                  <a:lnTo>
                    <a:pt x="2837" y="764"/>
                  </a:lnTo>
                  <a:lnTo>
                    <a:pt x="2900" y="800"/>
                  </a:lnTo>
                  <a:lnTo>
                    <a:pt x="2960" y="844"/>
                  </a:lnTo>
                  <a:lnTo>
                    <a:pt x="3016" y="896"/>
                  </a:lnTo>
                  <a:lnTo>
                    <a:pt x="3063" y="949"/>
                  </a:lnTo>
                  <a:lnTo>
                    <a:pt x="3102" y="1003"/>
                  </a:lnTo>
                  <a:lnTo>
                    <a:pt x="3136" y="1061"/>
                  </a:lnTo>
                  <a:lnTo>
                    <a:pt x="3161" y="1008"/>
                  </a:lnTo>
                  <a:lnTo>
                    <a:pt x="3192" y="959"/>
                  </a:lnTo>
                  <a:lnTo>
                    <a:pt x="3228" y="913"/>
                  </a:lnTo>
                  <a:lnTo>
                    <a:pt x="3267" y="871"/>
                  </a:lnTo>
                  <a:lnTo>
                    <a:pt x="3324" y="822"/>
                  </a:lnTo>
                  <a:lnTo>
                    <a:pt x="3384" y="783"/>
                  </a:lnTo>
                  <a:lnTo>
                    <a:pt x="3448" y="749"/>
                  </a:lnTo>
                  <a:lnTo>
                    <a:pt x="3518" y="723"/>
                  </a:lnTo>
                  <a:lnTo>
                    <a:pt x="3591" y="705"/>
                  </a:lnTo>
                  <a:lnTo>
                    <a:pt x="3667" y="693"/>
                  </a:lnTo>
                  <a:lnTo>
                    <a:pt x="3749" y="689"/>
                  </a:lnTo>
                  <a:lnTo>
                    <a:pt x="3825" y="693"/>
                  </a:lnTo>
                  <a:lnTo>
                    <a:pt x="3898" y="703"/>
                  </a:lnTo>
                  <a:lnTo>
                    <a:pt x="3968" y="720"/>
                  </a:lnTo>
                  <a:lnTo>
                    <a:pt x="4032" y="742"/>
                  </a:lnTo>
                  <a:lnTo>
                    <a:pt x="4093" y="772"/>
                  </a:lnTo>
                  <a:lnTo>
                    <a:pt x="4151" y="808"/>
                  </a:lnTo>
                  <a:lnTo>
                    <a:pt x="4203" y="852"/>
                  </a:lnTo>
                  <a:lnTo>
                    <a:pt x="4253" y="902"/>
                  </a:lnTo>
                  <a:lnTo>
                    <a:pt x="4298" y="958"/>
                  </a:lnTo>
                  <a:lnTo>
                    <a:pt x="4337" y="1017"/>
                  </a:lnTo>
                  <a:lnTo>
                    <a:pt x="4368" y="1078"/>
                  </a:lnTo>
                  <a:lnTo>
                    <a:pt x="4393" y="1141"/>
                  </a:lnTo>
                  <a:lnTo>
                    <a:pt x="4410" y="1207"/>
                  </a:lnTo>
                  <a:lnTo>
                    <a:pt x="4421" y="1277"/>
                  </a:lnTo>
                  <a:lnTo>
                    <a:pt x="4424" y="1348"/>
                  </a:lnTo>
                  <a:lnTo>
                    <a:pt x="4422" y="1350"/>
                  </a:lnTo>
                  <a:lnTo>
                    <a:pt x="4422" y="1353"/>
                  </a:lnTo>
                  <a:lnTo>
                    <a:pt x="4427" y="1423"/>
                  </a:lnTo>
                  <a:lnTo>
                    <a:pt x="4439" y="1489"/>
                  </a:lnTo>
                  <a:lnTo>
                    <a:pt x="4460" y="1552"/>
                  </a:lnTo>
                  <a:lnTo>
                    <a:pt x="4487" y="1611"/>
                  </a:lnTo>
                  <a:lnTo>
                    <a:pt x="4524" y="1667"/>
                  </a:lnTo>
                  <a:lnTo>
                    <a:pt x="4568" y="1721"/>
                  </a:lnTo>
                  <a:lnTo>
                    <a:pt x="4617" y="1767"/>
                  </a:lnTo>
                  <a:lnTo>
                    <a:pt x="4672" y="1806"/>
                  </a:lnTo>
                  <a:lnTo>
                    <a:pt x="4729" y="1835"/>
                  </a:lnTo>
                  <a:lnTo>
                    <a:pt x="4791" y="1857"/>
                  </a:lnTo>
                  <a:lnTo>
                    <a:pt x="4857" y="1869"/>
                  </a:lnTo>
                  <a:lnTo>
                    <a:pt x="4926" y="1874"/>
                  </a:lnTo>
                  <a:lnTo>
                    <a:pt x="4992" y="1869"/>
                  </a:lnTo>
                  <a:lnTo>
                    <a:pt x="5060" y="1852"/>
                  </a:lnTo>
                  <a:lnTo>
                    <a:pt x="5132" y="1827"/>
                  </a:lnTo>
                  <a:lnTo>
                    <a:pt x="5205" y="1789"/>
                  </a:lnTo>
                  <a:lnTo>
                    <a:pt x="5240" y="1767"/>
                  </a:lnTo>
                  <a:lnTo>
                    <a:pt x="5281" y="1738"/>
                  </a:lnTo>
                  <a:lnTo>
                    <a:pt x="5327" y="1703"/>
                  </a:lnTo>
                  <a:lnTo>
                    <a:pt x="5327" y="2068"/>
                  </a:lnTo>
                  <a:lnTo>
                    <a:pt x="5322" y="2129"/>
                  </a:lnTo>
                  <a:lnTo>
                    <a:pt x="5310" y="2185"/>
                  </a:lnTo>
                  <a:lnTo>
                    <a:pt x="5289" y="2237"/>
                  </a:lnTo>
                  <a:lnTo>
                    <a:pt x="5261" y="2288"/>
                  </a:lnTo>
                  <a:lnTo>
                    <a:pt x="5223" y="2336"/>
                  </a:lnTo>
                  <a:lnTo>
                    <a:pt x="5181" y="2377"/>
                  </a:lnTo>
                  <a:lnTo>
                    <a:pt x="5137" y="2409"/>
                  </a:lnTo>
                  <a:lnTo>
                    <a:pt x="5089" y="2433"/>
                  </a:lnTo>
                  <a:lnTo>
                    <a:pt x="5042" y="2446"/>
                  </a:lnTo>
                  <a:lnTo>
                    <a:pt x="4991" y="2450"/>
                  </a:lnTo>
                  <a:lnTo>
                    <a:pt x="4935" y="2448"/>
                  </a:lnTo>
                  <a:lnTo>
                    <a:pt x="4886" y="2440"/>
                  </a:lnTo>
                  <a:lnTo>
                    <a:pt x="4841" y="2426"/>
                  </a:lnTo>
                  <a:lnTo>
                    <a:pt x="4833" y="2423"/>
                  </a:lnTo>
                  <a:lnTo>
                    <a:pt x="4826" y="2419"/>
                  </a:lnTo>
                  <a:lnTo>
                    <a:pt x="4808" y="2407"/>
                  </a:lnTo>
                  <a:lnTo>
                    <a:pt x="4794" y="2390"/>
                  </a:lnTo>
                  <a:lnTo>
                    <a:pt x="4784" y="2370"/>
                  </a:lnTo>
                  <a:lnTo>
                    <a:pt x="4780" y="2348"/>
                  </a:lnTo>
                  <a:lnTo>
                    <a:pt x="4785" y="2322"/>
                  </a:lnTo>
                  <a:lnTo>
                    <a:pt x="4796" y="2300"/>
                  </a:lnTo>
                  <a:lnTo>
                    <a:pt x="4813" y="2283"/>
                  </a:lnTo>
                  <a:lnTo>
                    <a:pt x="4835" y="2273"/>
                  </a:lnTo>
                  <a:lnTo>
                    <a:pt x="4860" y="2268"/>
                  </a:lnTo>
                  <a:lnTo>
                    <a:pt x="4867" y="2268"/>
                  </a:lnTo>
                  <a:lnTo>
                    <a:pt x="4875" y="2270"/>
                  </a:lnTo>
                  <a:lnTo>
                    <a:pt x="4875" y="2270"/>
                  </a:lnTo>
                  <a:lnTo>
                    <a:pt x="4875" y="2270"/>
                  </a:lnTo>
                  <a:lnTo>
                    <a:pt x="4886" y="2273"/>
                  </a:lnTo>
                  <a:lnTo>
                    <a:pt x="4903" y="2277"/>
                  </a:lnTo>
                  <a:lnTo>
                    <a:pt x="4925" y="2282"/>
                  </a:lnTo>
                  <a:lnTo>
                    <a:pt x="4952" y="2285"/>
                  </a:lnTo>
                  <a:lnTo>
                    <a:pt x="4981" y="2288"/>
                  </a:lnTo>
                  <a:lnTo>
                    <a:pt x="5009" y="2288"/>
                  </a:lnTo>
                  <a:lnTo>
                    <a:pt x="5038" y="2287"/>
                  </a:lnTo>
                  <a:lnTo>
                    <a:pt x="5062" y="2278"/>
                  </a:lnTo>
                  <a:lnTo>
                    <a:pt x="5093" y="2260"/>
                  </a:lnTo>
                  <a:lnTo>
                    <a:pt x="5118" y="2236"/>
                  </a:lnTo>
                  <a:lnTo>
                    <a:pt x="5140" y="2205"/>
                  </a:lnTo>
                  <a:lnTo>
                    <a:pt x="5157" y="2166"/>
                  </a:lnTo>
                  <a:lnTo>
                    <a:pt x="5169" y="2120"/>
                  </a:lnTo>
                  <a:lnTo>
                    <a:pt x="5176" y="2068"/>
                  </a:lnTo>
                  <a:lnTo>
                    <a:pt x="5179" y="2007"/>
                  </a:lnTo>
                  <a:lnTo>
                    <a:pt x="5179" y="1952"/>
                  </a:lnTo>
                  <a:lnTo>
                    <a:pt x="5140" y="1968"/>
                  </a:lnTo>
                  <a:lnTo>
                    <a:pt x="5110" y="1978"/>
                  </a:lnTo>
                  <a:lnTo>
                    <a:pt x="5047" y="1995"/>
                  </a:lnTo>
                  <a:lnTo>
                    <a:pt x="4986" y="2005"/>
                  </a:lnTo>
                  <a:lnTo>
                    <a:pt x="4926" y="2007"/>
                  </a:lnTo>
                  <a:lnTo>
                    <a:pt x="4852" y="2003"/>
                  </a:lnTo>
                  <a:lnTo>
                    <a:pt x="4780" y="1991"/>
                  </a:lnTo>
                  <a:lnTo>
                    <a:pt x="4711" y="1971"/>
                  </a:lnTo>
                  <a:lnTo>
                    <a:pt x="4646" y="1944"/>
                  </a:lnTo>
                  <a:lnTo>
                    <a:pt x="4584" y="1906"/>
                  </a:lnTo>
                  <a:lnTo>
                    <a:pt x="4522" y="1862"/>
                  </a:lnTo>
                  <a:lnTo>
                    <a:pt x="4466" y="1810"/>
                  </a:lnTo>
                  <a:lnTo>
                    <a:pt x="4417" y="1755"/>
                  </a:lnTo>
                  <a:lnTo>
                    <a:pt x="4375" y="1698"/>
                  </a:lnTo>
                  <a:lnTo>
                    <a:pt x="4339" y="1638"/>
                  </a:lnTo>
                  <a:lnTo>
                    <a:pt x="4312" y="1577"/>
                  </a:lnTo>
                  <a:lnTo>
                    <a:pt x="4292" y="1511"/>
                  </a:lnTo>
                  <a:lnTo>
                    <a:pt x="4280" y="1443"/>
                  </a:lnTo>
                  <a:lnTo>
                    <a:pt x="4273" y="1370"/>
                  </a:lnTo>
                  <a:lnTo>
                    <a:pt x="4271" y="1312"/>
                  </a:lnTo>
                  <a:lnTo>
                    <a:pt x="4263" y="1256"/>
                  </a:lnTo>
                  <a:lnTo>
                    <a:pt x="4249" y="1200"/>
                  </a:lnTo>
                  <a:lnTo>
                    <a:pt x="4229" y="1146"/>
                  </a:lnTo>
                  <a:lnTo>
                    <a:pt x="4205" y="1095"/>
                  </a:lnTo>
                  <a:lnTo>
                    <a:pt x="4175" y="1047"/>
                  </a:lnTo>
                  <a:lnTo>
                    <a:pt x="4141" y="1003"/>
                  </a:lnTo>
                  <a:lnTo>
                    <a:pt x="4096" y="961"/>
                  </a:lnTo>
                  <a:lnTo>
                    <a:pt x="4049" y="925"/>
                  </a:lnTo>
                  <a:lnTo>
                    <a:pt x="3998" y="896"/>
                  </a:lnTo>
                  <a:lnTo>
                    <a:pt x="3942" y="873"/>
                  </a:lnTo>
                  <a:lnTo>
                    <a:pt x="3881" y="856"/>
                  </a:lnTo>
                  <a:lnTo>
                    <a:pt x="3818" y="847"/>
                  </a:lnTo>
                  <a:lnTo>
                    <a:pt x="3749" y="844"/>
                  </a:lnTo>
                  <a:lnTo>
                    <a:pt x="3679" y="847"/>
                  </a:lnTo>
                  <a:lnTo>
                    <a:pt x="3613" y="859"/>
                  </a:lnTo>
                  <a:lnTo>
                    <a:pt x="3550" y="878"/>
                  </a:lnTo>
                  <a:lnTo>
                    <a:pt x="3491" y="903"/>
                  </a:lnTo>
                  <a:lnTo>
                    <a:pt x="3436" y="937"/>
                  </a:lnTo>
                  <a:lnTo>
                    <a:pt x="3385" y="978"/>
                  </a:lnTo>
                  <a:lnTo>
                    <a:pt x="3345" y="1019"/>
                  </a:lnTo>
                  <a:lnTo>
                    <a:pt x="3312" y="1064"/>
                  </a:lnTo>
                  <a:lnTo>
                    <a:pt x="3285" y="1114"/>
                  </a:lnTo>
                  <a:lnTo>
                    <a:pt x="3265" y="1168"/>
                  </a:lnTo>
                  <a:lnTo>
                    <a:pt x="3250" y="1226"/>
                  </a:lnTo>
                  <a:lnTo>
                    <a:pt x="3240" y="1289"/>
                  </a:lnTo>
                  <a:lnTo>
                    <a:pt x="3238" y="1356"/>
                  </a:lnTo>
                  <a:lnTo>
                    <a:pt x="3241" y="1423"/>
                  </a:lnTo>
                  <a:lnTo>
                    <a:pt x="3255" y="1485"/>
                  </a:lnTo>
                  <a:lnTo>
                    <a:pt x="3275" y="1547"/>
                  </a:lnTo>
                  <a:lnTo>
                    <a:pt x="3306" y="1603"/>
                  </a:lnTo>
                  <a:lnTo>
                    <a:pt x="3345" y="1657"/>
                  </a:lnTo>
                  <a:lnTo>
                    <a:pt x="3392" y="1706"/>
                  </a:lnTo>
                  <a:lnTo>
                    <a:pt x="3447" y="1750"/>
                  </a:lnTo>
                  <a:lnTo>
                    <a:pt x="3503" y="1786"/>
                  </a:lnTo>
                  <a:lnTo>
                    <a:pt x="3562" y="1815"/>
                  </a:lnTo>
                  <a:lnTo>
                    <a:pt x="3625" y="1835"/>
                  </a:lnTo>
                  <a:lnTo>
                    <a:pt x="3691" y="1847"/>
                  </a:lnTo>
                  <a:lnTo>
                    <a:pt x="3760" y="1850"/>
                  </a:lnTo>
                  <a:lnTo>
                    <a:pt x="4307" y="1850"/>
                  </a:lnTo>
                  <a:lnTo>
                    <a:pt x="4339" y="1889"/>
                  </a:lnTo>
                  <a:lnTo>
                    <a:pt x="4375" y="1925"/>
                  </a:lnTo>
                  <a:lnTo>
                    <a:pt x="4424" y="1973"/>
                  </a:lnTo>
                  <a:lnTo>
                    <a:pt x="4477" y="2013"/>
                  </a:lnTo>
                  <a:lnTo>
                    <a:pt x="3760" y="2013"/>
                  </a:lnTo>
                  <a:lnTo>
                    <a:pt x="3684" y="2010"/>
                  </a:lnTo>
                  <a:lnTo>
                    <a:pt x="3611" y="1998"/>
                  </a:lnTo>
                  <a:lnTo>
                    <a:pt x="3540" y="1978"/>
                  </a:lnTo>
                  <a:lnTo>
                    <a:pt x="3470" y="1951"/>
                  </a:lnTo>
                  <a:lnTo>
                    <a:pt x="3406" y="1915"/>
                  </a:lnTo>
                  <a:lnTo>
                    <a:pt x="3343" y="1873"/>
                  </a:lnTo>
                  <a:lnTo>
                    <a:pt x="3284" y="1822"/>
                  </a:lnTo>
                  <a:lnTo>
                    <a:pt x="3229" y="1766"/>
                  </a:lnTo>
                  <a:lnTo>
                    <a:pt x="3184" y="1706"/>
                  </a:lnTo>
                  <a:lnTo>
                    <a:pt x="3146" y="1643"/>
                  </a:lnTo>
                  <a:lnTo>
                    <a:pt x="3111" y="1708"/>
                  </a:lnTo>
                  <a:lnTo>
                    <a:pt x="3066" y="1767"/>
                  </a:lnTo>
                  <a:lnTo>
                    <a:pt x="3016" y="1825"/>
                  </a:lnTo>
                  <a:lnTo>
                    <a:pt x="2958" y="1876"/>
                  </a:lnTo>
                  <a:lnTo>
                    <a:pt x="2898" y="1918"/>
                  </a:lnTo>
                  <a:lnTo>
                    <a:pt x="2836" y="1952"/>
                  </a:lnTo>
                  <a:lnTo>
                    <a:pt x="2769" y="1979"/>
                  </a:lnTo>
                  <a:lnTo>
                    <a:pt x="2700" y="2000"/>
                  </a:lnTo>
                  <a:lnTo>
                    <a:pt x="2627" y="2010"/>
                  </a:lnTo>
                  <a:lnTo>
                    <a:pt x="2551" y="2015"/>
                  </a:lnTo>
                  <a:lnTo>
                    <a:pt x="2472" y="2010"/>
                  </a:lnTo>
                  <a:lnTo>
                    <a:pt x="2400" y="2000"/>
                  </a:lnTo>
                  <a:lnTo>
                    <a:pt x="2330" y="1979"/>
                  </a:lnTo>
                  <a:lnTo>
                    <a:pt x="2262" y="1954"/>
                  </a:lnTo>
                  <a:lnTo>
                    <a:pt x="2199" y="1918"/>
                  </a:lnTo>
                  <a:lnTo>
                    <a:pt x="2140" y="1878"/>
                  </a:lnTo>
                  <a:lnTo>
                    <a:pt x="2082" y="1828"/>
                  </a:lnTo>
                  <a:lnTo>
                    <a:pt x="2033" y="1772"/>
                  </a:lnTo>
                  <a:lnTo>
                    <a:pt x="1989" y="1715"/>
                  </a:lnTo>
                  <a:lnTo>
                    <a:pt x="1955" y="1654"/>
                  </a:lnTo>
                  <a:lnTo>
                    <a:pt x="1926" y="1587"/>
                  </a:lnTo>
                  <a:lnTo>
                    <a:pt x="1907" y="1519"/>
                  </a:lnTo>
                  <a:lnTo>
                    <a:pt x="1896" y="1446"/>
                  </a:lnTo>
                  <a:lnTo>
                    <a:pt x="1890" y="1370"/>
                  </a:lnTo>
                  <a:lnTo>
                    <a:pt x="1889" y="1312"/>
                  </a:lnTo>
                  <a:lnTo>
                    <a:pt x="1880" y="1256"/>
                  </a:lnTo>
                  <a:lnTo>
                    <a:pt x="1867" y="1200"/>
                  </a:lnTo>
                  <a:lnTo>
                    <a:pt x="1848" y="1146"/>
                  </a:lnTo>
                  <a:lnTo>
                    <a:pt x="1823" y="1095"/>
                  </a:lnTo>
                  <a:lnTo>
                    <a:pt x="1794" y="1047"/>
                  </a:lnTo>
                  <a:lnTo>
                    <a:pt x="1758" y="1003"/>
                  </a:lnTo>
                  <a:lnTo>
                    <a:pt x="1716" y="961"/>
                  </a:lnTo>
                  <a:lnTo>
                    <a:pt x="1668" y="925"/>
                  </a:lnTo>
                  <a:lnTo>
                    <a:pt x="1616" y="896"/>
                  </a:lnTo>
                  <a:lnTo>
                    <a:pt x="1560" y="873"/>
                  </a:lnTo>
                  <a:lnTo>
                    <a:pt x="1500" y="856"/>
                  </a:lnTo>
                  <a:lnTo>
                    <a:pt x="1436" y="847"/>
                  </a:lnTo>
                  <a:lnTo>
                    <a:pt x="1368" y="844"/>
                  </a:lnTo>
                  <a:lnTo>
                    <a:pt x="1295" y="847"/>
                  </a:lnTo>
                  <a:lnTo>
                    <a:pt x="1224" y="859"/>
                  </a:lnTo>
                  <a:lnTo>
                    <a:pt x="1159" y="881"/>
                  </a:lnTo>
                  <a:lnTo>
                    <a:pt x="1098" y="910"/>
                  </a:lnTo>
                  <a:lnTo>
                    <a:pt x="1040" y="947"/>
                  </a:lnTo>
                  <a:lnTo>
                    <a:pt x="348" y="947"/>
                  </a:lnTo>
                  <a:lnTo>
                    <a:pt x="346" y="947"/>
                  </a:lnTo>
                  <a:lnTo>
                    <a:pt x="322" y="944"/>
                  </a:lnTo>
                  <a:lnTo>
                    <a:pt x="305" y="935"/>
                  </a:lnTo>
                  <a:lnTo>
                    <a:pt x="294" y="925"/>
                  </a:lnTo>
                  <a:lnTo>
                    <a:pt x="287" y="912"/>
                  </a:lnTo>
                  <a:lnTo>
                    <a:pt x="282" y="898"/>
                  </a:lnTo>
                  <a:lnTo>
                    <a:pt x="280" y="888"/>
                  </a:lnTo>
                  <a:lnTo>
                    <a:pt x="278" y="879"/>
                  </a:lnTo>
                  <a:lnTo>
                    <a:pt x="278" y="876"/>
                  </a:lnTo>
                  <a:lnTo>
                    <a:pt x="278" y="621"/>
                  </a:lnTo>
                  <a:lnTo>
                    <a:pt x="282" y="582"/>
                  </a:lnTo>
                  <a:lnTo>
                    <a:pt x="288" y="543"/>
                  </a:lnTo>
                  <a:lnTo>
                    <a:pt x="302" y="504"/>
                  </a:lnTo>
                  <a:lnTo>
                    <a:pt x="319" y="465"/>
                  </a:lnTo>
                  <a:lnTo>
                    <a:pt x="343" y="430"/>
                  </a:lnTo>
                  <a:lnTo>
                    <a:pt x="370" y="399"/>
                  </a:lnTo>
                  <a:lnTo>
                    <a:pt x="402" y="374"/>
                  </a:lnTo>
                  <a:lnTo>
                    <a:pt x="436" y="355"/>
                  </a:lnTo>
                  <a:lnTo>
                    <a:pt x="473" y="343"/>
                  </a:lnTo>
                  <a:lnTo>
                    <a:pt x="512" y="336"/>
                  </a:lnTo>
                  <a:lnTo>
                    <a:pt x="555" y="333"/>
                  </a:lnTo>
                  <a:lnTo>
                    <a:pt x="599" y="331"/>
                  </a:lnTo>
                  <a:lnTo>
                    <a:pt x="1018" y="331"/>
                  </a:lnTo>
                  <a:lnTo>
                    <a:pt x="1039" y="328"/>
                  </a:lnTo>
                  <a:lnTo>
                    <a:pt x="1056" y="319"/>
                  </a:lnTo>
                  <a:lnTo>
                    <a:pt x="1069" y="304"/>
                  </a:lnTo>
                  <a:lnTo>
                    <a:pt x="1078" y="287"/>
                  </a:lnTo>
                  <a:lnTo>
                    <a:pt x="1081" y="268"/>
                  </a:lnTo>
                  <a:lnTo>
                    <a:pt x="1079" y="250"/>
                  </a:lnTo>
                  <a:lnTo>
                    <a:pt x="1071" y="228"/>
                  </a:lnTo>
                  <a:lnTo>
                    <a:pt x="1059" y="211"/>
                  </a:lnTo>
                  <a:lnTo>
                    <a:pt x="1044" y="200"/>
                  </a:lnTo>
                  <a:lnTo>
                    <a:pt x="1027" y="195"/>
                  </a:lnTo>
                  <a:lnTo>
                    <a:pt x="570" y="195"/>
                  </a:lnTo>
                  <a:lnTo>
                    <a:pt x="531" y="197"/>
                  </a:lnTo>
                  <a:lnTo>
                    <a:pt x="490" y="200"/>
                  </a:lnTo>
                  <a:lnTo>
                    <a:pt x="450" y="205"/>
                  </a:lnTo>
                  <a:lnTo>
                    <a:pt x="407" y="217"/>
                  </a:lnTo>
                  <a:lnTo>
                    <a:pt x="367" y="233"/>
                  </a:lnTo>
                  <a:lnTo>
                    <a:pt x="326" y="256"/>
                  </a:lnTo>
                  <a:lnTo>
                    <a:pt x="287" y="287"/>
                  </a:lnTo>
                  <a:lnTo>
                    <a:pt x="251" y="324"/>
                  </a:lnTo>
                  <a:lnTo>
                    <a:pt x="214" y="375"/>
                  </a:lnTo>
                  <a:lnTo>
                    <a:pt x="187" y="430"/>
                  </a:lnTo>
                  <a:lnTo>
                    <a:pt x="166" y="486"/>
                  </a:lnTo>
                  <a:lnTo>
                    <a:pt x="156" y="547"/>
                  </a:lnTo>
                  <a:lnTo>
                    <a:pt x="151" y="610"/>
                  </a:lnTo>
                  <a:lnTo>
                    <a:pt x="151" y="1940"/>
                  </a:lnTo>
                  <a:lnTo>
                    <a:pt x="151" y="1940"/>
                  </a:lnTo>
                  <a:lnTo>
                    <a:pt x="148" y="1964"/>
                  </a:lnTo>
                  <a:lnTo>
                    <a:pt x="136" y="1983"/>
                  </a:lnTo>
                  <a:lnTo>
                    <a:pt x="119" y="2000"/>
                  </a:lnTo>
                  <a:lnTo>
                    <a:pt x="98" y="2010"/>
                  </a:lnTo>
                  <a:lnTo>
                    <a:pt x="76" y="2013"/>
                  </a:lnTo>
                  <a:lnTo>
                    <a:pt x="53" y="2010"/>
                  </a:lnTo>
                  <a:lnTo>
                    <a:pt x="32" y="2000"/>
                  </a:lnTo>
                  <a:lnTo>
                    <a:pt x="15" y="1983"/>
                  </a:lnTo>
                  <a:lnTo>
                    <a:pt x="5" y="1964"/>
                  </a:lnTo>
                  <a:lnTo>
                    <a:pt x="0" y="1940"/>
                  </a:lnTo>
                  <a:lnTo>
                    <a:pt x="0" y="1940"/>
                  </a:lnTo>
                  <a:lnTo>
                    <a:pt x="0" y="611"/>
                  </a:lnTo>
                  <a:lnTo>
                    <a:pt x="3" y="545"/>
                  </a:lnTo>
                  <a:lnTo>
                    <a:pt x="10" y="484"/>
                  </a:lnTo>
                  <a:lnTo>
                    <a:pt x="24" y="426"/>
                  </a:lnTo>
                  <a:lnTo>
                    <a:pt x="44" y="374"/>
                  </a:lnTo>
                  <a:lnTo>
                    <a:pt x="70" y="321"/>
                  </a:lnTo>
                  <a:lnTo>
                    <a:pt x="104" y="272"/>
                  </a:lnTo>
                  <a:lnTo>
                    <a:pt x="143" y="222"/>
                  </a:lnTo>
                  <a:lnTo>
                    <a:pt x="190" y="177"/>
                  </a:lnTo>
                  <a:lnTo>
                    <a:pt x="243" y="136"/>
                  </a:lnTo>
                  <a:lnTo>
                    <a:pt x="299" y="104"/>
                  </a:lnTo>
                  <a:lnTo>
                    <a:pt x="361" y="78"/>
                  </a:lnTo>
                  <a:lnTo>
                    <a:pt x="426" y="60"/>
                  </a:lnTo>
                  <a:lnTo>
                    <a:pt x="496" y="48"/>
                  </a:lnTo>
                  <a:lnTo>
                    <a:pt x="570" y="44"/>
                  </a:lnTo>
                  <a:lnTo>
                    <a:pt x="1023" y="44"/>
                  </a:lnTo>
                  <a:lnTo>
                    <a:pt x="1032" y="44"/>
                  </a:lnTo>
                  <a:lnTo>
                    <a:pt x="1050" y="46"/>
                  </a:lnTo>
                  <a:lnTo>
                    <a:pt x="1093" y="58"/>
                  </a:lnTo>
                  <a:lnTo>
                    <a:pt x="1130" y="76"/>
                  </a:lnTo>
                  <a:lnTo>
                    <a:pt x="1162" y="104"/>
                  </a:lnTo>
                  <a:lnTo>
                    <a:pt x="1190" y="136"/>
                  </a:lnTo>
                  <a:lnTo>
                    <a:pt x="1210" y="173"/>
                  </a:lnTo>
                  <a:lnTo>
                    <a:pt x="1224" y="214"/>
                  </a:lnTo>
                  <a:lnTo>
                    <a:pt x="1229" y="258"/>
                  </a:lnTo>
                  <a:lnTo>
                    <a:pt x="1224" y="299"/>
                  </a:lnTo>
                  <a:lnTo>
                    <a:pt x="1213" y="338"/>
                  </a:lnTo>
                  <a:lnTo>
                    <a:pt x="1195" y="374"/>
                  </a:lnTo>
                  <a:lnTo>
                    <a:pt x="1171" y="404"/>
                  </a:lnTo>
                  <a:lnTo>
                    <a:pt x="1142" y="430"/>
                  </a:lnTo>
                  <a:lnTo>
                    <a:pt x="1108" y="452"/>
                  </a:lnTo>
                  <a:lnTo>
                    <a:pt x="1081" y="460"/>
                  </a:lnTo>
                  <a:lnTo>
                    <a:pt x="1056" y="467"/>
                  </a:lnTo>
                  <a:lnTo>
                    <a:pt x="1037" y="470"/>
                  </a:lnTo>
                  <a:lnTo>
                    <a:pt x="1022" y="472"/>
                  </a:lnTo>
                  <a:lnTo>
                    <a:pt x="1016" y="472"/>
                  </a:lnTo>
                  <a:lnTo>
                    <a:pt x="623" y="472"/>
                  </a:lnTo>
                  <a:lnTo>
                    <a:pt x="572" y="474"/>
                  </a:lnTo>
                  <a:lnTo>
                    <a:pt x="529" y="481"/>
                  </a:lnTo>
                  <a:lnTo>
                    <a:pt x="494" y="491"/>
                  </a:lnTo>
                  <a:lnTo>
                    <a:pt x="467" y="506"/>
                  </a:lnTo>
                  <a:lnTo>
                    <a:pt x="445" y="528"/>
                  </a:lnTo>
                  <a:lnTo>
                    <a:pt x="429" y="557"/>
                  </a:lnTo>
                  <a:lnTo>
                    <a:pt x="419" y="593"/>
                  </a:lnTo>
                  <a:lnTo>
                    <a:pt x="416" y="635"/>
                  </a:lnTo>
                  <a:lnTo>
                    <a:pt x="416" y="815"/>
                  </a:lnTo>
                  <a:lnTo>
                    <a:pt x="954" y="815"/>
                  </a:lnTo>
                  <a:lnTo>
                    <a:pt x="1013" y="778"/>
                  </a:lnTo>
                  <a:lnTo>
                    <a:pt x="1076" y="745"/>
                  </a:lnTo>
                  <a:lnTo>
                    <a:pt x="1142" y="722"/>
                  </a:lnTo>
                  <a:lnTo>
                    <a:pt x="1213" y="705"/>
                  </a:lnTo>
                  <a:lnTo>
                    <a:pt x="1290" y="693"/>
                  </a:lnTo>
                  <a:lnTo>
                    <a:pt x="1368" y="689"/>
                  </a:lnTo>
                  <a:lnTo>
                    <a:pt x="1444" y="693"/>
                  </a:lnTo>
                  <a:lnTo>
                    <a:pt x="1517" y="703"/>
                  </a:lnTo>
                  <a:lnTo>
                    <a:pt x="1585" y="720"/>
                  </a:lnTo>
                  <a:lnTo>
                    <a:pt x="1649" y="742"/>
                  </a:lnTo>
                  <a:lnTo>
                    <a:pt x="1711" y="772"/>
                  </a:lnTo>
                  <a:lnTo>
                    <a:pt x="1768" y="808"/>
                  </a:lnTo>
                  <a:lnTo>
                    <a:pt x="1823" y="852"/>
                  </a:lnTo>
                  <a:lnTo>
                    <a:pt x="1872" y="902"/>
                  </a:lnTo>
                  <a:lnTo>
                    <a:pt x="1918" y="959"/>
                  </a:lnTo>
                  <a:lnTo>
                    <a:pt x="1957" y="1020"/>
                  </a:lnTo>
                  <a:lnTo>
                    <a:pt x="1987" y="1087"/>
                  </a:lnTo>
                  <a:lnTo>
                    <a:pt x="2011" y="1154"/>
                  </a:lnTo>
                  <a:lnTo>
                    <a:pt x="2028" y="1226"/>
                  </a:lnTo>
                  <a:lnTo>
                    <a:pt x="2038" y="1297"/>
                  </a:lnTo>
                  <a:lnTo>
                    <a:pt x="2041" y="1370"/>
                  </a:lnTo>
                  <a:lnTo>
                    <a:pt x="2047" y="1435"/>
                  </a:lnTo>
                  <a:lnTo>
                    <a:pt x="2060" y="1496"/>
                  </a:lnTo>
                  <a:lnTo>
                    <a:pt x="2080" y="1555"/>
                  </a:lnTo>
                  <a:lnTo>
                    <a:pt x="2111" y="1609"/>
                  </a:lnTo>
                  <a:lnTo>
                    <a:pt x="2147" y="1660"/>
                  </a:lnTo>
                  <a:lnTo>
                    <a:pt x="2192" y="1710"/>
                  </a:lnTo>
                  <a:lnTo>
                    <a:pt x="2245" y="1754"/>
                  </a:lnTo>
                  <a:lnTo>
                    <a:pt x="2301" y="1789"/>
                  </a:lnTo>
                  <a:lnTo>
                    <a:pt x="2359" y="1816"/>
                  </a:lnTo>
                  <a:lnTo>
                    <a:pt x="2420" y="1837"/>
                  </a:lnTo>
                  <a:lnTo>
                    <a:pt x="2484" y="1849"/>
                  </a:lnTo>
                  <a:lnTo>
                    <a:pt x="2554" y="1852"/>
                  </a:lnTo>
                  <a:lnTo>
                    <a:pt x="2620" y="1849"/>
                  </a:lnTo>
                  <a:lnTo>
                    <a:pt x="2685" y="1837"/>
                  </a:lnTo>
                  <a:lnTo>
                    <a:pt x="2746" y="1816"/>
                  </a:lnTo>
                  <a:lnTo>
                    <a:pt x="2803" y="1789"/>
                  </a:lnTo>
                  <a:lnTo>
                    <a:pt x="2858" y="1754"/>
                  </a:lnTo>
                  <a:lnTo>
                    <a:pt x="2909" y="1711"/>
                  </a:lnTo>
                  <a:lnTo>
                    <a:pt x="2954" y="1662"/>
                  </a:lnTo>
                  <a:lnTo>
                    <a:pt x="2992" y="1609"/>
                  </a:lnTo>
                  <a:lnTo>
                    <a:pt x="3021" y="1553"/>
                  </a:lnTo>
                  <a:lnTo>
                    <a:pt x="3041" y="1494"/>
                  </a:lnTo>
                  <a:lnTo>
                    <a:pt x="3053" y="1429"/>
                  </a:lnTo>
                  <a:lnTo>
                    <a:pt x="3056" y="1363"/>
                  </a:lnTo>
                  <a:lnTo>
                    <a:pt x="3053" y="1292"/>
                  </a:lnTo>
                  <a:lnTo>
                    <a:pt x="3041" y="1226"/>
                  </a:lnTo>
                  <a:lnTo>
                    <a:pt x="3021" y="1163"/>
                  </a:lnTo>
                  <a:lnTo>
                    <a:pt x="2992" y="1102"/>
                  </a:lnTo>
                  <a:lnTo>
                    <a:pt x="2956" y="1046"/>
                  </a:lnTo>
                  <a:lnTo>
                    <a:pt x="2912" y="991"/>
                  </a:lnTo>
                  <a:lnTo>
                    <a:pt x="2861" y="944"/>
                  </a:lnTo>
                  <a:lnTo>
                    <a:pt x="2808" y="905"/>
                  </a:lnTo>
                  <a:lnTo>
                    <a:pt x="2751" y="874"/>
                  </a:lnTo>
                  <a:lnTo>
                    <a:pt x="2690" y="854"/>
                  </a:lnTo>
                  <a:lnTo>
                    <a:pt x="2625" y="840"/>
                  </a:lnTo>
                  <a:lnTo>
                    <a:pt x="2556" y="835"/>
                  </a:lnTo>
                  <a:lnTo>
                    <a:pt x="2489" y="840"/>
                  </a:lnTo>
                  <a:lnTo>
                    <a:pt x="2420" y="857"/>
                  </a:lnTo>
                  <a:lnTo>
                    <a:pt x="2350" y="883"/>
                  </a:lnTo>
                  <a:lnTo>
                    <a:pt x="2277" y="918"/>
                  </a:lnTo>
                  <a:lnTo>
                    <a:pt x="2243" y="939"/>
                  </a:lnTo>
                  <a:lnTo>
                    <a:pt x="2203" y="968"/>
                  </a:lnTo>
                  <a:lnTo>
                    <a:pt x="2157" y="1003"/>
                  </a:lnTo>
                  <a:lnTo>
                    <a:pt x="2157" y="212"/>
                  </a:lnTo>
                  <a:lnTo>
                    <a:pt x="2153" y="192"/>
                  </a:lnTo>
                  <a:lnTo>
                    <a:pt x="2147" y="177"/>
                  </a:lnTo>
                  <a:lnTo>
                    <a:pt x="2136" y="165"/>
                  </a:lnTo>
                  <a:lnTo>
                    <a:pt x="2121" y="156"/>
                  </a:lnTo>
                  <a:lnTo>
                    <a:pt x="2106" y="153"/>
                  </a:lnTo>
                  <a:lnTo>
                    <a:pt x="2087" y="151"/>
                  </a:lnTo>
                  <a:lnTo>
                    <a:pt x="2065" y="155"/>
                  </a:lnTo>
                  <a:lnTo>
                    <a:pt x="2047" y="163"/>
                  </a:lnTo>
                  <a:lnTo>
                    <a:pt x="2031" y="178"/>
                  </a:lnTo>
                  <a:lnTo>
                    <a:pt x="2021" y="195"/>
                  </a:lnTo>
                  <a:lnTo>
                    <a:pt x="2018" y="212"/>
                  </a:lnTo>
                  <a:lnTo>
                    <a:pt x="2016" y="216"/>
                  </a:lnTo>
                  <a:lnTo>
                    <a:pt x="2016" y="915"/>
                  </a:lnTo>
                  <a:lnTo>
                    <a:pt x="1991" y="874"/>
                  </a:lnTo>
                  <a:lnTo>
                    <a:pt x="1960" y="837"/>
                  </a:lnTo>
                  <a:lnTo>
                    <a:pt x="1928" y="801"/>
                  </a:lnTo>
                  <a:lnTo>
                    <a:pt x="1896" y="769"/>
                  </a:lnTo>
                  <a:lnTo>
                    <a:pt x="1867" y="744"/>
                  </a:lnTo>
                  <a:lnTo>
                    <a:pt x="1867" y="216"/>
                  </a:lnTo>
                  <a:lnTo>
                    <a:pt x="1867" y="212"/>
                  </a:lnTo>
                  <a:lnTo>
                    <a:pt x="1867" y="212"/>
                  </a:lnTo>
                  <a:lnTo>
                    <a:pt x="1870" y="168"/>
                  </a:lnTo>
                  <a:lnTo>
                    <a:pt x="1884" y="129"/>
                  </a:lnTo>
                  <a:lnTo>
                    <a:pt x="1906" y="93"/>
                  </a:lnTo>
                  <a:lnTo>
                    <a:pt x="1933" y="61"/>
                  </a:lnTo>
                  <a:lnTo>
                    <a:pt x="1967" y="36"/>
                  </a:lnTo>
                  <a:lnTo>
                    <a:pt x="2004" y="15"/>
                  </a:lnTo>
                  <a:lnTo>
                    <a:pt x="2045" y="3"/>
                  </a:lnTo>
                  <a:lnTo>
                    <a:pt x="20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6" name="Freeform 12"/>
            <p:cNvSpPr>
              <a:spLocks noEditPoints="1"/>
            </p:cNvSpPr>
            <p:nvPr/>
          </p:nvSpPr>
          <p:spPr bwMode="auto">
            <a:xfrm>
              <a:off x="5354" y="1162"/>
              <a:ext cx="860" cy="761"/>
            </a:xfrm>
            <a:custGeom>
              <a:avLst/>
              <a:gdLst>
                <a:gd name="T0" fmla="*/ 344 w 860"/>
                <a:gd name="T1" fmla="*/ 151 h 761"/>
                <a:gd name="T2" fmla="*/ 264 w 860"/>
                <a:gd name="T3" fmla="*/ 185 h 761"/>
                <a:gd name="T4" fmla="*/ 205 w 860"/>
                <a:gd name="T5" fmla="*/ 245 h 761"/>
                <a:gd name="T6" fmla="*/ 169 w 860"/>
                <a:gd name="T7" fmla="*/ 324 h 761"/>
                <a:gd name="T8" fmla="*/ 593 w 860"/>
                <a:gd name="T9" fmla="*/ 282 h 761"/>
                <a:gd name="T10" fmla="*/ 544 w 860"/>
                <a:gd name="T11" fmla="*/ 211 h 761"/>
                <a:gd name="T12" fmla="*/ 475 w 860"/>
                <a:gd name="T13" fmla="*/ 165 h 761"/>
                <a:gd name="T14" fmla="*/ 388 w 860"/>
                <a:gd name="T15" fmla="*/ 146 h 761"/>
                <a:gd name="T16" fmla="*/ 449 w 860"/>
                <a:gd name="T17" fmla="*/ 3 h 761"/>
                <a:gd name="T18" fmla="*/ 548 w 860"/>
                <a:gd name="T19" fmla="*/ 29 h 761"/>
                <a:gd name="T20" fmla="*/ 631 w 860"/>
                <a:gd name="T21" fmla="*/ 82 h 761"/>
                <a:gd name="T22" fmla="*/ 697 w 860"/>
                <a:gd name="T23" fmla="*/ 161 h 761"/>
                <a:gd name="T24" fmla="*/ 755 w 860"/>
                <a:gd name="T25" fmla="*/ 280 h 761"/>
                <a:gd name="T26" fmla="*/ 773 w 860"/>
                <a:gd name="T27" fmla="*/ 399 h 761"/>
                <a:gd name="T28" fmla="*/ 760 w 860"/>
                <a:gd name="T29" fmla="*/ 452 h 761"/>
                <a:gd name="T30" fmla="*/ 722 w 860"/>
                <a:gd name="T31" fmla="*/ 477 h 761"/>
                <a:gd name="T32" fmla="*/ 195 w 860"/>
                <a:gd name="T33" fmla="*/ 481 h 761"/>
                <a:gd name="T34" fmla="*/ 247 w 860"/>
                <a:gd name="T35" fmla="*/ 543 h 761"/>
                <a:gd name="T36" fmla="*/ 319 w 860"/>
                <a:gd name="T37" fmla="*/ 586 h 761"/>
                <a:gd name="T38" fmla="*/ 405 w 860"/>
                <a:gd name="T39" fmla="*/ 599 h 761"/>
                <a:gd name="T40" fmla="*/ 814 w 860"/>
                <a:gd name="T41" fmla="*/ 655 h 761"/>
                <a:gd name="T42" fmla="*/ 860 w 860"/>
                <a:gd name="T43" fmla="*/ 761 h 761"/>
                <a:gd name="T44" fmla="*/ 341 w 860"/>
                <a:gd name="T45" fmla="*/ 757 h 761"/>
                <a:gd name="T46" fmla="*/ 222 w 860"/>
                <a:gd name="T47" fmla="*/ 720 h 761"/>
                <a:gd name="T48" fmla="*/ 118 w 860"/>
                <a:gd name="T49" fmla="*/ 645 h 761"/>
                <a:gd name="T50" fmla="*/ 52 w 860"/>
                <a:gd name="T51" fmla="*/ 562 h 761"/>
                <a:gd name="T52" fmla="*/ 13 w 860"/>
                <a:gd name="T53" fmla="*/ 467 h 761"/>
                <a:gd name="T54" fmla="*/ 0 w 860"/>
                <a:gd name="T55" fmla="*/ 357 h 761"/>
                <a:gd name="T56" fmla="*/ 13 w 860"/>
                <a:gd name="T57" fmla="*/ 258 h 761"/>
                <a:gd name="T58" fmla="*/ 52 w 860"/>
                <a:gd name="T59" fmla="*/ 172 h 761"/>
                <a:gd name="T60" fmla="*/ 117 w 860"/>
                <a:gd name="T61" fmla="*/ 99 h 761"/>
                <a:gd name="T62" fmla="*/ 218 w 860"/>
                <a:gd name="T63" fmla="*/ 36 h 761"/>
                <a:gd name="T64" fmla="*/ 332 w 860"/>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0" h="761">
                  <a:moveTo>
                    <a:pt x="388" y="146"/>
                  </a:moveTo>
                  <a:lnTo>
                    <a:pt x="344" y="151"/>
                  </a:lnTo>
                  <a:lnTo>
                    <a:pt x="303" y="165"/>
                  </a:lnTo>
                  <a:lnTo>
                    <a:pt x="264" y="185"/>
                  </a:lnTo>
                  <a:lnTo>
                    <a:pt x="232" y="211"/>
                  </a:lnTo>
                  <a:lnTo>
                    <a:pt x="205" y="245"/>
                  </a:lnTo>
                  <a:lnTo>
                    <a:pt x="183" y="282"/>
                  </a:lnTo>
                  <a:lnTo>
                    <a:pt x="169" y="324"/>
                  </a:lnTo>
                  <a:lnTo>
                    <a:pt x="609" y="324"/>
                  </a:lnTo>
                  <a:lnTo>
                    <a:pt x="593" y="282"/>
                  </a:lnTo>
                  <a:lnTo>
                    <a:pt x="571" y="245"/>
                  </a:lnTo>
                  <a:lnTo>
                    <a:pt x="544" y="211"/>
                  </a:lnTo>
                  <a:lnTo>
                    <a:pt x="512" y="185"/>
                  </a:lnTo>
                  <a:lnTo>
                    <a:pt x="475" y="165"/>
                  </a:lnTo>
                  <a:lnTo>
                    <a:pt x="432" y="151"/>
                  </a:lnTo>
                  <a:lnTo>
                    <a:pt x="388" y="146"/>
                  </a:lnTo>
                  <a:close/>
                  <a:moveTo>
                    <a:pt x="393" y="0"/>
                  </a:moveTo>
                  <a:lnTo>
                    <a:pt x="449" y="3"/>
                  </a:lnTo>
                  <a:lnTo>
                    <a:pt x="500" y="14"/>
                  </a:lnTo>
                  <a:lnTo>
                    <a:pt x="548" y="29"/>
                  </a:lnTo>
                  <a:lnTo>
                    <a:pt x="590" y="53"/>
                  </a:lnTo>
                  <a:lnTo>
                    <a:pt x="631" y="82"/>
                  </a:lnTo>
                  <a:lnTo>
                    <a:pt x="666" y="119"/>
                  </a:lnTo>
                  <a:lnTo>
                    <a:pt x="697" y="161"/>
                  </a:lnTo>
                  <a:lnTo>
                    <a:pt x="731" y="221"/>
                  </a:lnTo>
                  <a:lnTo>
                    <a:pt x="755" y="280"/>
                  </a:lnTo>
                  <a:lnTo>
                    <a:pt x="768" y="340"/>
                  </a:lnTo>
                  <a:lnTo>
                    <a:pt x="773" y="399"/>
                  </a:lnTo>
                  <a:lnTo>
                    <a:pt x="770" y="428"/>
                  </a:lnTo>
                  <a:lnTo>
                    <a:pt x="760" y="452"/>
                  </a:lnTo>
                  <a:lnTo>
                    <a:pt x="745" y="467"/>
                  </a:lnTo>
                  <a:lnTo>
                    <a:pt x="722" y="477"/>
                  </a:lnTo>
                  <a:lnTo>
                    <a:pt x="695" y="481"/>
                  </a:lnTo>
                  <a:lnTo>
                    <a:pt x="195" y="481"/>
                  </a:lnTo>
                  <a:lnTo>
                    <a:pt x="218" y="514"/>
                  </a:lnTo>
                  <a:lnTo>
                    <a:pt x="247" y="543"/>
                  </a:lnTo>
                  <a:lnTo>
                    <a:pt x="281" y="567"/>
                  </a:lnTo>
                  <a:lnTo>
                    <a:pt x="319" y="586"/>
                  </a:lnTo>
                  <a:lnTo>
                    <a:pt x="361" y="596"/>
                  </a:lnTo>
                  <a:lnTo>
                    <a:pt x="405" y="599"/>
                  </a:lnTo>
                  <a:lnTo>
                    <a:pt x="799" y="599"/>
                  </a:lnTo>
                  <a:lnTo>
                    <a:pt x="814" y="655"/>
                  </a:lnTo>
                  <a:lnTo>
                    <a:pt x="834" y="710"/>
                  </a:lnTo>
                  <a:lnTo>
                    <a:pt x="860" y="761"/>
                  </a:lnTo>
                  <a:lnTo>
                    <a:pt x="405" y="761"/>
                  </a:lnTo>
                  <a:lnTo>
                    <a:pt x="341" y="757"/>
                  </a:lnTo>
                  <a:lnTo>
                    <a:pt x="280" y="744"/>
                  </a:lnTo>
                  <a:lnTo>
                    <a:pt x="222" y="720"/>
                  </a:lnTo>
                  <a:lnTo>
                    <a:pt x="168" y="688"/>
                  </a:lnTo>
                  <a:lnTo>
                    <a:pt x="118" y="645"/>
                  </a:lnTo>
                  <a:lnTo>
                    <a:pt x="83" y="606"/>
                  </a:lnTo>
                  <a:lnTo>
                    <a:pt x="52" y="562"/>
                  </a:lnTo>
                  <a:lnTo>
                    <a:pt x="30" y="516"/>
                  </a:lnTo>
                  <a:lnTo>
                    <a:pt x="13" y="467"/>
                  </a:lnTo>
                  <a:lnTo>
                    <a:pt x="3" y="414"/>
                  </a:lnTo>
                  <a:lnTo>
                    <a:pt x="0" y="357"/>
                  </a:lnTo>
                  <a:lnTo>
                    <a:pt x="3" y="306"/>
                  </a:lnTo>
                  <a:lnTo>
                    <a:pt x="13" y="258"/>
                  </a:lnTo>
                  <a:lnTo>
                    <a:pt x="30" y="214"/>
                  </a:lnTo>
                  <a:lnTo>
                    <a:pt x="52" y="172"/>
                  </a:lnTo>
                  <a:lnTo>
                    <a:pt x="81" y="134"/>
                  </a:lnTo>
                  <a:lnTo>
                    <a:pt x="117" y="99"/>
                  </a:lnTo>
                  <a:lnTo>
                    <a:pt x="166" y="63"/>
                  </a:lnTo>
                  <a:lnTo>
                    <a:pt x="218" y="36"/>
                  </a:lnTo>
                  <a:lnTo>
                    <a:pt x="273" y="15"/>
                  </a:lnTo>
                  <a:lnTo>
                    <a:pt x="332" y="3"/>
                  </a:lnTo>
                  <a:lnTo>
                    <a:pt x="3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7" name="Freeform 13"/>
            <p:cNvSpPr>
              <a:spLocks/>
            </p:cNvSpPr>
            <p:nvPr/>
          </p:nvSpPr>
          <p:spPr bwMode="auto">
            <a:xfrm>
              <a:off x="8809" y="880"/>
              <a:ext cx="1154" cy="2034"/>
            </a:xfrm>
            <a:custGeom>
              <a:avLst/>
              <a:gdLst>
                <a:gd name="T0" fmla="*/ 571 w 1154"/>
                <a:gd name="T1" fmla="*/ 5 h 2034"/>
                <a:gd name="T2" fmla="*/ 716 w 1154"/>
                <a:gd name="T3" fmla="*/ 36 h 2034"/>
                <a:gd name="T4" fmla="*/ 846 w 1154"/>
                <a:gd name="T5" fmla="*/ 97 h 2034"/>
                <a:gd name="T6" fmla="*/ 963 w 1154"/>
                <a:gd name="T7" fmla="*/ 189 h 2034"/>
                <a:gd name="T8" fmla="*/ 1057 w 1154"/>
                <a:gd name="T9" fmla="*/ 304 h 2034"/>
                <a:gd name="T10" fmla="*/ 1120 w 1154"/>
                <a:gd name="T11" fmla="*/ 433 h 2034"/>
                <a:gd name="T12" fmla="*/ 1150 w 1154"/>
                <a:gd name="T13" fmla="*/ 577 h 2034"/>
                <a:gd name="T14" fmla="*/ 1154 w 1154"/>
                <a:gd name="T15" fmla="*/ 1431 h 2034"/>
                <a:gd name="T16" fmla="*/ 1138 w 1154"/>
                <a:gd name="T17" fmla="*/ 1576 h 2034"/>
                <a:gd name="T18" fmla="*/ 1091 w 1154"/>
                <a:gd name="T19" fmla="*/ 1705 h 2034"/>
                <a:gd name="T20" fmla="*/ 1011 w 1154"/>
                <a:gd name="T21" fmla="*/ 1820 h 2034"/>
                <a:gd name="T22" fmla="*/ 897 w 1154"/>
                <a:gd name="T23" fmla="*/ 1920 h 2034"/>
                <a:gd name="T24" fmla="*/ 762 w 1154"/>
                <a:gd name="T25" fmla="*/ 1993 h 2034"/>
                <a:gd name="T26" fmla="*/ 610 w 1154"/>
                <a:gd name="T27" fmla="*/ 2029 h 2034"/>
                <a:gd name="T28" fmla="*/ 463 w 1154"/>
                <a:gd name="T29" fmla="*/ 2031 h 2034"/>
                <a:gd name="T30" fmla="*/ 339 w 1154"/>
                <a:gd name="T31" fmla="*/ 2010 h 2034"/>
                <a:gd name="T32" fmla="*/ 246 w 1154"/>
                <a:gd name="T33" fmla="*/ 1976 h 2034"/>
                <a:gd name="T34" fmla="*/ 193 w 1154"/>
                <a:gd name="T35" fmla="*/ 1941 h 2034"/>
                <a:gd name="T36" fmla="*/ 191 w 1154"/>
                <a:gd name="T37" fmla="*/ 1939 h 2034"/>
                <a:gd name="T38" fmla="*/ 186 w 1154"/>
                <a:gd name="T39" fmla="*/ 1932 h 2034"/>
                <a:gd name="T40" fmla="*/ 173 w 1154"/>
                <a:gd name="T41" fmla="*/ 1908 h 2034"/>
                <a:gd name="T42" fmla="*/ 171 w 1154"/>
                <a:gd name="T43" fmla="*/ 1883 h 2034"/>
                <a:gd name="T44" fmla="*/ 173 w 1154"/>
                <a:gd name="T45" fmla="*/ 1868 h 2034"/>
                <a:gd name="T46" fmla="*/ 186 w 1154"/>
                <a:gd name="T47" fmla="*/ 1842 h 2034"/>
                <a:gd name="T48" fmla="*/ 222 w 1154"/>
                <a:gd name="T49" fmla="*/ 1820 h 2034"/>
                <a:gd name="T50" fmla="*/ 273 w 1154"/>
                <a:gd name="T51" fmla="*/ 1825 h 2034"/>
                <a:gd name="T52" fmla="*/ 273 w 1154"/>
                <a:gd name="T53" fmla="*/ 1825 h 2034"/>
                <a:gd name="T54" fmla="*/ 288 w 1154"/>
                <a:gd name="T55" fmla="*/ 1830 h 2034"/>
                <a:gd name="T56" fmla="*/ 307 w 1154"/>
                <a:gd name="T57" fmla="*/ 1840 h 2034"/>
                <a:gd name="T58" fmla="*/ 398 w 1154"/>
                <a:gd name="T59" fmla="*/ 1874 h 2034"/>
                <a:gd name="T60" fmla="*/ 405 w 1154"/>
                <a:gd name="T61" fmla="*/ 1876 h 2034"/>
                <a:gd name="T62" fmla="*/ 427 w 1154"/>
                <a:gd name="T63" fmla="*/ 1881 h 2034"/>
                <a:gd name="T64" fmla="*/ 521 w 1154"/>
                <a:gd name="T65" fmla="*/ 1886 h 2034"/>
                <a:gd name="T66" fmla="*/ 646 w 1154"/>
                <a:gd name="T67" fmla="*/ 1871 h 2034"/>
                <a:gd name="T68" fmla="*/ 760 w 1154"/>
                <a:gd name="T69" fmla="*/ 1827 h 2034"/>
                <a:gd name="T70" fmla="*/ 860 w 1154"/>
                <a:gd name="T71" fmla="*/ 1754 h 2034"/>
                <a:gd name="T72" fmla="*/ 940 w 1154"/>
                <a:gd name="T73" fmla="*/ 1661 h 2034"/>
                <a:gd name="T74" fmla="*/ 987 w 1154"/>
                <a:gd name="T75" fmla="*/ 1552 h 2034"/>
                <a:gd name="T76" fmla="*/ 1004 w 1154"/>
                <a:gd name="T77" fmla="*/ 1431 h 2034"/>
                <a:gd name="T78" fmla="*/ 999 w 1154"/>
                <a:gd name="T79" fmla="*/ 594 h 2034"/>
                <a:gd name="T80" fmla="*/ 965 w 1154"/>
                <a:gd name="T81" fmla="*/ 467 h 2034"/>
                <a:gd name="T82" fmla="*/ 899 w 1154"/>
                <a:gd name="T83" fmla="*/ 355 h 2034"/>
                <a:gd name="T84" fmla="*/ 799 w 1154"/>
                <a:gd name="T85" fmla="*/ 262 h 2034"/>
                <a:gd name="T86" fmla="*/ 685 w 1154"/>
                <a:gd name="T87" fmla="*/ 199 h 2034"/>
                <a:gd name="T88" fmla="*/ 560 w 1154"/>
                <a:gd name="T89" fmla="*/ 167 h 2034"/>
                <a:gd name="T90" fmla="*/ 424 w 1154"/>
                <a:gd name="T91" fmla="*/ 167 h 2034"/>
                <a:gd name="T92" fmla="*/ 298 w 1154"/>
                <a:gd name="T93" fmla="*/ 199 h 2034"/>
                <a:gd name="T94" fmla="*/ 185 w 1154"/>
                <a:gd name="T95" fmla="*/ 265 h 2034"/>
                <a:gd name="T96" fmla="*/ 108 w 1154"/>
                <a:gd name="T97" fmla="*/ 338 h 2034"/>
                <a:gd name="T98" fmla="*/ 45 w 1154"/>
                <a:gd name="T99" fmla="*/ 297 h 2034"/>
                <a:gd name="T100" fmla="*/ 6 w 1154"/>
                <a:gd name="T101" fmla="*/ 214 h 2034"/>
                <a:gd name="T102" fmla="*/ 17 w 1154"/>
                <a:gd name="T103" fmla="*/ 202 h 2034"/>
                <a:gd name="T104" fmla="*/ 22 w 1154"/>
                <a:gd name="T105" fmla="*/ 196 h 2034"/>
                <a:gd name="T106" fmla="*/ 28 w 1154"/>
                <a:gd name="T107" fmla="*/ 189 h 2034"/>
                <a:gd name="T108" fmla="*/ 146 w 1154"/>
                <a:gd name="T109" fmla="*/ 97 h 2034"/>
                <a:gd name="T110" fmla="*/ 276 w 1154"/>
                <a:gd name="T111" fmla="*/ 36 h 2034"/>
                <a:gd name="T112" fmla="*/ 419 w 1154"/>
                <a:gd name="T113" fmla="*/ 5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4" h="2034">
                  <a:moveTo>
                    <a:pt x="495" y="0"/>
                  </a:moveTo>
                  <a:lnTo>
                    <a:pt x="571" y="5"/>
                  </a:lnTo>
                  <a:lnTo>
                    <a:pt x="646" y="16"/>
                  </a:lnTo>
                  <a:lnTo>
                    <a:pt x="716" y="36"/>
                  </a:lnTo>
                  <a:lnTo>
                    <a:pt x="784" y="63"/>
                  </a:lnTo>
                  <a:lnTo>
                    <a:pt x="846" y="97"/>
                  </a:lnTo>
                  <a:lnTo>
                    <a:pt x="907" y="140"/>
                  </a:lnTo>
                  <a:lnTo>
                    <a:pt x="963" y="189"/>
                  </a:lnTo>
                  <a:lnTo>
                    <a:pt x="1014" y="245"/>
                  </a:lnTo>
                  <a:lnTo>
                    <a:pt x="1057" y="304"/>
                  </a:lnTo>
                  <a:lnTo>
                    <a:pt x="1092" y="367"/>
                  </a:lnTo>
                  <a:lnTo>
                    <a:pt x="1120" y="433"/>
                  </a:lnTo>
                  <a:lnTo>
                    <a:pt x="1138" y="504"/>
                  </a:lnTo>
                  <a:lnTo>
                    <a:pt x="1150" y="577"/>
                  </a:lnTo>
                  <a:lnTo>
                    <a:pt x="1154" y="656"/>
                  </a:lnTo>
                  <a:lnTo>
                    <a:pt x="1154" y="1431"/>
                  </a:lnTo>
                  <a:lnTo>
                    <a:pt x="1150" y="1506"/>
                  </a:lnTo>
                  <a:lnTo>
                    <a:pt x="1138" y="1576"/>
                  </a:lnTo>
                  <a:lnTo>
                    <a:pt x="1118" y="1642"/>
                  </a:lnTo>
                  <a:lnTo>
                    <a:pt x="1091" y="1705"/>
                  </a:lnTo>
                  <a:lnTo>
                    <a:pt x="1055" y="1764"/>
                  </a:lnTo>
                  <a:lnTo>
                    <a:pt x="1011" y="1820"/>
                  </a:lnTo>
                  <a:lnTo>
                    <a:pt x="960" y="1871"/>
                  </a:lnTo>
                  <a:lnTo>
                    <a:pt x="897" y="1920"/>
                  </a:lnTo>
                  <a:lnTo>
                    <a:pt x="831" y="1961"/>
                  </a:lnTo>
                  <a:lnTo>
                    <a:pt x="762" y="1993"/>
                  </a:lnTo>
                  <a:lnTo>
                    <a:pt x="687" y="2015"/>
                  </a:lnTo>
                  <a:lnTo>
                    <a:pt x="610" y="2029"/>
                  </a:lnTo>
                  <a:lnTo>
                    <a:pt x="529" y="2034"/>
                  </a:lnTo>
                  <a:lnTo>
                    <a:pt x="463" y="2031"/>
                  </a:lnTo>
                  <a:lnTo>
                    <a:pt x="398" y="2024"/>
                  </a:lnTo>
                  <a:lnTo>
                    <a:pt x="339" y="2010"/>
                  </a:lnTo>
                  <a:lnTo>
                    <a:pt x="281" y="1992"/>
                  </a:lnTo>
                  <a:lnTo>
                    <a:pt x="246" y="1976"/>
                  </a:lnTo>
                  <a:lnTo>
                    <a:pt x="215" y="1959"/>
                  </a:lnTo>
                  <a:lnTo>
                    <a:pt x="193" y="1941"/>
                  </a:lnTo>
                  <a:lnTo>
                    <a:pt x="191" y="1939"/>
                  </a:lnTo>
                  <a:lnTo>
                    <a:pt x="191" y="1939"/>
                  </a:lnTo>
                  <a:lnTo>
                    <a:pt x="186" y="1932"/>
                  </a:lnTo>
                  <a:lnTo>
                    <a:pt x="186" y="1932"/>
                  </a:lnTo>
                  <a:lnTo>
                    <a:pt x="183" y="1927"/>
                  </a:lnTo>
                  <a:lnTo>
                    <a:pt x="173" y="1908"/>
                  </a:lnTo>
                  <a:lnTo>
                    <a:pt x="169" y="1888"/>
                  </a:lnTo>
                  <a:lnTo>
                    <a:pt x="171" y="1883"/>
                  </a:lnTo>
                  <a:lnTo>
                    <a:pt x="171" y="1876"/>
                  </a:lnTo>
                  <a:lnTo>
                    <a:pt x="173" y="1868"/>
                  </a:lnTo>
                  <a:lnTo>
                    <a:pt x="176" y="1861"/>
                  </a:lnTo>
                  <a:lnTo>
                    <a:pt x="186" y="1842"/>
                  </a:lnTo>
                  <a:lnTo>
                    <a:pt x="202" y="1829"/>
                  </a:lnTo>
                  <a:lnTo>
                    <a:pt x="222" y="1820"/>
                  </a:lnTo>
                  <a:lnTo>
                    <a:pt x="244" y="1818"/>
                  </a:lnTo>
                  <a:lnTo>
                    <a:pt x="273" y="1825"/>
                  </a:lnTo>
                  <a:lnTo>
                    <a:pt x="273" y="1825"/>
                  </a:lnTo>
                  <a:lnTo>
                    <a:pt x="273" y="1825"/>
                  </a:lnTo>
                  <a:lnTo>
                    <a:pt x="274" y="1825"/>
                  </a:lnTo>
                  <a:lnTo>
                    <a:pt x="288" y="1830"/>
                  </a:lnTo>
                  <a:lnTo>
                    <a:pt x="303" y="1839"/>
                  </a:lnTo>
                  <a:lnTo>
                    <a:pt x="307" y="1840"/>
                  </a:lnTo>
                  <a:lnTo>
                    <a:pt x="353" y="1863"/>
                  </a:lnTo>
                  <a:lnTo>
                    <a:pt x="398" y="1874"/>
                  </a:lnTo>
                  <a:lnTo>
                    <a:pt x="400" y="1876"/>
                  </a:lnTo>
                  <a:lnTo>
                    <a:pt x="405" y="1876"/>
                  </a:lnTo>
                  <a:lnTo>
                    <a:pt x="417" y="1880"/>
                  </a:lnTo>
                  <a:lnTo>
                    <a:pt x="427" y="1881"/>
                  </a:lnTo>
                  <a:lnTo>
                    <a:pt x="471" y="1885"/>
                  </a:lnTo>
                  <a:lnTo>
                    <a:pt x="521" y="1886"/>
                  </a:lnTo>
                  <a:lnTo>
                    <a:pt x="585" y="1883"/>
                  </a:lnTo>
                  <a:lnTo>
                    <a:pt x="646" y="1871"/>
                  </a:lnTo>
                  <a:lnTo>
                    <a:pt x="704" y="1852"/>
                  </a:lnTo>
                  <a:lnTo>
                    <a:pt x="760" y="1827"/>
                  </a:lnTo>
                  <a:lnTo>
                    <a:pt x="811" y="1795"/>
                  </a:lnTo>
                  <a:lnTo>
                    <a:pt x="860" y="1754"/>
                  </a:lnTo>
                  <a:lnTo>
                    <a:pt x="904" y="1708"/>
                  </a:lnTo>
                  <a:lnTo>
                    <a:pt x="940" y="1661"/>
                  </a:lnTo>
                  <a:lnTo>
                    <a:pt x="969" y="1608"/>
                  </a:lnTo>
                  <a:lnTo>
                    <a:pt x="987" y="1552"/>
                  </a:lnTo>
                  <a:lnTo>
                    <a:pt x="999" y="1494"/>
                  </a:lnTo>
                  <a:lnTo>
                    <a:pt x="1004" y="1431"/>
                  </a:lnTo>
                  <a:lnTo>
                    <a:pt x="1004" y="662"/>
                  </a:lnTo>
                  <a:lnTo>
                    <a:pt x="999" y="594"/>
                  </a:lnTo>
                  <a:lnTo>
                    <a:pt x="987" y="528"/>
                  </a:lnTo>
                  <a:lnTo>
                    <a:pt x="965" y="467"/>
                  </a:lnTo>
                  <a:lnTo>
                    <a:pt x="936" y="409"/>
                  </a:lnTo>
                  <a:lnTo>
                    <a:pt x="899" y="355"/>
                  </a:lnTo>
                  <a:lnTo>
                    <a:pt x="851" y="306"/>
                  </a:lnTo>
                  <a:lnTo>
                    <a:pt x="799" y="262"/>
                  </a:lnTo>
                  <a:lnTo>
                    <a:pt x="745" y="226"/>
                  </a:lnTo>
                  <a:lnTo>
                    <a:pt x="685" y="199"/>
                  </a:lnTo>
                  <a:lnTo>
                    <a:pt x="624" y="179"/>
                  </a:lnTo>
                  <a:lnTo>
                    <a:pt x="560" y="167"/>
                  </a:lnTo>
                  <a:lnTo>
                    <a:pt x="492" y="163"/>
                  </a:lnTo>
                  <a:lnTo>
                    <a:pt x="424" y="167"/>
                  </a:lnTo>
                  <a:lnTo>
                    <a:pt x="359" y="179"/>
                  </a:lnTo>
                  <a:lnTo>
                    <a:pt x="298" y="199"/>
                  </a:lnTo>
                  <a:lnTo>
                    <a:pt x="241" y="228"/>
                  </a:lnTo>
                  <a:lnTo>
                    <a:pt x="185" y="265"/>
                  </a:lnTo>
                  <a:lnTo>
                    <a:pt x="134" y="309"/>
                  </a:lnTo>
                  <a:lnTo>
                    <a:pt x="108" y="338"/>
                  </a:lnTo>
                  <a:lnTo>
                    <a:pt x="83" y="377"/>
                  </a:lnTo>
                  <a:lnTo>
                    <a:pt x="45" y="297"/>
                  </a:lnTo>
                  <a:lnTo>
                    <a:pt x="0" y="221"/>
                  </a:lnTo>
                  <a:lnTo>
                    <a:pt x="6" y="214"/>
                  </a:lnTo>
                  <a:lnTo>
                    <a:pt x="11" y="207"/>
                  </a:lnTo>
                  <a:lnTo>
                    <a:pt x="17" y="202"/>
                  </a:lnTo>
                  <a:lnTo>
                    <a:pt x="20" y="199"/>
                  </a:lnTo>
                  <a:lnTo>
                    <a:pt x="22" y="196"/>
                  </a:lnTo>
                  <a:lnTo>
                    <a:pt x="22" y="196"/>
                  </a:lnTo>
                  <a:lnTo>
                    <a:pt x="28" y="189"/>
                  </a:lnTo>
                  <a:lnTo>
                    <a:pt x="84" y="140"/>
                  </a:lnTo>
                  <a:lnTo>
                    <a:pt x="146" y="97"/>
                  </a:lnTo>
                  <a:lnTo>
                    <a:pt x="208" y="63"/>
                  </a:lnTo>
                  <a:lnTo>
                    <a:pt x="276" y="36"/>
                  </a:lnTo>
                  <a:lnTo>
                    <a:pt x="346" y="16"/>
                  </a:lnTo>
                  <a:lnTo>
                    <a:pt x="419" y="5"/>
                  </a:lnTo>
                  <a:lnTo>
                    <a:pt x="4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8" name="Freeform 14"/>
            <p:cNvSpPr>
              <a:spLocks noEditPoints="1"/>
            </p:cNvSpPr>
            <p:nvPr/>
          </p:nvSpPr>
          <p:spPr bwMode="auto">
            <a:xfrm>
              <a:off x="7736" y="1162"/>
              <a:ext cx="866" cy="761"/>
            </a:xfrm>
            <a:custGeom>
              <a:avLst/>
              <a:gdLst>
                <a:gd name="T0" fmla="*/ 346 w 866"/>
                <a:gd name="T1" fmla="*/ 151 h 761"/>
                <a:gd name="T2" fmla="*/ 268 w 866"/>
                <a:gd name="T3" fmla="*/ 185 h 761"/>
                <a:gd name="T4" fmla="*/ 207 w 866"/>
                <a:gd name="T5" fmla="*/ 245 h 761"/>
                <a:gd name="T6" fmla="*/ 171 w 866"/>
                <a:gd name="T7" fmla="*/ 324 h 761"/>
                <a:gd name="T8" fmla="*/ 597 w 866"/>
                <a:gd name="T9" fmla="*/ 282 h 761"/>
                <a:gd name="T10" fmla="*/ 548 w 866"/>
                <a:gd name="T11" fmla="*/ 211 h 761"/>
                <a:gd name="T12" fmla="*/ 477 w 866"/>
                <a:gd name="T13" fmla="*/ 165 h 761"/>
                <a:gd name="T14" fmla="*/ 392 w 866"/>
                <a:gd name="T15" fmla="*/ 146 h 761"/>
                <a:gd name="T16" fmla="*/ 448 w 866"/>
                <a:gd name="T17" fmla="*/ 3 h 761"/>
                <a:gd name="T18" fmla="*/ 547 w 866"/>
                <a:gd name="T19" fmla="*/ 29 h 761"/>
                <a:gd name="T20" fmla="*/ 630 w 866"/>
                <a:gd name="T21" fmla="*/ 82 h 761"/>
                <a:gd name="T22" fmla="*/ 698 w 866"/>
                <a:gd name="T23" fmla="*/ 161 h 761"/>
                <a:gd name="T24" fmla="*/ 754 w 866"/>
                <a:gd name="T25" fmla="*/ 280 h 761"/>
                <a:gd name="T26" fmla="*/ 772 w 866"/>
                <a:gd name="T27" fmla="*/ 399 h 761"/>
                <a:gd name="T28" fmla="*/ 760 w 866"/>
                <a:gd name="T29" fmla="*/ 452 h 761"/>
                <a:gd name="T30" fmla="*/ 723 w 866"/>
                <a:gd name="T31" fmla="*/ 477 h 761"/>
                <a:gd name="T32" fmla="*/ 194 w 866"/>
                <a:gd name="T33" fmla="*/ 481 h 761"/>
                <a:gd name="T34" fmla="*/ 246 w 866"/>
                <a:gd name="T35" fmla="*/ 543 h 761"/>
                <a:gd name="T36" fmla="*/ 319 w 866"/>
                <a:gd name="T37" fmla="*/ 586 h 761"/>
                <a:gd name="T38" fmla="*/ 404 w 866"/>
                <a:gd name="T39" fmla="*/ 599 h 761"/>
                <a:gd name="T40" fmla="*/ 821 w 866"/>
                <a:gd name="T41" fmla="*/ 655 h 761"/>
                <a:gd name="T42" fmla="*/ 866 w 866"/>
                <a:gd name="T43" fmla="*/ 761 h 761"/>
                <a:gd name="T44" fmla="*/ 339 w 866"/>
                <a:gd name="T45" fmla="*/ 757 h 761"/>
                <a:gd name="T46" fmla="*/ 221 w 866"/>
                <a:gd name="T47" fmla="*/ 720 h 761"/>
                <a:gd name="T48" fmla="*/ 119 w 866"/>
                <a:gd name="T49" fmla="*/ 645 h 761"/>
                <a:gd name="T50" fmla="*/ 53 w 866"/>
                <a:gd name="T51" fmla="*/ 562 h 761"/>
                <a:gd name="T52" fmla="*/ 12 w 866"/>
                <a:gd name="T53" fmla="*/ 467 h 761"/>
                <a:gd name="T54" fmla="*/ 0 w 866"/>
                <a:gd name="T55" fmla="*/ 357 h 761"/>
                <a:gd name="T56" fmla="*/ 12 w 866"/>
                <a:gd name="T57" fmla="*/ 258 h 761"/>
                <a:gd name="T58" fmla="*/ 51 w 866"/>
                <a:gd name="T59" fmla="*/ 172 h 761"/>
                <a:gd name="T60" fmla="*/ 117 w 866"/>
                <a:gd name="T61" fmla="*/ 99 h 761"/>
                <a:gd name="T62" fmla="*/ 217 w 866"/>
                <a:gd name="T63" fmla="*/ 36 h 761"/>
                <a:gd name="T64" fmla="*/ 331 w 866"/>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6" h="761">
                  <a:moveTo>
                    <a:pt x="392" y="146"/>
                  </a:moveTo>
                  <a:lnTo>
                    <a:pt x="346" y="151"/>
                  </a:lnTo>
                  <a:lnTo>
                    <a:pt x="306" y="165"/>
                  </a:lnTo>
                  <a:lnTo>
                    <a:pt x="268" y="185"/>
                  </a:lnTo>
                  <a:lnTo>
                    <a:pt x="234" y="211"/>
                  </a:lnTo>
                  <a:lnTo>
                    <a:pt x="207" y="245"/>
                  </a:lnTo>
                  <a:lnTo>
                    <a:pt x="187" y="282"/>
                  </a:lnTo>
                  <a:lnTo>
                    <a:pt x="171" y="324"/>
                  </a:lnTo>
                  <a:lnTo>
                    <a:pt x="611" y="324"/>
                  </a:lnTo>
                  <a:lnTo>
                    <a:pt x="597" y="282"/>
                  </a:lnTo>
                  <a:lnTo>
                    <a:pt x="575" y="245"/>
                  </a:lnTo>
                  <a:lnTo>
                    <a:pt x="548" y="211"/>
                  </a:lnTo>
                  <a:lnTo>
                    <a:pt x="514" y="185"/>
                  </a:lnTo>
                  <a:lnTo>
                    <a:pt x="477" y="165"/>
                  </a:lnTo>
                  <a:lnTo>
                    <a:pt x="436" y="151"/>
                  </a:lnTo>
                  <a:lnTo>
                    <a:pt x="392" y="146"/>
                  </a:lnTo>
                  <a:close/>
                  <a:moveTo>
                    <a:pt x="394" y="0"/>
                  </a:moveTo>
                  <a:lnTo>
                    <a:pt x="448" y="3"/>
                  </a:lnTo>
                  <a:lnTo>
                    <a:pt x="499" y="14"/>
                  </a:lnTo>
                  <a:lnTo>
                    <a:pt x="547" y="29"/>
                  </a:lnTo>
                  <a:lnTo>
                    <a:pt x="591" y="53"/>
                  </a:lnTo>
                  <a:lnTo>
                    <a:pt x="630" y="82"/>
                  </a:lnTo>
                  <a:lnTo>
                    <a:pt x="665" y="119"/>
                  </a:lnTo>
                  <a:lnTo>
                    <a:pt x="698" y="161"/>
                  </a:lnTo>
                  <a:lnTo>
                    <a:pt x="730" y="221"/>
                  </a:lnTo>
                  <a:lnTo>
                    <a:pt x="754" y="280"/>
                  </a:lnTo>
                  <a:lnTo>
                    <a:pt x="767" y="340"/>
                  </a:lnTo>
                  <a:lnTo>
                    <a:pt x="772" y="399"/>
                  </a:lnTo>
                  <a:lnTo>
                    <a:pt x="769" y="428"/>
                  </a:lnTo>
                  <a:lnTo>
                    <a:pt x="760" y="452"/>
                  </a:lnTo>
                  <a:lnTo>
                    <a:pt x="743" y="467"/>
                  </a:lnTo>
                  <a:lnTo>
                    <a:pt x="723" y="477"/>
                  </a:lnTo>
                  <a:lnTo>
                    <a:pt x="694" y="481"/>
                  </a:lnTo>
                  <a:lnTo>
                    <a:pt x="194" y="481"/>
                  </a:lnTo>
                  <a:lnTo>
                    <a:pt x="217" y="514"/>
                  </a:lnTo>
                  <a:lnTo>
                    <a:pt x="246" y="543"/>
                  </a:lnTo>
                  <a:lnTo>
                    <a:pt x="280" y="567"/>
                  </a:lnTo>
                  <a:lnTo>
                    <a:pt x="319" y="586"/>
                  </a:lnTo>
                  <a:lnTo>
                    <a:pt x="360" y="596"/>
                  </a:lnTo>
                  <a:lnTo>
                    <a:pt x="404" y="599"/>
                  </a:lnTo>
                  <a:lnTo>
                    <a:pt x="804" y="599"/>
                  </a:lnTo>
                  <a:lnTo>
                    <a:pt x="821" y="655"/>
                  </a:lnTo>
                  <a:lnTo>
                    <a:pt x="842" y="710"/>
                  </a:lnTo>
                  <a:lnTo>
                    <a:pt x="866" y="761"/>
                  </a:lnTo>
                  <a:lnTo>
                    <a:pt x="404" y="761"/>
                  </a:lnTo>
                  <a:lnTo>
                    <a:pt x="339" y="757"/>
                  </a:lnTo>
                  <a:lnTo>
                    <a:pt x="278" y="744"/>
                  </a:lnTo>
                  <a:lnTo>
                    <a:pt x="221" y="720"/>
                  </a:lnTo>
                  <a:lnTo>
                    <a:pt x="168" y="688"/>
                  </a:lnTo>
                  <a:lnTo>
                    <a:pt x="119" y="645"/>
                  </a:lnTo>
                  <a:lnTo>
                    <a:pt x="82" y="606"/>
                  </a:lnTo>
                  <a:lnTo>
                    <a:pt x="53" y="562"/>
                  </a:lnTo>
                  <a:lnTo>
                    <a:pt x="29" y="516"/>
                  </a:lnTo>
                  <a:lnTo>
                    <a:pt x="12" y="467"/>
                  </a:lnTo>
                  <a:lnTo>
                    <a:pt x="3" y="414"/>
                  </a:lnTo>
                  <a:lnTo>
                    <a:pt x="0" y="357"/>
                  </a:lnTo>
                  <a:lnTo>
                    <a:pt x="3" y="306"/>
                  </a:lnTo>
                  <a:lnTo>
                    <a:pt x="12" y="258"/>
                  </a:lnTo>
                  <a:lnTo>
                    <a:pt x="29" y="214"/>
                  </a:lnTo>
                  <a:lnTo>
                    <a:pt x="51" y="172"/>
                  </a:lnTo>
                  <a:lnTo>
                    <a:pt x="82" y="134"/>
                  </a:lnTo>
                  <a:lnTo>
                    <a:pt x="117" y="99"/>
                  </a:lnTo>
                  <a:lnTo>
                    <a:pt x="165" y="63"/>
                  </a:lnTo>
                  <a:lnTo>
                    <a:pt x="217" y="36"/>
                  </a:lnTo>
                  <a:lnTo>
                    <a:pt x="272" y="15"/>
                  </a:lnTo>
                  <a:lnTo>
                    <a:pt x="331" y="3"/>
                  </a:lnTo>
                  <a:lnTo>
                    <a:pt x="3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9" name="Freeform 15"/>
            <p:cNvSpPr>
              <a:spLocks noEditPoints="1"/>
            </p:cNvSpPr>
            <p:nvPr/>
          </p:nvSpPr>
          <p:spPr bwMode="auto">
            <a:xfrm>
              <a:off x="8919" y="1164"/>
              <a:ext cx="779" cy="794"/>
            </a:xfrm>
            <a:custGeom>
              <a:avLst/>
              <a:gdLst>
                <a:gd name="T0" fmla="*/ 343 w 779"/>
                <a:gd name="T1" fmla="*/ 168 h 794"/>
                <a:gd name="T2" fmla="*/ 261 w 779"/>
                <a:gd name="T3" fmla="*/ 202 h 794"/>
                <a:gd name="T4" fmla="*/ 197 w 779"/>
                <a:gd name="T5" fmla="*/ 266 h 794"/>
                <a:gd name="T6" fmla="*/ 163 w 779"/>
                <a:gd name="T7" fmla="*/ 350 h 794"/>
                <a:gd name="T8" fmla="*/ 163 w 779"/>
                <a:gd name="T9" fmla="*/ 443 h 794"/>
                <a:gd name="T10" fmla="*/ 195 w 779"/>
                <a:gd name="T11" fmla="*/ 526 h 794"/>
                <a:gd name="T12" fmla="*/ 260 w 779"/>
                <a:gd name="T13" fmla="*/ 592 h 794"/>
                <a:gd name="T14" fmla="*/ 341 w 779"/>
                <a:gd name="T15" fmla="*/ 628 h 794"/>
                <a:gd name="T16" fmla="*/ 433 w 779"/>
                <a:gd name="T17" fmla="*/ 628 h 794"/>
                <a:gd name="T18" fmla="*/ 514 w 779"/>
                <a:gd name="T19" fmla="*/ 592 h 794"/>
                <a:gd name="T20" fmla="*/ 580 w 779"/>
                <a:gd name="T21" fmla="*/ 526 h 794"/>
                <a:gd name="T22" fmla="*/ 614 w 779"/>
                <a:gd name="T23" fmla="*/ 443 h 794"/>
                <a:gd name="T24" fmla="*/ 614 w 779"/>
                <a:gd name="T25" fmla="*/ 350 h 794"/>
                <a:gd name="T26" fmla="*/ 580 w 779"/>
                <a:gd name="T27" fmla="*/ 266 h 794"/>
                <a:gd name="T28" fmla="*/ 516 w 779"/>
                <a:gd name="T29" fmla="*/ 202 h 794"/>
                <a:gd name="T30" fmla="*/ 434 w 779"/>
                <a:gd name="T31" fmla="*/ 168 h 794"/>
                <a:gd name="T32" fmla="*/ 388 w 779"/>
                <a:gd name="T33" fmla="*/ 0 h 794"/>
                <a:gd name="T34" fmla="*/ 511 w 779"/>
                <a:gd name="T35" fmla="*/ 18 h 794"/>
                <a:gd name="T36" fmla="*/ 616 w 779"/>
                <a:gd name="T37" fmla="*/ 74 h 794"/>
                <a:gd name="T38" fmla="*/ 706 w 779"/>
                <a:gd name="T39" fmla="*/ 163 h 794"/>
                <a:gd name="T40" fmla="*/ 760 w 779"/>
                <a:gd name="T41" fmla="*/ 273 h 794"/>
                <a:gd name="T42" fmla="*/ 779 w 779"/>
                <a:gd name="T43" fmla="*/ 399 h 794"/>
                <a:gd name="T44" fmla="*/ 760 w 779"/>
                <a:gd name="T45" fmla="*/ 521 h 794"/>
                <a:gd name="T46" fmla="*/ 706 w 779"/>
                <a:gd name="T47" fmla="*/ 630 h 794"/>
                <a:gd name="T48" fmla="*/ 618 w 779"/>
                <a:gd name="T49" fmla="*/ 720 h 794"/>
                <a:gd name="T50" fmla="*/ 512 w 779"/>
                <a:gd name="T51" fmla="*/ 776 h 794"/>
                <a:gd name="T52" fmla="*/ 388 w 779"/>
                <a:gd name="T53" fmla="*/ 794 h 794"/>
                <a:gd name="T54" fmla="*/ 266 w 779"/>
                <a:gd name="T55" fmla="*/ 776 h 794"/>
                <a:gd name="T56" fmla="*/ 161 w 779"/>
                <a:gd name="T57" fmla="*/ 721 h 794"/>
                <a:gd name="T58" fmla="*/ 73 w 779"/>
                <a:gd name="T59" fmla="*/ 631 h 794"/>
                <a:gd name="T60" fmla="*/ 17 w 779"/>
                <a:gd name="T61" fmla="*/ 523 h 794"/>
                <a:gd name="T62" fmla="*/ 0 w 779"/>
                <a:gd name="T63" fmla="*/ 399 h 794"/>
                <a:gd name="T64" fmla="*/ 17 w 779"/>
                <a:gd name="T65" fmla="*/ 275 h 794"/>
                <a:gd name="T66" fmla="*/ 71 w 779"/>
                <a:gd name="T67" fmla="*/ 166 h 794"/>
                <a:gd name="T68" fmla="*/ 159 w 779"/>
                <a:gd name="T69" fmla="*/ 74 h 794"/>
                <a:gd name="T70" fmla="*/ 265 w 779"/>
                <a:gd name="T71" fmla="*/ 18 h 794"/>
                <a:gd name="T72" fmla="*/ 388 w 779"/>
                <a:gd name="T73"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9" h="794">
                  <a:moveTo>
                    <a:pt x="388" y="163"/>
                  </a:moveTo>
                  <a:lnTo>
                    <a:pt x="343" y="168"/>
                  </a:lnTo>
                  <a:lnTo>
                    <a:pt x="300" y="180"/>
                  </a:lnTo>
                  <a:lnTo>
                    <a:pt x="261" y="202"/>
                  </a:lnTo>
                  <a:lnTo>
                    <a:pt x="226" y="231"/>
                  </a:lnTo>
                  <a:lnTo>
                    <a:pt x="197" y="266"/>
                  </a:lnTo>
                  <a:lnTo>
                    <a:pt x="175" y="307"/>
                  </a:lnTo>
                  <a:lnTo>
                    <a:pt x="163" y="350"/>
                  </a:lnTo>
                  <a:lnTo>
                    <a:pt x="158" y="397"/>
                  </a:lnTo>
                  <a:lnTo>
                    <a:pt x="163" y="443"/>
                  </a:lnTo>
                  <a:lnTo>
                    <a:pt x="175" y="487"/>
                  </a:lnTo>
                  <a:lnTo>
                    <a:pt x="195" y="526"/>
                  </a:lnTo>
                  <a:lnTo>
                    <a:pt x="224" y="562"/>
                  </a:lnTo>
                  <a:lnTo>
                    <a:pt x="260" y="592"/>
                  </a:lnTo>
                  <a:lnTo>
                    <a:pt x="299" y="614"/>
                  </a:lnTo>
                  <a:lnTo>
                    <a:pt x="341" y="628"/>
                  </a:lnTo>
                  <a:lnTo>
                    <a:pt x="388" y="631"/>
                  </a:lnTo>
                  <a:lnTo>
                    <a:pt x="433" y="628"/>
                  </a:lnTo>
                  <a:lnTo>
                    <a:pt x="475" y="614"/>
                  </a:lnTo>
                  <a:lnTo>
                    <a:pt x="514" y="592"/>
                  </a:lnTo>
                  <a:lnTo>
                    <a:pt x="550" y="562"/>
                  </a:lnTo>
                  <a:lnTo>
                    <a:pt x="580" y="526"/>
                  </a:lnTo>
                  <a:lnTo>
                    <a:pt x="602" y="487"/>
                  </a:lnTo>
                  <a:lnTo>
                    <a:pt x="614" y="443"/>
                  </a:lnTo>
                  <a:lnTo>
                    <a:pt x="619" y="397"/>
                  </a:lnTo>
                  <a:lnTo>
                    <a:pt x="614" y="350"/>
                  </a:lnTo>
                  <a:lnTo>
                    <a:pt x="602" y="307"/>
                  </a:lnTo>
                  <a:lnTo>
                    <a:pt x="580" y="266"/>
                  </a:lnTo>
                  <a:lnTo>
                    <a:pt x="551" y="231"/>
                  </a:lnTo>
                  <a:lnTo>
                    <a:pt x="516" y="202"/>
                  </a:lnTo>
                  <a:lnTo>
                    <a:pt x="477" y="180"/>
                  </a:lnTo>
                  <a:lnTo>
                    <a:pt x="434" y="168"/>
                  </a:lnTo>
                  <a:lnTo>
                    <a:pt x="388" y="163"/>
                  </a:lnTo>
                  <a:close/>
                  <a:moveTo>
                    <a:pt x="388" y="0"/>
                  </a:moveTo>
                  <a:lnTo>
                    <a:pt x="451" y="5"/>
                  </a:lnTo>
                  <a:lnTo>
                    <a:pt x="511" y="18"/>
                  </a:lnTo>
                  <a:lnTo>
                    <a:pt x="565" y="42"/>
                  </a:lnTo>
                  <a:lnTo>
                    <a:pt x="616" y="74"/>
                  </a:lnTo>
                  <a:lnTo>
                    <a:pt x="663" y="115"/>
                  </a:lnTo>
                  <a:lnTo>
                    <a:pt x="706" y="163"/>
                  </a:lnTo>
                  <a:lnTo>
                    <a:pt x="736" y="215"/>
                  </a:lnTo>
                  <a:lnTo>
                    <a:pt x="760" y="273"/>
                  </a:lnTo>
                  <a:lnTo>
                    <a:pt x="774" y="334"/>
                  </a:lnTo>
                  <a:lnTo>
                    <a:pt x="779" y="399"/>
                  </a:lnTo>
                  <a:lnTo>
                    <a:pt x="774" y="462"/>
                  </a:lnTo>
                  <a:lnTo>
                    <a:pt x="760" y="521"/>
                  </a:lnTo>
                  <a:lnTo>
                    <a:pt x="738" y="577"/>
                  </a:lnTo>
                  <a:lnTo>
                    <a:pt x="706" y="630"/>
                  </a:lnTo>
                  <a:lnTo>
                    <a:pt x="665" y="677"/>
                  </a:lnTo>
                  <a:lnTo>
                    <a:pt x="618" y="720"/>
                  </a:lnTo>
                  <a:lnTo>
                    <a:pt x="567" y="752"/>
                  </a:lnTo>
                  <a:lnTo>
                    <a:pt x="512" y="776"/>
                  </a:lnTo>
                  <a:lnTo>
                    <a:pt x="453" y="789"/>
                  </a:lnTo>
                  <a:lnTo>
                    <a:pt x="388" y="794"/>
                  </a:lnTo>
                  <a:lnTo>
                    <a:pt x="326" y="789"/>
                  </a:lnTo>
                  <a:lnTo>
                    <a:pt x="266" y="776"/>
                  </a:lnTo>
                  <a:lnTo>
                    <a:pt x="212" y="754"/>
                  </a:lnTo>
                  <a:lnTo>
                    <a:pt x="161" y="721"/>
                  </a:lnTo>
                  <a:lnTo>
                    <a:pt x="114" y="679"/>
                  </a:lnTo>
                  <a:lnTo>
                    <a:pt x="73" y="631"/>
                  </a:lnTo>
                  <a:lnTo>
                    <a:pt x="41" y="579"/>
                  </a:lnTo>
                  <a:lnTo>
                    <a:pt x="17" y="523"/>
                  </a:lnTo>
                  <a:lnTo>
                    <a:pt x="3" y="463"/>
                  </a:lnTo>
                  <a:lnTo>
                    <a:pt x="0" y="399"/>
                  </a:lnTo>
                  <a:lnTo>
                    <a:pt x="3" y="334"/>
                  </a:lnTo>
                  <a:lnTo>
                    <a:pt x="17" y="275"/>
                  </a:lnTo>
                  <a:lnTo>
                    <a:pt x="41" y="217"/>
                  </a:lnTo>
                  <a:lnTo>
                    <a:pt x="71" y="166"/>
                  </a:lnTo>
                  <a:lnTo>
                    <a:pt x="112" y="117"/>
                  </a:lnTo>
                  <a:lnTo>
                    <a:pt x="159" y="74"/>
                  </a:lnTo>
                  <a:lnTo>
                    <a:pt x="210" y="42"/>
                  </a:lnTo>
                  <a:lnTo>
                    <a:pt x="265" y="18"/>
                  </a:lnTo>
                  <a:lnTo>
                    <a:pt x="326" y="5"/>
                  </a:lnTo>
                  <a:lnTo>
                    <a:pt x="3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grpSp>
    </p:spTree>
    <p:extLst>
      <p:ext uri="{BB962C8B-B14F-4D97-AF65-F5344CB8AC3E}">
        <p14:creationId xmlns:p14="http://schemas.microsoft.com/office/powerpoint/2010/main" val="2182604214"/>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79" r:id="rId3"/>
    <p:sldLayoutId id="2147483680" r:id="rId4"/>
    <p:sldLayoutId id="2147483688" r:id="rId5"/>
    <p:sldLayoutId id="2147483681" r:id="rId6"/>
    <p:sldLayoutId id="2147483687" r:id="rId7"/>
    <p:sldLayoutId id="2147483682" r:id="rId8"/>
    <p:sldLayoutId id="2147483683" r:id="rId9"/>
    <p:sldLayoutId id="2147483690" r:id="rId10"/>
    <p:sldLayoutId id="2147483689" r:id="rId11"/>
    <p:sldLayoutId id="2147483684" r:id="rId12"/>
    <p:sldLayoutId id="2147483662" r:id="rId13"/>
    <p:sldLayoutId id="2147483650" r:id="rId14"/>
    <p:sldLayoutId id="2147483685" r:id="rId15"/>
    <p:sldLayoutId id="2147483658" r:id="rId16"/>
    <p:sldLayoutId id="2147483686" r:id="rId17"/>
    <p:sldLayoutId id="2147483651" r:id="rId18"/>
    <p:sldLayoutId id="2147483653" r:id="rId19"/>
    <p:sldLayoutId id="2147483654" r:id="rId20"/>
    <p:sldLayoutId id="2147483655" r:id="rId21"/>
    <p:sldLayoutId id="2147483656" r:id="rId22"/>
    <p:sldLayoutId id="2147483657" r:id="rId23"/>
    <p:sldLayoutId id="2147483659" r:id="rId24"/>
    <p:sldLayoutId id="2147483660" r:id="rId25"/>
    <p:sldLayoutId id="2147483661" r:id="rId26"/>
    <p:sldLayoutId id="2147483663" r:id="rId27"/>
    <p:sldLayoutId id="2147483691" r:id="rId28"/>
    <p:sldLayoutId id="2147483692" r:id="rId29"/>
    <p:sldLayoutId id="2147483693" r:id="rId30"/>
    <p:sldLayoutId id="2147483694" r:id="rId31"/>
  </p:sldLayoutIdLst>
  <p:hf hdr="0"/>
  <p:txStyles>
    <p:titleStyle>
      <a:lvl1pPr algn="l" defTabSz="914400" rtl="0" eaLnBrk="1" latinLnBrk="0" hangingPunct="1">
        <a:spcBef>
          <a:spcPct val="0"/>
        </a:spcBef>
        <a:buNone/>
        <a:defRPr sz="2400" b="0" kern="1200" spc="20" baseline="0">
          <a:solidFill>
            <a:schemeClr val="tx1"/>
          </a:solidFill>
          <a:latin typeface="+mj-lt"/>
          <a:ea typeface="+mj-ea"/>
          <a:cs typeface="+mj-cs"/>
        </a:defRPr>
      </a:lvl1pPr>
    </p:titleStyle>
    <p:bodyStyle>
      <a:lvl1pPr marL="182563" indent="-182563" algn="l" defTabSz="914400" rtl="0" eaLnBrk="1" latinLnBrk="0" hangingPunct="1">
        <a:spcBef>
          <a:spcPts val="700"/>
        </a:spcBef>
        <a:buClr>
          <a:srgbClr val="A2D3F3"/>
        </a:buClr>
        <a:buSzPct val="90000"/>
        <a:buFont typeface="Wingdings 2" panose="05020102010507070707" pitchFamily="18" charset="2"/>
        <a:buChar char=""/>
        <a:defRPr sz="1800" kern="1200" spc="40" baseline="0">
          <a:solidFill>
            <a:schemeClr val="tx1"/>
          </a:solidFill>
          <a:latin typeface="+mn-lt"/>
          <a:ea typeface="+mn-ea"/>
          <a:cs typeface="+mn-cs"/>
        </a:defRPr>
      </a:lvl1pPr>
      <a:lvl2pPr marL="625475" indent="-168275" algn="l" defTabSz="914400" rtl="0" eaLnBrk="1" latinLnBrk="0" hangingPunct="1">
        <a:spcBef>
          <a:spcPct val="20000"/>
        </a:spcBef>
        <a:buClr>
          <a:srgbClr val="A2D3F3"/>
        </a:buClr>
        <a:buSzPct val="90000"/>
        <a:buFont typeface="Wingdings 2" panose="05020102010507070707" pitchFamily="18" charset="2"/>
        <a:buChar char=""/>
        <a:defRPr sz="1800" kern="1200" spc="20" baseline="0">
          <a:solidFill>
            <a:schemeClr val="tx1"/>
          </a:solidFill>
          <a:latin typeface="+mn-lt"/>
          <a:ea typeface="+mn-ea"/>
          <a:cs typeface="+mn-cs"/>
        </a:defRPr>
      </a:lvl2pPr>
      <a:lvl3pPr marL="1074738" indent="-160338" algn="l" defTabSz="914400" rtl="0" eaLnBrk="1" latinLnBrk="0" hangingPunct="1">
        <a:spcBef>
          <a:spcPct val="20000"/>
        </a:spcBef>
        <a:buClr>
          <a:srgbClr val="A2D3F3"/>
        </a:buClr>
        <a:buSzPct val="90000"/>
        <a:buFont typeface="Wingdings 2" panose="05020102010507070707" pitchFamily="18" charset="2"/>
        <a:buChar char=""/>
        <a:defRPr sz="1600" kern="1200" spc="20" baseline="0">
          <a:solidFill>
            <a:schemeClr val="tx1"/>
          </a:solidFill>
          <a:latin typeface="+mn-lt"/>
          <a:ea typeface="+mn-ea"/>
          <a:cs typeface="+mn-cs"/>
        </a:defRPr>
      </a:lvl3pPr>
      <a:lvl4pPr marL="1524000" indent="-152400" algn="l" defTabSz="914400" rtl="0" eaLnBrk="1" latinLnBrk="0" hangingPunct="1">
        <a:spcBef>
          <a:spcPct val="20000"/>
        </a:spcBef>
        <a:buClr>
          <a:srgbClr val="A2D3F3"/>
        </a:buClr>
        <a:buSzPct val="90000"/>
        <a:buFont typeface="Wingdings 2" panose="05020102010507070707" pitchFamily="18" charset="2"/>
        <a:buChar char=""/>
        <a:defRPr sz="1400" kern="1200" spc="20" baseline="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spc="2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9600" y="730560"/>
            <a:ext cx="10972800" cy="565200"/>
          </a:xfrm>
          <a:prstGeom prst="rect">
            <a:avLst/>
          </a:prstGeom>
        </p:spPr>
        <p:txBody>
          <a:bodyPr vert="horz" lIns="91440" tIns="45720" rIns="91440" bIns="45720" rtlCol="0" anchor="t" anchorCtr="0">
            <a:normAutofit/>
          </a:bodyPr>
          <a:lstStyle/>
          <a:p>
            <a:r>
              <a:rPr lang="en-US" dirty="0"/>
              <a:t>This is the title of the subject on this page</a:t>
            </a:r>
            <a:endParaRPr lang="nl-BE" dirty="0"/>
          </a:p>
        </p:txBody>
      </p:sp>
      <p:sp>
        <p:nvSpPr>
          <p:cNvPr id="3" name="Tijdelijke aanduiding voor tekst 2"/>
          <p:cNvSpPr>
            <a:spLocks noGrp="1"/>
          </p:cNvSpPr>
          <p:nvPr>
            <p:ph type="body" idx="1"/>
          </p:nvPr>
        </p:nvSpPr>
        <p:spPr>
          <a:xfrm>
            <a:off x="609600" y="1623061"/>
            <a:ext cx="10972800" cy="4525963"/>
          </a:xfrm>
          <a:prstGeom prst="rect">
            <a:avLst/>
          </a:prstGeom>
        </p:spPr>
        <p:txBody>
          <a:bodyPr vert="horz" lIns="486000" tIns="45720" rIns="91440" bIns="45720" rtlCol="0">
            <a:normAutofit/>
          </a:bodyPr>
          <a:lstStyle/>
          <a:p>
            <a:pPr lvl="0"/>
            <a:r>
              <a:rPr lang="en-US" dirty="0"/>
              <a:t>this could be a bulletpoint</a:t>
            </a:r>
            <a:endParaRPr lang="nl-NL" dirty="0"/>
          </a:p>
          <a:p>
            <a:pPr lvl="0"/>
            <a:r>
              <a:rPr lang="en-US" dirty="0"/>
              <a:t>this could be another bulletpoint</a:t>
            </a:r>
            <a:endParaRPr lang="nl-NL" dirty="0"/>
          </a:p>
          <a:p>
            <a:pPr lvl="0"/>
            <a:r>
              <a:rPr lang="en-US" dirty="0"/>
              <a:t>this could be the third bulletpoint</a:t>
            </a:r>
            <a:endParaRPr lang="nl-NL" dirty="0"/>
          </a:p>
          <a:p>
            <a:pPr lvl="0"/>
            <a:r>
              <a:rPr lang="en-US" dirty="0"/>
              <a:t>this bulletpoint needs some bodycopy</a:t>
            </a:r>
            <a:endParaRPr lang="nl-BE" dirty="0"/>
          </a:p>
        </p:txBody>
      </p:sp>
      <p:sp>
        <p:nvSpPr>
          <p:cNvPr id="4" name="Tijdelijke aanduiding voor datum 3"/>
          <p:cNvSpPr>
            <a:spLocks noGrp="1"/>
          </p:cNvSpPr>
          <p:nvPr>
            <p:ph type="dt" sz="half" idx="2"/>
          </p:nvPr>
        </p:nvSpPr>
        <p:spPr>
          <a:xfrm>
            <a:off x="1199456" y="6400801"/>
            <a:ext cx="917211" cy="276224"/>
          </a:xfrm>
          <a:prstGeom prst="rect">
            <a:avLst/>
          </a:prstGeom>
        </p:spPr>
        <p:txBody>
          <a:bodyPr vert="horz" lIns="72000" tIns="45720" rIns="72000" bIns="45720" rtlCol="0" anchor="b" anchorCtr="0"/>
          <a:lstStyle>
            <a:lvl1pPr algn="r">
              <a:defRPr sz="700">
                <a:solidFill>
                  <a:schemeClr val="tx1">
                    <a:tint val="75000"/>
                  </a:schemeClr>
                </a:solidFill>
              </a:defRPr>
            </a:lvl1pPr>
          </a:lstStyle>
          <a:p>
            <a:fld id="{68D80C0F-9C3E-4349-8766-2C60FFEA92D8}" type="datetime1">
              <a:rPr lang="nl-BE" smtClean="0"/>
              <a:pPr/>
              <a:t>30/05/2023</a:t>
            </a:fld>
            <a:endParaRPr lang="nl-BE" dirty="0"/>
          </a:p>
        </p:txBody>
      </p:sp>
      <p:sp>
        <p:nvSpPr>
          <p:cNvPr id="5" name="Tijdelijke aanduiding voor voettekst 4"/>
          <p:cNvSpPr>
            <a:spLocks noGrp="1"/>
          </p:cNvSpPr>
          <p:nvPr>
            <p:ph type="ftr" sz="quarter" idx="3"/>
          </p:nvPr>
        </p:nvSpPr>
        <p:spPr>
          <a:xfrm>
            <a:off x="2116667" y="6400801"/>
            <a:ext cx="8313605" cy="276224"/>
          </a:xfrm>
          <a:prstGeom prst="rect">
            <a:avLst/>
          </a:prstGeom>
        </p:spPr>
        <p:txBody>
          <a:bodyPr vert="horz" lIns="0" tIns="45720" rIns="0" bIns="45720" rtlCol="0" anchor="b" anchorCtr="0"/>
          <a:lstStyle>
            <a:lvl1pPr marL="88900" indent="-88900" algn="l">
              <a:buClr>
                <a:schemeClr val="accent2"/>
              </a:buClr>
              <a:buFont typeface="Arial" panose="020B0604020202020204" pitchFamily="34" charset="0"/>
              <a:buChar char="•"/>
              <a:defRPr sz="700">
                <a:solidFill>
                  <a:schemeClr val="tx1">
                    <a:tint val="75000"/>
                  </a:schemeClr>
                </a:solidFill>
              </a:defRPr>
            </a:lvl1pPr>
          </a:lstStyle>
          <a:p>
            <a:endParaRPr lang="nl-BE" dirty="0"/>
          </a:p>
        </p:txBody>
      </p:sp>
      <p:sp>
        <p:nvSpPr>
          <p:cNvPr id="6" name="Tijdelijke aanduiding voor dianummer 5"/>
          <p:cNvSpPr>
            <a:spLocks noGrp="1"/>
          </p:cNvSpPr>
          <p:nvPr>
            <p:ph type="sldNum" sz="quarter" idx="4"/>
          </p:nvPr>
        </p:nvSpPr>
        <p:spPr>
          <a:xfrm>
            <a:off x="609600" y="6400801"/>
            <a:ext cx="589856" cy="276224"/>
          </a:xfrm>
          <a:prstGeom prst="rect">
            <a:avLst/>
          </a:prstGeom>
        </p:spPr>
        <p:txBody>
          <a:bodyPr vert="horz" lIns="91440" tIns="45720" rIns="91440" bIns="45720" rtlCol="0" anchor="b" anchorCtr="0"/>
          <a:lstStyle>
            <a:lvl1pPr algn="l">
              <a:defRPr sz="700">
                <a:solidFill>
                  <a:schemeClr val="tx1">
                    <a:tint val="75000"/>
                  </a:schemeClr>
                </a:solidFill>
              </a:defRPr>
            </a:lvl1pPr>
          </a:lstStyle>
          <a:p>
            <a:fld id="{9BE375CD-4755-4D83-B134-E6AD5007676A}" type="slidenum">
              <a:rPr lang="nl-BE" smtClean="0"/>
              <a:pPr/>
              <a:t>‹nr.›</a:t>
            </a:fld>
            <a:endParaRPr lang="nl-BE" dirty="0"/>
          </a:p>
        </p:txBody>
      </p:sp>
      <p:sp>
        <p:nvSpPr>
          <p:cNvPr id="10" name="Rechthoek 9"/>
          <p:cNvSpPr/>
          <p:nvPr/>
        </p:nvSpPr>
        <p:spPr>
          <a:xfrm>
            <a:off x="0" y="6791326"/>
            <a:ext cx="12192000" cy="66675"/>
          </a:xfrm>
          <a:prstGeom prst="rect">
            <a:avLst/>
          </a:prstGeom>
          <a:solidFill>
            <a:srgbClr val="C6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800"/>
          </a:p>
        </p:txBody>
      </p:sp>
      <p:grpSp>
        <p:nvGrpSpPr>
          <p:cNvPr id="12" name="Group 7"/>
          <p:cNvGrpSpPr>
            <a:grpSpLocks noChangeAspect="1"/>
          </p:cNvGrpSpPr>
          <p:nvPr/>
        </p:nvGrpSpPr>
        <p:grpSpPr bwMode="auto">
          <a:xfrm>
            <a:off x="11110397" y="6416042"/>
            <a:ext cx="554553" cy="258577"/>
            <a:chOff x="4371" y="191"/>
            <a:chExt cx="5592" cy="2723"/>
          </a:xfrm>
          <a:solidFill>
            <a:srgbClr val="C62B37"/>
          </a:solidFill>
        </p:grpSpPr>
        <p:sp>
          <p:nvSpPr>
            <p:cNvPr id="13" name="Freeform 9"/>
            <p:cNvSpPr>
              <a:spLocks/>
            </p:cNvSpPr>
            <p:nvPr/>
          </p:nvSpPr>
          <p:spPr bwMode="auto">
            <a:xfrm>
              <a:off x="4649" y="1284"/>
              <a:ext cx="1811" cy="920"/>
            </a:xfrm>
            <a:custGeom>
              <a:avLst/>
              <a:gdLst>
                <a:gd name="T0" fmla="*/ 68 w 1811"/>
                <a:gd name="T1" fmla="*/ 0 h 920"/>
                <a:gd name="T2" fmla="*/ 611 w 1811"/>
                <a:gd name="T3" fmla="*/ 58 h 920"/>
                <a:gd name="T4" fmla="*/ 581 w 1811"/>
                <a:gd name="T5" fmla="*/ 189 h 920"/>
                <a:gd name="T6" fmla="*/ 582 w 1811"/>
                <a:gd name="T7" fmla="*/ 330 h 920"/>
                <a:gd name="T8" fmla="*/ 616 w 1811"/>
                <a:gd name="T9" fmla="*/ 454 h 920"/>
                <a:gd name="T10" fmla="*/ 686 w 1811"/>
                <a:gd name="T11" fmla="*/ 564 h 920"/>
                <a:gd name="T12" fmla="*/ 786 w 1811"/>
                <a:gd name="T13" fmla="*/ 657 h 920"/>
                <a:gd name="T14" fmla="*/ 903 w 1811"/>
                <a:gd name="T15" fmla="*/ 722 h 920"/>
                <a:gd name="T16" fmla="*/ 1032 w 1811"/>
                <a:gd name="T17" fmla="*/ 754 h 920"/>
                <a:gd name="T18" fmla="*/ 1641 w 1811"/>
                <a:gd name="T19" fmla="*/ 757 h 920"/>
                <a:gd name="T20" fmla="*/ 1657 w 1811"/>
                <a:gd name="T21" fmla="*/ 776 h 920"/>
                <a:gd name="T22" fmla="*/ 1672 w 1811"/>
                <a:gd name="T23" fmla="*/ 795 h 920"/>
                <a:gd name="T24" fmla="*/ 1689 w 1811"/>
                <a:gd name="T25" fmla="*/ 813 h 920"/>
                <a:gd name="T26" fmla="*/ 1758 w 1811"/>
                <a:gd name="T27" fmla="*/ 880 h 920"/>
                <a:gd name="T28" fmla="*/ 1102 w 1811"/>
                <a:gd name="T29" fmla="*/ 920 h 920"/>
                <a:gd name="T30" fmla="*/ 951 w 1811"/>
                <a:gd name="T31" fmla="*/ 905 h 920"/>
                <a:gd name="T32" fmla="*/ 811 w 1811"/>
                <a:gd name="T33" fmla="*/ 858 h 920"/>
                <a:gd name="T34" fmla="*/ 682 w 1811"/>
                <a:gd name="T35" fmla="*/ 780 h 920"/>
                <a:gd name="T36" fmla="*/ 569 w 1811"/>
                <a:gd name="T37" fmla="*/ 671 h 920"/>
                <a:gd name="T38" fmla="*/ 486 w 1811"/>
                <a:gd name="T39" fmla="*/ 549 h 920"/>
                <a:gd name="T40" fmla="*/ 435 w 1811"/>
                <a:gd name="T41" fmla="*/ 413 h 920"/>
                <a:gd name="T42" fmla="*/ 418 w 1811"/>
                <a:gd name="T43" fmla="*/ 263 h 920"/>
                <a:gd name="T44" fmla="*/ 426 w 1811"/>
                <a:gd name="T45" fmla="*/ 146 h 920"/>
                <a:gd name="T46" fmla="*/ 153 w 1811"/>
                <a:gd name="T47" fmla="*/ 839 h 920"/>
                <a:gd name="T48" fmla="*/ 150 w 1811"/>
                <a:gd name="T49" fmla="*/ 868 h 920"/>
                <a:gd name="T50" fmla="*/ 122 w 1811"/>
                <a:gd name="T51" fmla="*/ 905 h 920"/>
                <a:gd name="T52" fmla="*/ 77 w 1811"/>
                <a:gd name="T53" fmla="*/ 920 h 920"/>
                <a:gd name="T54" fmla="*/ 33 w 1811"/>
                <a:gd name="T55" fmla="*/ 905 h 920"/>
                <a:gd name="T56" fmla="*/ 5 w 1811"/>
                <a:gd name="T57" fmla="*/ 868 h 920"/>
                <a:gd name="T58" fmla="*/ 2 w 1811"/>
                <a:gd name="T59" fmla="*/ 842 h 920"/>
                <a:gd name="T60" fmla="*/ 0 w 1811"/>
                <a:gd name="T61" fmla="*/ 70 h 920"/>
                <a:gd name="T62" fmla="*/ 2 w 1811"/>
                <a:gd name="T63" fmla="*/ 60 h 920"/>
                <a:gd name="T64" fmla="*/ 9 w 1811"/>
                <a:gd name="T65" fmla="*/ 36 h 920"/>
                <a:gd name="T66" fmla="*/ 27 w 1811"/>
                <a:gd name="T67" fmla="*/ 11 h 920"/>
                <a:gd name="T68" fmla="*/ 68 w 1811"/>
                <a:gd name="T69"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1" h="920">
                  <a:moveTo>
                    <a:pt x="68" y="0"/>
                  </a:moveTo>
                  <a:lnTo>
                    <a:pt x="68" y="0"/>
                  </a:lnTo>
                  <a:lnTo>
                    <a:pt x="637" y="0"/>
                  </a:lnTo>
                  <a:lnTo>
                    <a:pt x="611" y="58"/>
                  </a:lnTo>
                  <a:lnTo>
                    <a:pt x="593" y="121"/>
                  </a:lnTo>
                  <a:lnTo>
                    <a:pt x="581" y="189"/>
                  </a:lnTo>
                  <a:lnTo>
                    <a:pt x="577" y="263"/>
                  </a:lnTo>
                  <a:lnTo>
                    <a:pt x="582" y="330"/>
                  </a:lnTo>
                  <a:lnTo>
                    <a:pt x="594" y="392"/>
                  </a:lnTo>
                  <a:lnTo>
                    <a:pt x="616" y="454"/>
                  </a:lnTo>
                  <a:lnTo>
                    <a:pt x="647" y="510"/>
                  </a:lnTo>
                  <a:lnTo>
                    <a:pt x="686" y="564"/>
                  </a:lnTo>
                  <a:lnTo>
                    <a:pt x="733" y="613"/>
                  </a:lnTo>
                  <a:lnTo>
                    <a:pt x="786" y="657"/>
                  </a:lnTo>
                  <a:lnTo>
                    <a:pt x="844" y="693"/>
                  </a:lnTo>
                  <a:lnTo>
                    <a:pt x="903" y="722"/>
                  </a:lnTo>
                  <a:lnTo>
                    <a:pt x="966" y="742"/>
                  </a:lnTo>
                  <a:lnTo>
                    <a:pt x="1032" y="754"/>
                  </a:lnTo>
                  <a:lnTo>
                    <a:pt x="1102" y="757"/>
                  </a:lnTo>
                  <a:lnTo>
                    <a:pt x="1641" y="757"/>
                  </a:lnTo>
                  <a:lnTo>
                    <a:pt x="1641" y="757"/>
                  </a:lnTo>
                  <a:lnTo>
                    <a:pt x="1657" y="776"/>
                  </a:lnTo>
                  <a:lnTo>
                    <a:pt x="1658" y="778"/>
                  </a:lnTo>
                  <a:lnTo>
                    <a:pt x="1672" y="795"/>
                  </a:lnTo>
                  <a:lnTo>
                    <a:pt x="1677" y="802"/>
                  </a:lnTo>
                  <a:lnTo>
                    <a:pt x="1689" y="813"/>
                  </a:lnTo>
                  <a:lnTo>
                    <a:pt x="1707" y="832"/>
                  </a:lnTo>
                  <a:lnTo>
                    <a:pt x="1758" y="880"/>
                  </a:lnTo>
                  <a:lnTo>
                    <a:pt x="1811" y="920"/>
                  </a:lnTo>
                  <a:lnTo>
                    <a:pt x="1102" y="920"/>
                  </a:lnTo>
                  <a:lnTo>
                    <a:pt x="1025" y="917"/>
                  </a:lnTo>
                  <a:lnTo>
                    <a:pt x="951" y="905"/>
                  </a:lnTo>
                  <a:lnTo>
                    <a:pt x="879" y="885"/>
                  </a:lnTo>
                  <a:lnTo>
                    <a:pt x="811" y="858"/>
                  </a:lnTo>
                  <a:lnTo>
                    <a:pt x="745" y="822"/>
                  </a:lnTo>
                  <a:lnTo>
                    <a:pt x="682" y="780"/>
                  </a:lnTo>
                  <a:lnTo>
                    <a:pt x="623" y="729"/>
                  </a:lnTo>
                  <a:lnTo>
                    <a:pt x="569" y="671"/>
                  </a:lnTo>
                  <a:lnTo>
                    <a:pt x="523" y="611"/>
                  </a:lnTo>
                  <a:lnTo>
                    <a:pt x="486" y="549"/>
                  </a:lnTo>
                  <a:lnTo>
                    <a:pt x="457" y="482"/>
                  </a:lnTo>
                  <a:lnTo>
                    <a:pt x="435" y="413"/>
                  </a:lnTo>
                  <a:lnTo>
                    <a:pt x="423" y="340"/>
                  </a:lnTo>
                  <a:lnTo>
                    <a:pt x="418" y="263"/>
                  </a:lnTo>
                  <a:lnTo>
                    <a:pt x="421" y="204"/>
                  </a:lnTo>
                  <a:lnTo>
                    <a:pt x="426" y="146"/>
                  </a:lnTo>
                  <a:lnTo>
                    <a:pt x="153" y="146"/>
                  </a:lnTo>
                  <a:lnTo>
                    <a:pt x="153" y="839"/>
                  </a:lnTo>
                  <a:lnTo>
                    <a:pt x="153" y="844"/>
                  </a:lnTo>
                  <a:lnTo>
                    <a:pt x="150" y="868"/>
                  </a:lnTo>
                  <a:lnTo>
                    <a:pt x="138" y="890"/>
                  </a:lnTo>
                  <a:lnTo>
                    <a:pt x="122" y="905"/>
                  </a:lnTo>
                  <a:lnTo>
                    <a:pt x="100" y="917"/>
                  </a:lnTo>
                  <a:lnTo>
                    <a:pt x="77" y="920"/>
                  </a:lnTo>
                  <a:lnTo>
                    <a:pt x="53" y="917"/>
                  </a:lnTo>
                  <a:lnTo>
                    <a:pt x="33" y="905"/>
                  </a:lnTo>
                  <a:lnTo>
                    <a:pt x="16" y="890"/>
                  </a:lnTo>
                  <a:lnTo>
                    <a:pt x="5" y="868"/>
                  </a:lnTo>
                  <a:lnTo>
                    <a:pt x="0" y="844"/>
                  </a:lnTo>
                  <a:lnTo>
                    <a:pt x="2" y="842"/>
                  </a:lnTo>
                  <a:lnTo>
                    <a:pt x="0" y="842"/>
                  </a:lnTo>
                  <a:lnTo>
                    <a:pt x="0" y="70"/>
                  </a:lnTo>
                  <a:lnTo>
                    <a:pt x="0" y="68"/>
                  </a:lnTo>
                  <a:lnTo>
                    <a:pt x="2" y="60"/>
                  </a:lnTo>
                  <a:lnTo>
                    <a:pt x="4" y="48"/>
                  </a:lnTo>
                  <a:lnTo>
                    <a:pt x="9" y="36"/>
                  </a:lnTo>
                  <a:lnTo>
                    <a:pt x="16" y="22"/>
                  </a:lnTo>
                  <a:lnTo>
                    <a:pt x="27" y="11"/>
                  </a:lnTo>
                  <a:lnTo>
                    <a:pt x="44" y="4"/>
                  </a:lnTo>
                  <a:lnTo>
                    <a:pt x="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4" name="Freeform 10"/>
            <p:cNvSpPr>
              <a:spLocks noEditPoints="1"/>
            </p:cNvSpPr>
            <p:nvPr/>
          </p:nvSpPr>
          <p:spPr bwMode="auto">
            <a:xfrm>
              <a:off x="6528" y="1152"/>
              <a:ext cx="784" cy="789"/>
            </a:xfrm>
            <a:custGeom>
              <a:avLst/>
              <a:gdLst>
                <a:gd name="T0" fmla="*/ 341 w 784"/>
                <a:gd name="T1" fmla="*/ 166 h 789"/>
                <a:gd name="T2" fmla="*/ 259 w 784"/>
                <a:gd name="T3" fmla="*/ 200 h 789"/>
                <a:gd name="T4" fmla="*/ 195 w 784"/>
                <a:gd name="T5" fmla="*/ 266 h 789"/>
                <a:gd name="T6" fmla="*/ 163 w 784"/>
                <a:gd name="T7" fmla="*/ 351 h 789"/>
                <a:gd name="T8" fmla="*/ 163 w 784"/>
                <a:gd name="T9" fmla="*/ 445 h 789"/>
                <a:gd name="T10" fmla="*/ 197 w 784"/>
                <a:gd name="T11" fmla="*/ 526 h 789"/>
                <a:gd name="T12" fmla="*/ 261 w 784"/>
                <a:gd name="T13" fmla="*/ 591 h 789"/>
                <a:gd name="T14" fmla="*/ 343 w 784"/>
                <a:gd name="T15" fmla="*/ 623 h 789"/>
                <a:gd name="T16" fmla="*/ 436 w 784"/>
                <a:gd name="T17" fmla="*/ 623 h 789"/>
                <a:gd name="T18" fmla="*/ 519 w 784"/>
                <a:gd name="T19" fmla="*/ 591 h 789"/>
                <a:gd name="T20" fmla="*/ 585 w 784"/>
                <a:gd name="T21" fmla="*/ 526 h 789"/>
                <a:gd name="T22" fmla="*/ 621 w 784"/>
                <a:gd name="T23" fmla="*/ 445 h 789"/>
                <a:gd name="T24" fmla="*/ 621 w 784"/>
                <a:gd name="T25" fmla="*/ 351 h 789"/>
                <a:gd name="T26" fmla="*/ 587 w 784"/>
                <a:gd name="T27" fmla="*/ 266 h 789"/>
                <a:gd name="T28" fmla="*/ 521 w 784"/>
                <a:gd name="T29" fmla="*/ 200 h 789"/>
                <a:gd name="T30" fmla="*/ 436 w 784"/>
                <a:gd name="T31" fmla="*/ 166 h 789"/>
                <a:gd name="T32" fmla="*/ 388 w 784"/>
                <a:gd name="T33" fmla="*/ 0 h 789"/>
                <a:gd name="T34" fmla="*/ 512 w 784"/>
                <a:gd name="T35" fmla="*/ 19 h 789"/>
                <a:gd name="T36" fmla="*/ 621 w 784"/>
                <a:gd name="T37" fmla="*/ 75 h 789"/>
                <a:gd name="T38" fmla="*/ 711 w 784"/>
                <a:gd name="T39" fmla="*/ 166 h 789"/>
                <a:gd name="T40" fmla="*/ 765 w 784"/>
                <a:gd name="T41" fmla="*/ 275 h 789"/>
                <a:gd name="T42" fmla="*/ 784 w 784"/>
                <a:gd name="T43" fmla="*/ 399 h 789"/>
                <a:gd name="T44" fmla="*/ 765 w 784"/>
                <a:gd name="T45" fmla="*/ 519 h 789"/>
                <a:gd name="T46" fmla="*/ 709 w 784"/>
                <a:gd name="T47" fmla="*/ 626 h 789"/>
                <a:gd name="T48" fmla="*/ 619 w 784"/>
                <a:gd name="T49" fmla="*/ 716 h 789"/>
                <a:gd name="T50" fmla="*/ 512 w 784"/>
                <a:gd name="T51" fmla="*/ 772 h 789"/>
                <a:gd name="T52" fmla="*/ 388 w 784"/>
                <a:gd name="T53" fmla="*/ 789 h 789"/>
                <a:gd name="T54" fmla="*/ 266 w 784"/>
                <a:gd name="T55" fmla="*/ 772 h 789"/>
                <a:gd name="T56" fmla="*/ 159 w 784"/>
                <a:gd name="T57" fmla="*/ 718 h 789"/>
                <a:gd name="T58" fmla="*/ 73 w 784"/>
                <a:gd name="T59" fmla="*/ 630 h 789"/>
                <a:gd name="T60" fmla="*/ 19 w 784"/>
                <a:gd name="T61" fmla="*/ 523 h 789"/>
                <a:gd name="T62" fmla="*/ 0 w 784"/>
                <a:gd name="T63" fmla="*/ 399 h 789"/>
                <a:gd name="T64" fmla="*/ 19 w 784"/>
                <a:gd name="T65" fmla="*/ 275 h 789"/>
                <a:gd name="T66" fmla="*/ 73 w 784"/>
                <a:gd name="T67" fmla="*/ 166 h 789"/>
                <a:gd name="T68" fmla="*/ 163 w 784"/>
                <a:gd name="T69" fmla="*/ 75 h 789"/>
                <a:gd name="T70" fmla="*/ 268 w 784"/>
                <a:gd name="T71" fmla="*/ 19 h 789"/>
                <a:gd name="T72" fmla="*/ 388 w 784"/>
                <a:gd name="T7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4" h="789">
                  <a:moveTo>
                    <a:pt x="388" y="161"/>
                  </a:moveTo>
                  <a:lnTo>
                    <a:pt x="341" y="166"/>
                  </a:lnTo>
                  <a:lnTo>
                    <a:pt x="299" y="178"/>
                  </a:lnTo>
                  <a:lnTo>
                    <a:pt x="259" y="200"/>
                  </a:lnTo>
                  <a:lnTo>
                    <a:pt x="224" y="229"/>
                  </a:lnTo>
                  <a:lnTo>
                    <a:pt x="195" y="266"/>
                  </a:lnTo>
                  <a:lnTo>
                    <a:pt x="175" y="305"/>
                  </a:lnTo>
                  <a:lnTo>
                    <a:pt x="163" y="351"/>
                  </a:lnTo>
                  <a:lnTo>
                    <a:pt x="159" y="399"/>
                  </a:lnTo>
                  <a:lnTo>
                    <a:pt x="163" y="445"/>
                  </a:lnTo>
                  <a:lnTo>
                    <a:pt x="175" y="487"/>
                  </a:lnTo>
                  <a:lnTo>
                    <a:pt x="197" y="526"/>
                  </a:lnTo>
                  <a:lnTo>
                    <a:pt x="226" y="562"/>
                  </a:lnTo>
                  <a:lnTo>
                    <a:pt x="261" y="591"/>
                  </a:lnTo>
                  <a:lnTo>
                    <a:pt x="300" y="611"/>
                  </a:lnTo>
                  <a:lnTo>
                    <a:pt x="343" y="623"/>
                  </a:lnTo>
                  <a:lnTo>
                    <a:pt x="388" y="628"/>
                  </a:lnTo>
                  <a:lnTo>
                    <a:pt x="436" y="623"/>
                  </a:lnTo>
                  <a:lnTo>
                    <a:pt x="478" y="611"/>
                  </a:lnTo>
                  <a:lnTo>
                    <a:pt x="519" y="591"/>
                  </a:lnTo>
                  <a:lnTo>
                    <a:pt x="555" y="562"/>
                  </a:lnTo>
                  <a:lnTo>
                    <a:pt x="585" y="526"/>
                  </a:lnTo>
                  <a:lnTo>
                    <a:pt x="607" y="487"/>
                  </a:lnTo>
                  <a:lnTo>
                    <a:pt x="621" y="445"/>
                  </a:lnTo>
                  <a:lnTo>
                    <a:pt x="624" y="399"/>
                  </a:lnTo>
                  <a:lnTo>
                    <a:pt x="621" y="351"/>
                  </a:lnTo>
                  <a:lnTo>
                    <a:pt x="607" y="305"/>
                  </a:lnTo>
                  <a:lnTo>
                    <a:pt x="587" y="266"/>
                  </a:lnTo>
                  <a:lnTo>
                    <a:pt x="556" y="229"/>
                  </a:lnTo>
                  <a:lnTo>
                    <a:pt x="521" y="200"/>
                  </a:lnTo>
                  <a:lnTo>
                    <a:pt x="480" y="178"/>
                  </a:lnTo>
                  <a:lnTo>
                    <a:pt x="436" y="166"/>
                  </a:lnTo>
                  <a:lnTo>
                    <a:pt x="388" y="161"/>
                  </a:lnTo>
                  <a:close/>
                  <a:moveTo>
                    <a:pt x="388" y="0"/>
                  </a:moveTo>
                  <a:lnTo>
                    <a:pt x="453" y="5"/>
                  </a:lnTo>
                  <a:lnTo>
                    <a:pt x="512" y="19"/>
                  </a:lnTo>
                  <a:lnTo>
                    <a:pt x="570" y="42"/>
                  </a:lnTo>
                  <a:lnTo>
                    <a:pt x="621" y="75"/>
                  </a:lnTo>
                  <a:lnTo>
                    <a:pt x="668" y="117"/>
                  </a:lnTo>
                  <a:lnTo>
                    <a:pt x="711" y="166"/>
                  </a:lnTo>
                  <a:lnTo>
                    <a:pt x="743" y="219"/>
                  </a:lnTo>
                  <a:lnTo>
                    <a:pt x="765" y="275"/>
                  </a:lnTo>
                  <a:lnTo>
                    <a:pt x="779" y="334"/>
                  </a:lnTo>
                  <a:lnTo>
                    <a:pt x="784" y="399"/>
                  </a:lnTo>
                  <a:lnTo>
                    <a:pt x="779" y="462"/>
                  </a:lnTo>
                  <a:lnTo>
                    <a:pt x="765" y="519"/>
                  </a:lnTo>
                  <a:lnTo>
                    <a:pt x="741" y="575"/>
                  </a:lnTo>
                  <a:lnTo>
                    <a:pt x="709" y="626"/>
                  </a:lnTo>
                  <a:lnTo>
                    <a:pt x="668" y="674"/>
                  </a:lnTo>
                  <a:lnTo>
                    <a:pt x="619" y="716"/>
                  </a:lnTo>
                  <a:lnTo>
                    <a:pt x="567" y="749"/>
                  </a:lnTo>
                  <a:lnTo>
                    <a:pt x="512" y="772"/>
                  </a:lnTo>
                  <a:lnTo>
                    <a:pt x="451" y="786"/>
                  </a:lnTo>
                  <a:lnTo>
                    <a:pt x="388" y="789"/>
                  </a:lnTo>
                  <a:lnTo>
                    <a:pt x="326" y="786"/>
                  </a:lnTo>
                  <a:lnTo>
                    <a:pt x="266" y="772"/>
                  </a:lnTo>
                  <a:lnTo>
                    <a:pt x="212" y="750"/>
                  </a:lnTo>
                  <a:lnTo>
                    <a:pt x="159" y="718"/>
                  </a:lnTo>
                  <a:lnTo>
                    <a:pt x="114" y="677"/>
                  </a:lnTo>
                  <a:lnTo>
                    <a:pt x="73" y="630"/>
                  </a:lnTo>
                  <a:lnTo>
                    <a:pt x="41" y="579"/>
                  </a:lnTo>
                  <a:lnTo>
                    <a:pt x="19" y="523"/>
                  </a:lnTo>
                  <a:lnTo>
                    <a:pt x="5" y="463"/>
                  </a:lnTo>
                  <a:lnTo>
                    <a:pt x="0" y="399"/>
                  </a:lnTo>
                  <a:lnTo>
                    <a:pt x="5" y="334"/>
                  </a:lnTo>
                  <a:lnTo>
                    <a:pt x="19" y="275"/>
                  </a:lnTo>
                  <a:lnTo>
                    <a:pt x="41" y="219"/>
                  </a:lnTo>
                  <a:lnTo>
                    <a:pt x="73" y="166"/>
                  </a:lnTo>
                  <a:lnTo>
                    <a:pt x="114" y="117"/>
                  </a:lnTo>
                  <a:lnTo>
                    <a:pt x="163" y="75"/>
                  </a:lnTo>
                  <a:lnTo>
                    <a:pt x="214" y="42"/>
                  </a:lnTo>
                  <a:lnTo>
                    <a:pt x="268" y="19"/>
                  </a:lnTo>
                  <a:lnTo>
                    <a:pt x="327" y="5"/>
                  </a:lnTo>
                  <a:lnTo>
                    <a:pt x="3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5" name="Freeform 11"/>
            <p:cNvSpPr>
              <a:spLocks/>
            </p:cNvSpPr>
            <p:nvPr/>
          </p:nvSpPr>
          <p:spPr bwMode="auto">
            <a:xfrm>
              <a:off x="4371" y="191"/>
              <a:ext cx="5327" cy="2450"/>
            </a:xfrm>
            <a:custGeom>
              <a:avLst/>
              <a:gdLst>
                <a:gd name="T0" fmla="*/ 2282 w 5327"/>
                <a:gd name="T1" fmla="*/ 127 h 2450"/>
                <a:gd name="T2" fmla="*/ 2342 w 5327"/>
                <a:gd name="T3" fmla="*/ 739 h 2450"/>
                <a:gd name="T4" fmla="*/ 2773 w 5327"/>
                <a:gd name="T5" fmla="*/ 737 h 2450"/>
                <a:gd name="T6" fmla="*/ 3136 w 5327"/>
                <a:gd name="T7" fmla="*/ 1061 h 2450"/>
                <a:gd name="T8" fmla="*/ 3448 w 5327"/>
                <a:gd name="T9" fmla="*/ 749 h 2450"/>
                <a:gd name="T10" fmla="*/ 3968 w 5327"/>
                <a:gd name="T11" fmla="*/ 720 h 2450"/>
                <a:gd name="T12" fmla="*/ 4337 w 5327"/>
                <a:gd name="T13" fmla="*/ 1017 h 2450"/>
                <a:gd name="T14" fmla="*/ 4422 w 5327"/>
                <a:gd name="T15" fmla="*/ 1353 h 2450"/>
                <a:gd name="T16" fmla="*/ 4617 w 5327"/>
                <a:gd name="T17" fmla="*/ 1767 h 2450"/>
                <a:gd name="T18" fmla="*/ 5060 w 5327"/>
                <a:gd name="T19" fmla="*/ 1852 h 2450"/>
                <a:gd name="T20" fmla="*/ 5322 w 5327"/>
                <a:gd name="T21" fmla="*/ 2129 h 2450"/>
                <a:gd name="T22" fmla="*/ 5089 w 5327"/>
                <a:gd name="T23" fmla="*/ 2433 h 2450"/>
                <a:gd name="T24" fmla="*/ 4826 w 5327"/>
                <a:gd name="T25" fmla="*/ 2419 h 2450"/>
                <a:gd name="T26" fmla="*/ 4813 w 5327"/>
                <a:gd name="T27" fmla="*/ 2283 h 2450"/>
                <a:gd name="T28" fmla="*/ 4886 w 5327"/>
                <a:gd name="T29" fmla="*/ 2273 h 2450"/>
                <a:gd name="T30" fmla="*/ 5062 w 5327"/>
                <a:gd name="T31" fmla="*/ 2278 h 2450"/>
                <a:gd name="T32" fmla="*/ 5179 w 5327"/>
                <a:gd name="T33" fmla="*/ 2007 h 2450"/>
                <a:gd name="T34" fmla="*/ 4852 w 5327"/>
                <a:gd name="T35" fmla="*/ 2003 h 2450"/>
                <a:gd name="T36" fmla="*/ 4417 w 5327"/>
                <a:gd name="T37" fmla="*/ 1755 h 2450"/>
                <a:gd name="T38" fmla="*/ 4271 w 5327"/>
                <a:gd name="T39" fmla="*/ 1312 h 2450"/>
                <a:gd name="T40" fmla="*/ 4096 w 5327"/>
                <a:gd name="T41" fmla="*/ 961 h 2450"/>
                <a:gd name="T42" fmla="*/ 3679 w 5327"/>
                <a:gd name="T43" fmla="*/ 847 h 2450"/>
                <a:gd name="T44" fmla="*/ 3312 w 5327"/>
                <a:gd name="T45" fmla="*/ 1064 h 2450"/>
                <a:gd name="T46" fmla="*/ 3255 w 5327"/>
                <a:gd name="T47" fmla="*/ 1485 h 2450"/>
                <a:gd name="T48" fmla="*/ 3562 w 5327"/>
                <a:gd name="T49" fmla="*/ 1815 h 2450"/>
                <a:gd name="T50" fmla="*/ 4424 w 5327"/>
                <a:gd name="T51" fmla="*/ 1973 h 2450"/>
                <a:gd name="T52" fmla="*/ 3406 w 5327"/>
                <a:gd name="T53" fmla="*/ 1915 h 2450"/>
                <a:gd name="T54" fmla="*/ 3066 w 5327"/>
                <a:gd name="T55" fmla="*/ 1767 h 2450"/>
                <a:gd name="T56" fmla="*/ 2627 w 5327"/>
                <a:gd name="T57" fmla="*/ 2010 h 2450"/>
                <a:gd name="T58" fmla="*/ 2140 w 5327"/>
                <a:gd name="T59" fmla="*/ 1878 h 2450"/>
                <a:gd name="T60" fmla="*/ 1896 w 5327"/>
                <a:gd name="T61" fmla="*/ 1446 h 2450"/>
                <a:gd name="T62" fmla="*/ 1794 w 5327"/>
                <a:gd name="T63" fmla="*/ 1047 h 2450"/>
                <a:gd name="T64" fmla="*/ 1436 w 5327"/>
                <a:gd name="T65" fmla="*/ 847 h 2450"/>
                <a:gd name="T66" fmla="*/ 348 w 5327"/>
                <a:gd name="T67" fmla="*/ 947 h 2450"/>
                <a:gd name="T68" fmla="*/ 280 w 5327"/>
                <a:gd name="T69" fmla="*/ 888 h 2450"/>
                <a:gd name="T70" fmla="*/ 319 w 5327"/>
                <a:gd name="T71" fmla="*/ 465 h 2450"/>
                <a:gd name="T72" fmla="*/ 555 w 5327"/>
                <a:gd name="T73" fmla="*/ 333 h 2450"/>
                <a:gd name="T74" fmla="*/ 1081 w 5327"/>
                <a:gd name="T75" fmla="*/ 268 h 2450"/>
                <a:gd name="T76" fmla="*/ 531 w 5327"/>
                <a:gd name="T77" fmla="*/ 197 h 2450"/>
                <a:gd name="T78" fmla="*/ 251 w 5327"/>
                <a:gd name="T79" fmla="*/ 324 h 2450"/>
                <a:gd name="T80" fmla="*/ 151 w 5327"/>
                <a:gd name="T81" fmla="*/ 1940 h 2450"/>
                <a:gd name="T82" fmla="*/ 32 w 5327"/>
                <a:gd name="T83" fmla="*/ 2000 h 2450"/>
                <a:gd name="T84" fmla="*/ 10 w 5327"/>
                <a:gd name="T85" fmla="*/ 484 h 2450"/>
                <a:gd name="T86" fmla="*/ 243 w 5327"/>
                <a:gd name="T87" fmla="*/ 136 h 2450"/>
                <a:gd name="T88" fmla="*/ 1032 w 5327"/>
                <a:gd name="T89" fmla="*/ 44 h 2450"/>
                <a:gd name="T90" fmla="*/ 1224 w 5327"/>
                <a:gd name="T91" fmla="*/ 214 h 2450"/>
                <a:gd name="T92" fmla="*/ 1108 w 5327"/>
                <a:gd name="T93" fmla="*/ 452 h 2450"/>
                <a:gd name="T94" fmla="*/ 572 w 5327"/>
                <a:gd name="T95" fmla="*/ 474 h 2450"/>
                <a:gd name="T96" fmla="*/ 416 w 5327"/>
                <a:gd name="T97" fmla="*/ 635 h 2450"/>
                <a:gd name="T98" fmla="*/ 1290 w 5327"/>
                <a:gd name="T99" fmla="*/ 693 h 2450"/>
                <a:gd name="T100" fmla="*/ 1768 w 5327"/>
                <a:gd name="T101" fmla="*/ 808 h 2450"/>
                <a:gd name="T102" fmla="*/ 2028 w 5327"/>
                <a:gd name="T103" fmla="*/ 1226 h 2450"/>
                <a:gd name="T104" fmla="*/ 2147 w 5327"/>
                <a:gd name="T105" fmla="*/ 1660 h 2450"/>
                <a:gd name="T106" fmla="*/ 2554 w 5327"/>
                <a:gd name="T107" fmla="*/ 1852 h 2450"/>
                <a:gd name="T108" fmla="*/ 2954 w 5327"/>
                <a:gd name="T109" fmla="*/ 1662 h 2450"/>
                <a:gd name="T110" fmla="*/ 3041 w 5327"/>
                <a:gd name="T111" fmla="*/ 1226 h 2450"/>
                <a:gd name="T112" fmla="*/ 2751 w 5327"/>
                <a:gd name="T113" fmla="*/ 874 h 2450"/>
                <a:gd name="T114" fmla="*/ 2277 w 5327"/>
                <a:gd name="T115" fmla="*/ 918 h 2450"/>
                <a:gd name="T116" fmla="*/ 2136 w 5327"/>
                <a:gd name="T117" fmla="*/ 165 h 2450"/>
                <a:gd name="T118" fmla="*/ 2021 w 5327"/>
                <a:gd name="T119" fmla="*/ 195 h 2450"/>
                <a:gd name="T120" fmla="*/ 1896 w 5327"/>
                <a:gd name="T121" fmla="*/ 769 h 2450"/>
                <a:gd name="T122" fmla="*/ 1906 w 5327"/>
                <a:gd name="T123" fmla="*/ 93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7" h="2450">
                  <a:moveTo>
                    <a:pt x="2087" y="0"/>
                  </a:moveTo>
                  <a:lnTo>
                    <a:pt x="2130" y="3"/>
                  </a:lnTo>
                  <a:lnTo>
                    <a:pt x="2170" y="15"/>
                  </a:lnTo>
                  <a:lnTo>
                    <a:pt x="2206" y="36"/>
                  </a:lnTo>
                  <a:lnTo>
                    <a:pt x="2237" y="61"/>
                  </a:lnTo>
                  <a:lnTo>
                    <a:pt x="2264" y="92"/>
                  </a:lnTo>
                  <a:lnTo>
                    <a:pt x="2282" y="127"/>
                  </a:lnTo>
                  <a:lnTo>
                    <a:pt x="2296" y="168"/>
                  </a:lnTo>
                  <a:lnTo>
                    <a:pt x="2299" y="212"/>
                  </a:lnTo>
                  <a:lnTo>
                    <a:pt x="2299" y="212"/>
                  </a:lnTo>
                  <a:lnTo>
                    <a:pt x="2301" y="222"/>
                  </a:lnTo>
                  <a:lnTo>
                    <a:pt x="2301" y="233"/>
                  </a:lnTo>
                  <a:lnTo>
                    <a:pt x="2301" y="756"/>
                  </a:lnTo>
                  <a:lnTo>
                    <a:pt x="2342" y="739"/>
                  </a:lnTo>
                  <a:lnTo>
                    <a:pt x="2374" y="727"/>
                  </a:lnTo>
                  <a:lnTo>
                    <a:pt x="2433" y="711"/>
                  </a:lnTo>
                  <a:lnTo>
                    <a:pt x="2495" y="703"/>
                  </a:lnTo>
                  <a:lnTo>
                    <a:pt x="2556" y="699"/>
                  </a:lnTo>
                  <a:lnTo>
                    <a:pt x="2632" y="705"/>
                  </a:lnTo>
                  <a:lnTo>
                    <a:pt x="2703" y="716"/>
                  </a:lnTo>
                  <a:lnTo>
                    <a:pt x="2773" y="737"/>
                  </a:lnTo>
                  <a:lnTo>
                    <a:pt x="2837" y="764"/>
                  </a:lnTo>
                  <a:lnTo>
                    <a:pt x="2900" y="800"/>
                  </a:lnTo>
                  <a:lnTo>
                    <a:pt x="2960" y="844"/>
                  </a:lnTo>
                  <a:lnTo>
                    <a:pt x="3016" y="896"/>
                  </a:lnTo>
                  <a:lnTo>
                    <a:pt x="3063" y="949"/>
                  </a:lnTo>
                  <a:lnTo>
                    <a:pt x="3102" y="1003"/>
                  </a:lnTo>
                  <a:lnTo>
                    <a:pt x="3136" y="1061"/>
                  </a:lnTo>
                  <a:lnTo>
                    <a:pt x="3161" y="1008"/>
                  </a:lnTo>
                  <a:lnTo>
                    <a:pt x="3192" y="959"/>
                  </a:lnTo>
                  <a:lnTo>
                    <a:pt x="3228" y="913"/>
                  </a:lnTo>
                  <a:lnTo>
                    <a:pt x="3267" y="871"/>
                  </a:lnTo>
                  <a:lnTo>
                    <a:pt x="3324" y="822"/>
                  </a:lnTo>
                  <a:lnTo>
                    <a:pt x="3384" y="783"/>
                  </a:lnTo>
                  <a:lnTo>
                    <a:pt x="3448" y="749"/>
                  </a:lnTo>
                  <a:lnTo>
                    <a:pt x="3518" y="723"/>
                  </a:lnTo>
                  <a:lnTo>
                    <a:pt x="3591" y="705"/>
                  </a:lnTo>
                  <a:lnTo>
                    <a:pt x="3667" y="693"/>
                  </a:lnTo>
                  <a:lnTo>
                    <a:pt x="3749" y="689"/>
                  </a:lnTo>
                  <a:lnTo>
                    <a:pt x="3825" y="693"/>
                  </a:lnTo>
                  <a:lnTo>
                    <a:pt x="3898" y="703"/>
                  </a:lnTo>
                  <a:lnTo>
                    <a:pt x="3968" y="720"/>
                  </a:lnTo>
                  <a:lnTo>
                    <a:pt x="4032" y="742"/>
                  </a:lnTo>
                  <a:lnTo>
                    <a:pt x="4093" y="772"/>
                  </a:lnTo>
                  <a:lnTo>
                    <a:pt x="4151" y="808"/>
                  </a:lnTo>
                  <a:lnTo>
                    <a:pt x="4203" y="852"/>
                  </a:lnTo>
                  <a:lnTo>
                    <a:pt x="4253" y="902"/>
                  </a:lnTo>
                  <a:lnTo>
                    <a:pt x="4298" y="958"/>
                  </a:lnTo>
                  <a:lnTo>
                    <a:pt x="4337" y="1017"/>
                  </a:lnTo>
                  <a:lnTo>
                    <a:pt x="4368" y="1078"/>
                  </a:lnTo>
                  <a:lnTo>
                    <a:pt x="4393" y="1141"/>
                  </a:lnTo>
                  <a:lnTo>
                    <a:pt x="4410" y="1207"/>
                  </a:lnTo>
                  <a:lnTo>
                    <a:pt x="4421" y="1277"/>
                  </a:lnTo>
                  <a:lnTo>
                    <a:pt x="4424" y="1348"/>
                  </a:lnTo>
                  <a:lnTo>
                    <a:pt x="4422" y="1350"/>
                  </a:lnTo>
                  <a:lnTo>
                    <a:pt x="4422" y="1353"/>
                  </a:lnTo>
                  <a:lnTo>
                    <a:pt x="4427" y="1423"/>
                  </a:lnTo>
                  <a:lnTo>
                    <a:pt x="4439" y="1489"/>
                  </a:lnTo>
                  <a:lnTo>
                    <a:pt x="4460" y="1552"/>
                  </a:lnTo>
                  <a:lnTo>
                    <a:pt x="4487" y="1611"/>
                  </a:lnTo>
                  <a:lnTo>
                    <a:pt x="4524" y="1667"/>
                  </a:lnTo>
                  <a:lnTo>
                    <a:pt x="4568" y="1721"/>
                  </a:lnTo>
                  <a:lnTo>
                    <a:pt x="4617" y="1767"/>
                  </a:lnTo>
                  <a:lnTo>
                    <a:pt x="4672" y="1806"/>
                  </a:lnTo>
                  <a:lnTo>
                    <a:pt x="4729" y="1835"/>
                  </a:lnTo>
                  <a:lnTo>
                    <a:pt x="4791" y="1857"/>
                  </a:lnTo>
                  <a:lnTo>
                    <a:pt x="4857" y="1869"/>
                  </a:lnTo>
                  <a:lnTo>
                    <a:pt x="4926" y="1874"/>
                  </a:lnTo>
                  <a:lnTo>
                    <a:pt x="4992" y="1869"/>
                  </a:lnTo>
                  <a:lnTo>
                    <a:pt x="5060" y="1852"/>
                  </a:lnTo>
                  <a:lnTo>
                    <a:pt x="5132" y="1827"/>
                  </a:lnTo>
                  <a:lnTo>
                    <a:pt x="5205" y="1789"/>
                  </a:lnTo>
                  <a:lnTo>
                    <a:pt x="5240" y="1767"/>
                  </a:lnTo>
                  <a:lnTo>
                    <a:pt x="5281" y="1738"/>
                  </a:lnTo>
                  <a:lnTo>
                    <a:pt x="5327" y="1703"/>
                  </a:lnTo>
                  <a:lnTo>
                    <a:pt x="5327" y="2068"/>
                  </a:lnTo>
                  <a:lnTo>
                    <a:pt x="5322" y="2129"/>
                  </a:lnTo>
                  <a:lnTo>
                    <a:pt x="5310" y="2185"/>
                  </a:lnTo>
                  <a:lnTo>
                    <a:pt x="5289" y="2237"/>
                  </a:lnTo>
                  <a:lnTo>
                    <a:pt x="5261" y="2288"/>
                  </a:lnTo>
                  <a:lnTo>
                    <a:pt x="5223" y="2336"/>
                  </a:lnTo>
                  <a:lnTo>
                    <a:pt x="5181" y="2377"/>
                  </a:lnTo>
                  <a:lnTo>
                    <a:pt x="5137" y="2409"/>
                  </a:lnTo>
                  <a:lnTo>
                    <a:pt x="5089" y="2433"/>
                  </a:lnTo>
                  <a:lnTo>
                    <a:pt x="5042" y="2446"/>
                  </a:lnTo>
                  <a:lnTo>
                    <a:pt x="4991" y="2450"/>
                  </a:lnTo>
                  <a:lnTo>
                    <a:pt x="4935" y="2448"/>
                  </a:lnTo>
                  <a:lnTo>
                    <a:pt x="4886" y="2440"/>
                  </a:lnTo>
                  <a:lnTo>
                    <a:pt x="4841" y="2426"/>
                  </a:lnTo>
                  <a:lnTo>
                    <a:pt x="4833" y="2423"/>
                  </a:lnTo>
                  <a:lnTo>
                    <a:pt x="4826" y="2419"/>
                  </a:lnTo>
                  <a:lnTo>
                    <a:pt x="4808" y="2407"/>
                  </a:lnTo>
                  <a:lnTo>
                    <a:pt x="4794" y="2390"/>
                  </a:lnTo>
                  <a:lnTo>
                    <a:pt x="4784" y="2370"/>
                  </a:lnTo>
                  <a:lnTo>
                    <a:pt x="4780" y="2348"/>
                  </a:lnTo>
                  <a:lnTo>
                    <a:pt x="4785" y="2322"/>
                  </a:lnTo>
                  <a:lnTo>
                    <a:pt x="4796" y="2300"/>
                  </a:lnTo>
                  <a:lnTo>
                    <a:pt x="4813" y="2283"/>
                  </a:lnTo>
                  <a:lnTo>
                    <a:pt x="4835" y="2273"/>
                  </a:lnTo>
                  <a:lnTo>
                    <a:pt x="4860" y="2268"/>
                  </a:lnTo>
                  <a:lnTo>
                    <a:pt x="4867" y="2268"/>
                  </a:lnTo>
                  <a:lnTo>
                    <a:pt x="4875" y="2270"/>
                  </a:lnTo>
                  <a:lnTo>
                    <a:pt x="4875" y="2270"/>
                  </a:lnTo>
                  <a:lnTo>
                    <a:pt x="4875" y="2270"/>
                  </a:lnTo>
                  <a:lnTo>
                    <a:pt x="4886" y="2273"/>
                  </a:lnTo>
                  <a:lnTo>
                    <a:pt x="4903" y="2277"/>
                  </a:lnTo>
                  <a:lnTo>
                    <a:pt x="4925" y="2282"/>
                  </a:lnTo>
                  <a:lnTo>
                    <a:pt x="4952" y="2285"/>
                  </a:lnTo>
                  <a:lnTo>
                    <a:pt x="4981" y="2288"/>
                  </a:lnTo>
                  <a:lnTo>
                    <a:pt x="5009" y="2288"/>
                  </a:lnTo>
                  <a:lnTo>
                    <a:pt x="5038" y="2287"/>
                  </a:lnTo>
                  <a:lnTo>
                    <a:pt x="5062" y="2278"/>
                  </a:lnTo>
                  <a:lnTo>
                    <a:pt x="5093" y="2260"/>
                  </a:lnTo>
                  <a:lnTo>
                    <a:pt x="5118" y="2236"/>
                  </a:lnTo>
                  <a:lnTo>
                    <a:pt x="5140" y="2205"/>
                  </a:lnTo>
                  <a:lnTo>
                    <a:pt x="5157" y="2166"/>
                  </a:lnTo>
                  <a:lnTo>
                    <a:pt x="5169" y="2120"/>
                  </a:lnTo>
                  <a:lnTo>
                    <a:pt x="5176" y="2068"/>
                  </a:lnTo>
                  <a:lnTo>
                    <a:pt x="5179" y="2007"/>
                  </a:lnTo>
                  <a:lnTo>
                    <a:pt x="5179" y="1952"/>
                  </a:lnTo>
                  <a:lnTo>
                    <a:pt x="5140" y="1968"/>
                  </a:lnTo>
                  <a:lnTo>
                    <a:pt x="5110" y="1978"/>
                  </a:lnTo>
                  <a:lnTo>
                    <a:pt x="5047" y="1995"/>
                  </a:lnTo>
                  <a:lnTo>
                    <a:pt x="4986" y="2005"/>
                  </a:lnTo>
                  <a:lnTo>
                    <a:pt x="4926" y="2007"/>
                  </a:lnTo>
                  <a:lnTo>
                    <a:pt x="4852" y="2003"/>
                  </a:lnTo>
                  <a:lnTo>
                    <a:pt x="4780" y="1991"/>
                  </a:lnTo>
                  <a:lnTo>
                    <a:pt x="4711" y="1971"/>
                  </a:lnTo>
                  <a:lnTo>
                    <a:pt x="4646" y="1944"/>
                  </a:lnTo>
                  <a:lnTo>
                    <a:pt x="4584" y="1906"/>
                  </a:lnTo>
                  <a:lnTo>
                    <a:pt x="4522" y="1862"/>
                  </a:lnTo>
                  <a:lnTo>
                    <a:pt x="4466" y="1810"/>
                  </a:lnTo>
                  <a:lnTo>
                    <a:pt x="4417" y="1755"/>
                  </a:lnTo>
                  <a:lnTo>
                    <a:pt x="4375" y="1698"/>
                  </a:lnTo>
                  <a:lnTo>
                    <a:pt x="4339" y="1638"/>
                  </a:lnTo>
                  <a:lnTo>
                    <a:pt x="4312" y="1577"/>
                  </a:lnTo>
                  <a:lnTo>
                    <a:pt x="4292" y="1511"/>
                  </a:lnTo>
                  <a:lnTo>
                    <a:pt x="4280" y="1443"/>
                  </a:lnTo>
                  <a:lnTo>
                    <a:pt x="4273" y="1370"/>
                  </a:lnTo>
                  <a:lnTo>
                    <a:pt x="4271" y="1312"/>
                  </a:lnTo>
                  <a:lnTo>
                    <a:pt x="4263" y="1256"/>
                  </a:lnTo>
                  <a:lnTo>
                    <a:pt x="4249" y="1200"/>
                  </a:lnTo>
                  <a:lnTo>
                    <a:pt x="4229" y="1146"/>
                  </a:lnTo>
                  <a:lnTo>
                    <a:pt x="4205" y="1095"/>
                  </a:lnTo>
                  <a:lnTo>
                    <a:pt x="4175" y="1047"/>
                  </a:lnTo>
                  <a:lnTo>
                    <a:pt x="4141" y="1003"/>
                  </a:lnTo>
                  <a:lnTo>
                    <a:pt x="4096" y="961"/>
                  </a:lnTo>
                  <a:lnTo>
                    <a:pt x="4049" y="925"/>
                  </a:lnTo>
                  <a:lnTo>
                    <a:pt x="3998" y="896"/>
                  </a:lnTo>
                  <a:lnTo>
                    <a:pt x="3942" y="873"/>
                  </a:lnTo>
                  <a:lnTo>
                    <a:pt x="3881" y="856"/>
                  </a:lnTo>
                  <a:lnTo>
                    <a:pt x="3818" y="847"/>
                  </a:lnTo>
                  <a:lnTo>
                    <a:pt x="3749" y="844"/>
                  </a:lnTo>
                  <a:lnTo>
                    <a:pt x="3679" y="847"/>
                  </a:lnTo>
                  <a:lnTo>
                    <a:pt x="3613" y="859"/>
                  </a:lnTo>
                  <a:lnTo>
                    <a:pt x="3550" y="878"/>
                  </a:lnTo>
                  <a:lnTo>
                    <a:pt x="3491" y="903"/>
                  </a:lnTo>
                  <a:lnTo>
                    <a:pt x="3436" y="937"/>
                  </a:lnTo>
                  <a:lnTo>
                    <a:pt x="3385" y="978"/>
                  </a:lnTo>
                  <a:lnTo>
                    <a:pt x="3345" y="1019"/>
                  </a:lnTo>
                  <a:lnTo>
                    <a:pt x="3312" y="1064"/>
                  </a:lnTo>
                  <a:lnTo>
                    <a:pt x="3285" y="1114"/>
                  </a:lnTo>
                  <a:lnTo>
                    <a:pt x="3265" y="1168"/>
                  </a:lnTo>
                  <a:lnTo>
                    <a:pt x="3250" y="1226"/>
                  </a:lnTo>
                  <a:lnTo>
                    <a:pt x="3240" y="1289"/>
                  </a:lnTo>
                  <a:lnTo>
                    <a:pt x="3238" y="1356"/>
                  </a:lnTo>
                  <a:lnTo>
                    <a:pt x="3241" y="1423"/>
                  </a:lnTo>
                  <a:lnTo>
                    <a:pt x="3255" y="1485"/>
                  </a:lnTo>
                  <a:lnTo>
                    <a:pt x="3275" y="1547"/>
                  </a:lnTo>
                  <a:lnTo>
                    <a:pt x="3306" y="1603"/>
                  </a:lnTo>
                  <a:lnTo>
                    <a:pt x="3345" y="1657"/>
                  </a:lnTo>
                  <a:lnTo>
                    <a:pt x="3392" y="1706"/>
                  </a:lnTo>
                  <a:lnTo>
                    <a:pt x="3447" y="1750"/>
                  </a:lnTo>
                  <a:lnTo>
                    <a:pt x="3503" y="1786"/>
                  </a:lnTo>
                  <a:lnTo>
                    <a:pt x="3562" y="1815"/>
                  </a:lnTo>
                  <a:lnTo>
                    <a:pt x="3625" y="1835"/>
                  </a:lnTo>
                  <a:lnTo>
                    <a:pt x="3691" y="1847"/>
                  </a:lnTo>
                  <a:lnTo>
                    <a:pt x="3760" y="1850"/>
                  </a:lnTo>
                  <a:lnTo>
                    <a:pt x="4307" y="1850"/>
                  </a:lnTo>
                  <a:lnTo>
                    <a:pt x="4339" y="1889"/>
                  </a:lnTo>
                  <a:lnTo>
                    <a:pt x="4375" y="1925"/>
                  </a:lnTo>
                  <a:lnTo>
                    <a:pt x="4424" y="1973"/>
                  </a:lnTo>
                  <a:lnTo>
                    <a:pt x="4477" y="2013"/>
                  </a:lnTo>
                  <a:lnTo>
                    <a:pt x="3760" y="2013"/>
                  </a:lnTo>
                  <a:lnTo>
                    <a:pt x="3684" y="2010"/>
                  </a:lnTo>
                  <a:lnTo>
                    <a:pt x="3611" y="1998"/>
                  </a:lnTo>
                  <a:lnTo>
                    <a:pt x="3540" y="1978"/>
                  </a:lnTo>
                  <a:lnTo>
                    <a:pt x="3470" y="1951"/>
                  </a:lnTo>
                  <a:lnTo>
                    <a:pt x="3406" y="1915"/>
                  </a:lnTo>
                  <a:lnTo>
                    <a:pt x="3343" y="1873"/>
                  </a:lnTo>
                  <a:lnTo>
                    <a:pt x="3284" y="1822"/>
                  </a:lnTo>
                  <a:lnTo>
                    <a:pt x="3229" y="1766"/>
                  </a:lnTo>
                  <a:lnTo>
                    <a:pt x="3184" y="1706"/>
                  </a:lnTo>
                  <a:lnTo>
                    <a:pt x="3146" y="1643"/>
                  </a:lnTo>
                  <a:lnTo>
                    <a:pt x="3111" y="1708"/>
                  </a:lnTo>
                  <a:lnTo>
                    <a:pt x="3066" y="1767"/>
                  </a:lnTo>
                  <a:lnTo>
                    <a:pt x="3016" y="1825"/>
                  </a:lnTo>
                  <a:lnTo>
                    <a:pt x="2958" y="1876"/>
                  </a:lnTo>
                  <a:lnTo>
                    <a:pt x="2898" y="1918"/>
                  </a:lnTo>
                  <a:lnTo>
                    <a:pt x="2836" y="1952"/>
                  </a:lnTo>
                  <a:lnTo>
                    <a:pt x="2769" y="1979"/>
                  </a:lnTo>
                  <a:lnTo>
                    <a:pt x="2700" y="2000"/>
                  </a:lnTo>
                  <a:lnTo>
                    <a:pt x="2627" y="2010"/>
                  </a:lnTo>
                  <a:lnTo>
                    <a:pt x="2551" y="2015"/>
                  </a:lnTo>
                  <a:lnTo>
                    <a:pt x="2472" y="2010"/>
                  </a:lnTo>
                  <a:lnTo>
                    <a:pt x="2400" y="2000"/>
                  </a:lnTo>
                  <a:lnTo>
                    <a:pt x="2330" y="1979"/>
                  </a:lnTo>
                  <a:lnTo>
                    <a:pt x="2262" y="1954"/>
                  </a:lnTo>
                  <a:lnTo>
                    <a:pt x="2199" y="1918"/>
                  </a:lnTo>
                  <a:lnTo>
                    <a:pt x="2140" y="1878"/>
                  </a:lnTo>
                  <a:lnTo>
                    <a:pt x="2082" y="1828"/>
                  </a:lnTo>
                  <a:lnTo>
                    <a:pt x="2033" y="1772"/>
                  </a:lnTo>
                  <a:lnTo>
                    <a:pt x="1989" y="1715"/>
                  </a:lnTo>
                  <a:lnTo>
                    <a:pt x="1955" y="1654"/>
                  </a:lnTo>
                  <a:lnTo>
                    <a:pt x="1926" y="1587"/>
                  </a:lnTo>
                  <a:lnTo>
                    <a:pt x="1907" y="1519"/>
                  </a:lnTo>
                  <a:lnTo>
                    <a:pt x="1896" y="1446"/>
                  </a:lnTo>
                  <a:lnTo>
                    <a:pt x="1890" y="1370"/>
                  </a:lnTo>
                  <a:lnTo>
                    <a:pt x="1889" y="1312"/>
                  </a:lnTo>
                  <a:lnTo>
                    <a:pt x="1880" y="1256"/>
                  </a:lnTo>
                  <a:lnTo>
                    <a:pt x="1867" y="1200"/>
                  </a:lnTo>
                  <a:lnTo>
                    <a:pt x="1848" y="1146"/>
                  </a:lnTo>
                  <a:lnTo>
                    <a:pt x="1823" y="1095"/>
                  </a:lnTo>
                  <a:lnTo>
                    <a:pt x="1794" y="1047"/>
                  </a:lnTo>
                  <a:lnTo>
                    <a:pt x="1758" y="1003"/>
                  </a:lnTo>
                  <a:lnTo>
                    <a:pt x="1716" y="961"/>
                  </a:lnTo>
                  <a:lnTo>
                    <a:pt x="1668" y="925"/>
                  </a:lnTo>
                  <a:lnTo>
                    <a:pt x="1616" y="896"/>
                  </a:lnTo>
                  <a:lnTo>
                    <a:pt x="1560" y="873"/>
                  </a:lnTo>
                  <a:lnTo>
                    <a:pt x="1500" y="856"/>
                  </a:lnTo>
                  <a:lnTo>
                    <a:pt x="1436" y="847"/>
                  </a:lnTo>
                  <a:lnTo>
                    <a:pt x="1368" y="844"/>
                  </a:lnTo>
                  <a:lnTo>
                    <a:pt x="1295" y="847"/>
                  </a:lnTo>
                  <a:lnTo>
                    <a:pt x="1224" y="859"/>
                  </a:lnTo>
                  <a:lnTo>
                    <a:pt x="1159" y="881"/>
                  </a:lnTo>
                  <a:lnTo>
                    <a:pt x="1098" y="910"/>
                  </a:lnTo>
                  <a:lnTo>
                    <a:pt x="1040" y="947"/>
                  </a:lnTo>
                  <a:lnTo>
                    <a:pt x="348" y="947"/>
                  </a:lnTo>
                  <a:lnTo>
                    <a:pt x="346" y="947"/>
                  </a:lnTo>
                  <a:lnTo>
                    <a:pt x="322" y="944"/>
                  </a:lnTo>
                  <a:lnTo>
                    <a:pt x="305" y="935"/>
                  </a:lnTo>
                  <a:lnTo>
                    <a:pt x="294" y="925"/>
                  </a:lnTo>
                  <a:lnTo>
                    <a:pt x="287" y="912"/>
                  </a:lnTo>
                  <a:lnTo>
                    <a:pt x="282" y="898"/>
                  </a:lnTo>
                  <a:lnTo>
                    <a:pt x="280" y="888"/>
                  </a:lnTo>
                  <a:lnTo>
                    <a:pt x="278" y="879"/>
                  </a:lnTo>
                  <a:lnTo>
                    <a:pt x="278" y="876"/>
                  </a:lnTo>
                  <a:lnTo>
                    <a:pt x="278" y="621"/>
                  </a:lnTo>
                  <a:lnTo>
                    <a:pt x="282" y="582"/>
                  </a:lnTo>
                  <a:lnTo>
                    <a:pt x="288" y="543"/>
                  </a:lnTo>
                  <a:lnTo>
                    <a:pt x="302" y="504"/>
                  </a:lnTo>
                  <a:lnTo>
                    <a:pt x="319" y="465"/>
                  </a:lnTo>
                  <a:lnTo>
                    <a:pt x="343" y="430"/>
                  </a:lnTo>
                  <a:lnTo>
                    <a:pt x="370" y="399"/>
                  </a:lnTo>
                  <a:lnTo>
                    <a:pt x="402" y="374"/>
                  </a:lnTo>
                  <a:lnTo>
                    <a:pt x="436" y="355"/>
                  </a:lnTo>
                  <a:lnTo>
                    <a:pt x="473" y="343"/>
                  </a:lnTo>
                  <a:lnTo>
                    <a:pt x="512" y="336"/>
                  </a:lnTo>
                  <a:lnTo>
                    <a:pt x="555" y="333"/>
                  </a:lnTo>
                  <a:lnTo>
                    <a:pt x="599" y="331"/>
                  </a:lnTo>
                  <a:lnTo>
                    <a:pt x="1018" y="331"/>
                  </a:lnTo>
                  <a:lnTo>
                    <a:pt x="1039" y="328"/>
                  </a:lnTo>
                  <a:lnTo>
                    <a:pt x="1056" y="319"/>
                  </a:lnTo>
                  <a:lnTo>
                    <a:pt x="1069" y="304"/>
                  </a:lnTo>
                  <a:lnTo>
                    <a:pt x="1078" y="287"/>
                  </a:lnTo>
                  <a:lnTo>
                    <a:pt x="1081" y="268"/>
                  </a:lnTo>
                  <a:lnTo>
                    <a:pt x="1079" y="250"/>
                  </a:lnTo>
                  <a:lnTo>
                    <a:pt x="1071" y="228"/>
                  </a:lnTo>
                  <a:lnTo>
                    <a:pt x="1059" y="211"/>
                  </a:lnTo>
                  <a:lnTo>
                    <a:pt x="1044" y="200"/>
                  </a:lnTo>
                  <a:lnTo>
                    <a:pt x="1027" y="195"/>
                  </a:lnTo>
                  <a:lnTo>
                    <a:pt x="570" y="195"/>
                  </a:lnTo>
                  <a:lnTo>
                    <a:pt x="531" y="197"/>
                  </a:lnTo>
                  <a:lnTo>
                    <a:pt x="490" y="200"/>
                  </a:lnTo>
                  <a:lnTo>
                    <a:pt x="450" y="205"/>
                  </a:lnTo>
                  <a:lnTo>
                    <a:pt x="407" y="217"/>
                  </a:lnTo>
                  <a:lnTo>
                    <a:pt x="367" y="233"/>
                  </a:lnTo>
                  <a:lnTo>
                    <a:pt x="326" y="256"/>
                  </a:lnTo>
                  <a:lnTo>
                    <a:pt x="287" y="287"/>
                  </a:lnTo>
                  <a:lnTo>
                    <a:pt x="251" y="324"/>
                  </a:lnTo>
                  <a:lnTo>
                    <a:pt x="214" y="375"/>
                  </a:lnTo>
                  <a:lnTo>
                    <a:pt x="187" y="430"/>
                  </a:lnTo>
                  <a:lnTo>
                    <a:pt x="166" y="486"/>
                  </a:lnTo>
                  <a:lnTo>
                    <a:pt x="156" y="547"/>
                  </a:lnTo>
                  <a:lnTo>
                    <a:pt x="151" y="610"/>
                  </a:lnTo>
                  <a:lnTo>
                    <a:pt x="151" y="1940"/>
                  </a:lnTo>
                  <a:lnTo>
                    <a:pt x="151" y="1940"/>
                  </a:lnTo>
                  <a:lnTo>
                    <a:pt x="148" y="1964"/>
                  </a:lnTo>
                  <a:lnTo>
                    <a:pt x="136" y="1983"/>
                  </a:lnTo>
                  <a:lnTo>
                    <a:pt x="119" y="2000"/>
                  </a:lnTo>
                  <a:lnTo>
                    <a:pt x="98" y="2010"/>
                  </a:lnTo>
                  <a:lnTo>
                    <a:pt x="76" y="2013"/>
                  </a:lnTo>
                  <a:lnTo>
                    <a:pt x="53" y="2010"/>
                  </a:lnTo>
                  <a:lnTo>
                    <a:pt x="32" y="2000"/>
                  </a:lnTo>
                  <a:lnTo>
                    <a:pt x="15" y="1983"/>
                  </a:lnTo>
                  <a:lnTo>
                    <a:pt x="5" y="1964"/>
                  </a:lnTo>
                  <a:lnTo>
                    <a:pt x="0" y="1940"/>
                  </a:lnTo>
                  <a:lnTo>
                    <a:pt x="0" y="1940"/>
                  </a:lnTo>
                  <a:lnTo>
                    <a:pt x="0" y="611"/>
                  </a:lnTo>
                  <a:lnTo>
                    <a:pt x="3" y="545"/>
                  </a:lnTo>
                  <a:lnTo>
                    <a:pt x="10" y="484"/>
                  </a:lnTo>
                  <a:lnTo>
                    <a:pt x="24" y="426"/>
                  </a:lnTo>
                  <a:lnTo>
                    <a:pt x="44" y="374"/>
                  </a:lnTo>
                  <a:lnTo>
                    <a:pt x="70" y="321"/>
                  </a:lnTo>
                  <a:lnTo>
                    <a:pt x="104" y="272"/>
                  </a:lnTo>
                  <a:lnTo>
                    <a:pt x="143" y="222"/>
                  </a:lnTo>
                  <a:lnTo>
                    <a:pt x="190" y="177"/>
                  </a:lnTo>
                  <a:lnTo>
                    <a:pt x="243" y="136"/>
                  </a:lnTo>
                  <a:lnTo>
                    <a:pt x="299" y="104"/>
                  </a:lnTo>
                  <a:lnTo>
                    <a:pt x="361" y="78"/>
                  </a:lnTo>
                  <a:lnTo>
                    <a:pt x="426" y="60"/>
                  </a:lnTo>
                  <a:lnTo>
                    <a:pt x="496" y="48"/>
                  </a:lnTo>
                  <a:lnTo>
                    <a:pt x="570" y="44"/>
                  </a:lnTo>
                  <a:lnTo>
                    <a:pt x="1023" y="44"/>
                  </a:lnTo>
                  <a:lnTo>
                    <a:pt x="1032" y="44"/>
                  </a:lnTo>
                  <a:lnTo>
                    <a:pt x="1050" y="46"/>
                  </a:lnTo>
                  <a:lnTo>
                    <a:pt x="1093" y="58"/>
                  </a:lnTo>
                  <a:lnTo>
                    <a:pt x="1130" y="76"/>
                  </a:lnTo>
                  <a:lnTo>
                    <a:pt x="1162" y="104"/>
                  </a:lnTo>
                  <a:lnTo>
                    <a:pt x="1190" y="136"/>
                  </a:lnTo>
                  <a:lnTo>
                    <a:pt x="1210" y="173"/>
                  </a:lnTo>
                  <a:lnTo>
                    <a:pt x="1224" y="214"/>
                  </a:lnTo>
                  <a:lnTo>
                    <a:pt x="1229" y="258"/>
                  </a:lnTo>
                  <a:lnTo>
                    <a:pt x="1224" y="299"/>
                  </a:lnTo>
                  <a:lnTo>
                    <a:pt x="1213" y="338"/>
                  </a:lnTo>
                  <a:lnTo>
                    <a:pt x="1195" y="374"/>
                  </a:lnTo>
                  <a:lnTo>
                    <a:pt x="1171" y="404"/>
                  </a:lnTo>
                  <a:lnTo>
                    <a:pt x="1142" y="430"/>
                  </a:lnTo>
                  <a:lnTo>
                    <a:pt x="1108" y="452"/>
                  </a:lnTo>
                  <a:lnTo>
                    <a:pt x="1081" y="460"/>
                  </a:lnTo>
                  <a:lnTo>
                    <a:pt x="1056" y="467"/>
                  </a:lnTo>
                  <a:lnTo>
                    <a:pt x="1037" y="470"/>
                  </a:lnTo>
                  <a:lnTo>
                    <a:pt x="1022" y="472"/>
                  </a:lnTo>
                  <a:lnTo>
                    <a:pt x="1016" y="472"/>
                  </a:lnTo>
                  <a:lnTo>
                    <a:pt x="623" y="472"/>
                  </a:lnTo>
                  <a:lnTo>
                    <a:pt x="572" y="474"/>
                  </a:lnTo>
                  <a:lnTo>
                    <a:pt x="529" y="481"/>
                  </a:lnTo>
                  <a:lnTo>
                    <a:pt x="494" y="491"/>
                  </a:lnTo>
                  <a:lnTo>
                    <a:pt x="467" y="506"/>
                  </a:lnTo>
                  <a:lnTo>
                    <a:pt x="445" y="528"/>
                  </a:lnTo>
                  <a:lnTo>
                    <a:pt x="429" y="557"/>
                  </a:lnTo>
                  <a:lnTo>
                    <a:pt x="419" y="593"/>
                  </a:lnTo>
                  <a:lnTo>
                    <a:pt x="416" y="635"/>
                  </a:lnTo>
                  <a:lnTo>
                    <a:pt x="416" y="815"/>
                  </a:lnTo>
                  <a:lnTo>
                    <a:pt x="954" y="815"/>
                  </a:lnTo>
                  <a:lnTo>
                    <a:pt x="1013" y="778"/>
                  </a:lnTo>
                  <a:lnTo>
                    <a:pt x="1076" y="745"/>
                  </a:lnTo>
                  <a:lnTo>
                    <a:pt x="1142" y="722"/>
                  </a:lnTo>
                  <a:lnTo>
                    <a:pt x="1213" y="705"/>
                  </a:lnTo>
                  <a:lnTo>
                    <a:pt x="1290" y="693"/>
                  </a:lnTo>
                  <a:lnTo>
                    <a:pt x="1368" y="689"/>
                  </a:lnTo>
                  <a:lnTo>
                    <a:pt x="1444" y="693"/>
                  </a:lnTo>
                  <a:lnTo>
                    <a:pt x="1517" y="703"/>
                  </a:lnTo>
                  <a:lnTo>
                    <a:pt x="1585" y="720"/>
                  </a:lnTo>
                  <a:lnTo>
                    <a:pt x="1649" y="742"/>
                  </a:lnTo>
                  <a:lnTo>
                    <a:pt x="1711" y="772"/>
                  </a:lnTo>
                  <a:lnTo>
                    <a:pt x="1768" y="808"/>
                  </a:lnTo>
                  <a:lnTo>
                    <a:pt x="1823" y="852"/>
                  </a:lnTo>
                  <a:lnTo>
                    <a:pt x="1872" y="902"/>
                  </a:lnTo>
                  <a:lnTo>
                    <a:pt x="1918" y="959"/>
                  </a:lnTo>
                  <a:lnTo>
                    <a:pt x="1957" y="1020"/>
                  </a:lnTo>
                  <a:lnTo>
                    <a:pt x="1987" y="1087"/>
                  </a:lnTo>
                  <a:lnTo>
                    <a:pt x="2011" y="1154"/>
                  </a:lnTo>
                  <a:lnTo>
                    <a:pt x="2028" y="1226"/>
                  </a:lnTo>
                  <a:lnTo>
                    <a:pt x="2038" y="1297"/>
                  </a:lnTo>
                  <a:lnTo>
                    <a:pt x="2041" y="1370"/>
                  </a:lnTo>
                  <a:lnTo>
                    <a:pt x="2047" y="1435"/>
                  </a:lnTo>
                  <a:lnTo>
                    <a:pt x="2060" y="1496"/>
                  </a:lnTo>
                  <a:lnTo>
                    <a:pt x="2080" y="1555"/>
                  </a:lnTo>
                  <a:lnTo>
                    <a:pt x="2111" y="1609"/>
                  </a:lnTo>
                  <a:lnTo>
                    <a:pt x="2147" y="1660"/>
                  </a:lnTo>
                  <a:lnTo>
                    <a:pt x="2192" y="1710"/>
                  </a:lnTo>
                  <a:lnTo>
                    <a:pt x="2245" y="1754"/>
                  </a:lnTo>
                  <a:lnTo>
                    <a:pt x="2301" y="1789"/>
                  </a:lnTo>
                  <a:lnTo>
                    <a:pt x="2359" y="1816"/>
                  </a:lnTo>
                  <a:lnTo>
                    <a:pt x="2420" y="1837"/>
                  </a:lnTo>
                  <a:lnTo>
                    <a:pt x="2484" y="1849"/>
                  </a:lnTo>
                  <a:lnTo>
                    <a:pt x="2554" y="1852"/>
                  </a:lnTo>
                  <a:lnTo>
                    <a:pt x="2620" y="1849"/>
                  </a:lnTo>
                  <a:lnTo>
                    <a:pt x="2685" y="1837"/>
                  </a:lnTo>
                  <a:lnTo>
                    <a:pt x="2746" y="1816"/>
                  </a:lnTo>
                  <a:lnTo>
                    <a:pt x="2803" y="1789"/>
                  </a:lnTo>
                  <a:lnTo>
                    <a:pt x="2858" y="1754"/>
                  </a:lnTo>
                  <a:lnTo>
                    <a:pt x="2909" y="1711"/>
                  </a:lnTo>
                  <a:lnTo>
                    <a:pt x="2954" y="1662"/>
                  </a:lnTo>
                  <a:lnTo>
                    <a:pt x="2992" y="1609"/>
                  </a:lnTo>
                  <a:lnTo>
                    <a:pt x="3021" y="1553"/>
                  </a:lnTo>
                  <a:lnTo>
                    <a:pt x="3041" y="1494"/>
                  </a:lnTo>
                  <a:lnTo>
                    <a:pt x="3053" y="1429"/>
                  </a:lnTo>
                  <a:lnTo>
                    <a:pt x="3056" y="1363"/>
                  </a:lnTo>
                  <a:lnTo>
                    <a:pt x="3053" y="1292"/>
                  </a:lnTo>
                  <a:lnTo>
                    <a:pt x="3041" y="1226"/>
                  </a:lnTo>
                  <a:lnTo>
                    <a:pt x="3021" y="1163"/>
                  </a:lnTo>
                  <a:lnTo>
                    <a:pt x="2992" y="1102"/>
                  </a:lnTo>
                  <a:lnTo>
                    <a:pt x="2956" y="1046"/>
                  </a:lnTo>
                  <a:lnTo>
                    <a:pt x="2912" y="991"/>
                  </a:lnTo>
                  <a:lnTo>
                    <a:pt x="2861" y="944"/>
                  </a:lnTo>
                  <a:lnTo>
                    <a:pt x="2808" y="905"/>
                  </a:lnTo>
                  <a:lnTo>
                    <a:pt x="2751" y="874"/>
                  </a:lnTo>
                  <a:lnTo>
                    <a:pt x="2690" y="854"/>
                  </a:lnTo>
                  <a:lnTo>
                    <a:pt x="2625" y="840"/>
                  </a:lnTo>
                  <a:lnTo>
                    <a:pt x="2556" y="835"/>
                  </a:lnTo>
                  <a:lnTo>
                    <a:pt x="2489" y="840"/>
                  </a:lnTo>
                  <a:lnTo>
                    <a:pt x="2420" y="857"/>
                  </a:lnTo>
                  <a:lnTo>
                    <a:pt x="2350" y="883"/>
                  </a:lnTo>
                  <a:lnTo>
                    <a:pt x="2277" y="918"/>
                  </a:lnTo>
                  <a:lnTo>
                    <a:pt x="2243" y="939"/>
                  </a:lnTo>
                  <a:lnTo>
                    <a:pt x="2203" y="968"/>
                  </a:lnTo>
                  <a:lnTo>
                    <a:pt x="2157" y="1003"/>
                  </a:lnTo>
                  <a:lnTo>
                    <a:pt x="2157" y="212"/>
                  </a:lnTo>
                  <a:lnTo>
                    <a:pt x="2153" y="192"/>
                  </a:lnTo>
                  <a:lnTo>
                    <a:pt x="2147" y="177"/>
                  </a:lnTo>
                  <a:lnTo>
                    <a:pt x="2136" y="165"/>
                  </a:lnTo>
                  <a:lnTo>
                    <a:pt x="2121" y="156"/>
                  </a:lnTo>
                  <a:lnTo>
                    <a:pt x="2106" y="153"/>
                  </a:lnTo>
                  <a:lnTo>
                    <a:pt x="2087" y="151"/>
                  </a:lnTo>
                  <a:lnTo>
                    <a:pt x="2065" y="155"/>
                  </a:lnTo>
                  <a:lnTo>
                    <a:pt x="2047" y="163"/>
                  </a:lnTo>
                  <a:lnTo>
                    <a:pt x="2031" y="178"/>
                  </a:lnTo>
                  <a:lnTo>
                    <a:pt x="2021" y="195"/>
                  </a:lnTo>
                  <a:lnTo>
                    <a:pt x="2018" y="212"/>
                  </a:lnTo>
                  <a:lnTo>
                    <a:pt x="2016" y="216"/>
                  </a:lnTo>
                  <a:lnTo>
                    <a:pt x="2016" y="915"/>
                  </a:lnTo>
                  <a:lnTo>
                    <a:pt x="1991" y="874"/>
                  </a:lnTo>
                  <a:lnTo>
                    <a:pt x="1960" y="837"/>
                  </a:lnTo>
                  <a:lnTo>
                    <a:pt x="1928" y="801"/>
                  </a:lnTo>
                  <a:lnTo>
                    <a:pt x="1896" y="769"/>
                  </a:lnTo>
                  <a:lnTo>
                    <a:pt x="1867" y="744"/>
                  </a:lnTo>
                  <a:lnTo>
                    <a:pt x="1867" y="216"/>
                  </a:lnTo>
                  <a:lnTo>
                    <a:pt x="1867" y="212"/>
                  </a:lnTo>
                  <a:lnTo>
                    <a:pt x="1867" y="212"/>
                  </a:lnTo>
                  <a:lnTo>
                    <a:pt x="1870" y="168"/>
                  </a:lnTo>
                  <a:lnTo>
                    <a:pt x="1884" y="129"/>
                  </a:lnTo>
                  <a:lnTo>
                    <a:pt x="1906" y="93"/>
                  </a:lnTo>
                  <a:lnTo>
                    <a:pt x="1933" y="61"/>
                  </a:lnTo>
                  <a:lnTo>
                    <a:pt x="1967" y="36"/>
                  </a:lnTo>
                  <a:lnTo>
                    <a:pt x="2004" y="15"/>
                  </a:lnTo>
                  <a:lnTo>
                    <a:pt x="2045" y="3"/>
                  </a:lnTo>
                  <a:lnTo>
                    <a:pt x="20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6" name="Freeform 12"/>
            <p:cNvSpPr>
              <a:spLocks noEditPoints="1"/>
            </p:cNvSpPr>
            <p:nvPr/>
          </p:nvSpPr>
          <p:spPr bwMode="auto">
            <a:xfrm>
              <a:off x="5354" y="1162"/>
              <a:ext cx="860" cy="761"/>
            </a:xfrm>
            <a:custGeom>
              <a:avLst/>
              <a:gdLst>
                <a:gd name="T0" fmla="*/ 344 w 860"/>
                <a:gd name="T1" fmla="*/ 151 h 761"/>
                <a:gd name="T2" fmla="*/ 264 w 860"/>
                <a:gd name="T3" fmla="*/ 185 h 761"/>
                <a:gd name="T4" fmla="*/ 205 w 860"/>
                <a:gd name="T5" fmla="*/ 245 h 761"/>
                <a:gd name="T6" fmla="*/ 169 w 860"/>
                <a:gd name="T7" fmla="*/ 324 h 761"/>
                <a:gd name="T8" fmla="*/ 593 w 860"/>
                <a:gd name="T9" fmla="*/ 282 h 761"/>
                <a:gd name="T10" fmla="*/ 544 w 860"/>
                <a:gd name="T11" fmla="*/ 211 h 761"/>
                <a:gd name="T12" fmla="*/ 475 w 860"/>
                <a:gd name="T13" fmla="*/ 165 h 761"/>
                <a:gd name="T14" fmla="*/ 388 w 860"/>
                <a:gd name="T15" fmla="*/ 146 h 761"/>
                <a:gd name="T16" fmla="*/ 449 w 860"/>
                <a:gd name="T17" fmla="*/ 3 h 761"/>
                <a:gd name="T18" fmla="*/ 548 w 860"/>
                <a:gd name="T19" fmla="*/ 29 h 761"/>
                <a:gd name="T20" fmla="*/ 631 w 860"/>
                <a:gd name="T21" fmla="*/ 82 h 761"/>
                <a:gd name="T22" fmla="*/ 697 w 860"/>
                <a:gd name="T23" fmla="*/ 161 h 761"/>
                <a:gd name="T24" fmla="*/ 755 w 860"/>
                <a:gd name="T25" fmla="*/ 280 h 761"/>
                <a:gd name="T26" fmla="*/ 773 w 860"/>
                <a:gd name="T27" fmla="*/ 399 h 761"/>
                <a:gd name="T28" fmla="*/ 760 w 860"/>
                <a:gd name="T29" fmla="*/ 452 h 761"/>
                <a:gd name="T30" fmla="*/ 722 w 860"/>
                <a:gd name="T31" fmla="*/ 477 h 761"/>
                <a:gd name="T32" fmla="*/ 195 w 860"/>
                <a:gd name="T33" fmla="*/ 481 h 761"/>
                <a:gd name="T34" fmla="*/ 247 w 860"/>
                <a:gd name="T35" fmla="*/ 543 h 761"/>
                <a:gd name="T36" fmla="*/ 319 w 860"/>
                <a:gd name="T37" fmla="*/ 586 h 761"/>
                <a:gd name="T38" fmla="*/ 405 w 860"/>
                <a:gd name="T39" fmla="*/ 599 h 761"/>
                <a:gd name="T40" fmla="*/ 814 w 860"/>
                <a:gd name="T41" fmla="*/ 655 h 761"/>
                <a:gd name="T42" fmla="*/ 860 w 860"/>
                <a:gd name="T43" fmla="*/ 761 h 761"/>
                <a:gd name="T44" fmla="*/ 341 w 860"/>
                <a:gd name="T45" fmla="*/ 757 h 761"/>
                <a:gd name="T46" fmla="*/ 222 w 860"/>
                <a:gd name="T47" fmla="*/ 720 h 761"/>
                <a:gd name="T48" fmla="*/ 118 w 860"/>
                <a:gd name="T49" fmla="*/ 645 h 761"/>
                <a:gd name="T50" fmla="*/ 52 w 860"/>
                <a:gd name="T51" fmla="*/ 562 h 761"/>
                <a:gd name="T52" fmla="*/ 13 w 860"/>
                <a:gd name="T53" fmla="*/ 467 h 761"/>
                <a:gd name="T54" fmla="*/ 0 w 860"/>
                <a:gd name="T55" fmla="*/ 357 h 761"/>
                <a:gd name="T56" fmla="*/ 13 w 860"/>
                <a:gd name="T57" fmla="*/ 258 h 761"/>
                <a:gd name="T58" fmla="*/ 52 w 860"/>
                <a:gd name="T59" fmla="*/ 172 h 761"/>
                <a:gd name="T60" fmla="*/ 117 w 860"/>
                <a:gd name="T61" fmla="*/ 99 h 761"/>
                <a:gd name="T62" fmla="*/ 218 w 860"/>
                <a:gd name="T63" fmla="*/ 36 h 761"/>
                <a:gd name="T64" fmla="*/ 332 w 860"/>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0" h="761">
                  <a:moveTo>
                    <a:pt x="388" y="146"/>
                  </a:moveTo>
                  <a:lnTo>
                    <a:pt x="344" y="151"/>
                  </a:lnTo>
                  <a:lnTo>
                    <a:pt x="303" y="165"/>
                  </a:lnTo>
                  <a:lnTo>
                    <a:pt x="264" y="185"/>
                  </a:lnTo>
                  <a:lnTo>
                    <a:pt x="232" y="211"/>
                  </a:lnTo>
                  <a:lnTo>
                    <a:pt x="205" y="245"/>
                  </a:lnTo>
                  <a:lnTo>
                    <a:pt x="183" y="282"/>
                  </a:lnTo>
                  <a:lnTo>
                    <a:pt x="169" y="324"/>
                  </a:lnTo>
                  <a:lnTo>
                    <a:pt x="609" y="324"/>
                  </a:lnTo>
                  <a:lnTo>
                    <a:pt x="593" y="282"/>
                  </a:lnTo>
                  <a:lnTo>
                    <a:pt x="571" y="245"/>
                  </a:lnTo>
                  <a:lnTo>
                    <a:pt x="544" y="211"/>
                  </a:lnTo>
                  <a:lnTo>
                    <a:pt x="512" y="185"/>
                  </a:lnTo>
                  <a:lnTo>
                    <a:pt x="475" y="165"/>
                  </a:lnTo>
                  <a:lnTo>
                    <a:pt x="432" y="151"/>
                  </a:lnTo>
                  <a:lnTo>
                    <a:pt x="388" y="146"/>
                  </a:lnTo>
                  <a:close/>
                  <a:moveTo>
                    <a:pt x="393" y="0"/>
                  </a:moveTo>
                  <a:lnTo>
                    <a:pt x="449" y="3"/>
                  </a:lnTo>
                  <a:lnTo>
                    <a:pt x="500" y="14"/>
                  </a:lnTo>
                  <a:lnTo>
                    <a:pt x="548" y="29"/>
                  </a:lnTo>
                  <a:lnTo>
                    <a:pt x="590" y="53"/>
                  </a:lnTo>
                  <a:lnTo>
                    <a:pt x="631" y="82"/>
                  </a:lnTo>
                  <a:lnTo>
                    <a:pt x="666" y="119"/>
                  </a:lnTo>
                  <a:lnTo>
                    <a:pt x="697" y="161"/>
                  </a:lnTo>
                  <a:lnTo>
                    <a:pt x="731" y="221"/>
                  </a:lnTo>
                  <a:lnTo>
                    <a:pt x="755" y="280"/>
                  </a:lnTo>
                  <a:lnTo>
                    <a:pt x="768" y="340"/>
                  </a:lnTo>
                  <a:lnTo>
                    <a:pt x="773" y="399"/>
                  </a:lnTo>
                  <a:lnTo>
                    <a:pt x="770" y="428"/>
                  </a:lnTo>
                  <a:lnTo>
                    <a:pt x="760" y="452"/>
                  </a:lnTo>
                  <a:lnTo>
                    <a:pt x="745" y="467"/>
                  </a:lnTo>
                  <a:lnTo>
                    <a:pt x="722" y="477"/>
                  </a:lnTo>
                  <a:lnTo>
                    <a:pt x="695" y="481"/>
                  </a:lnTo>
                  <a:lnTo>
                    <a:pt x="195" y="481"/>
                  </a:lnTo>
                  <a:lnTo>
                    <a:pt x="218" y="514"/>
                  </a:lnTo>
                  <a:lnTo>
                    <a:pt x="247" y="543"/>
                  </a:lnTo>
                  <a:lnTo>
                    <a:pt x="281" y="567"/>
                  </a:lnTo>
                  <a:lnTo>
                    <a:pt x="319" y="586"/>
                  </a:lnTo>
                  <a:lnTo>
                    <a:pt x="361" y="596"/>
                  </a:lnTo>
                  <a:lnTo>
                    <a:pt x="405" y="599"/>
                  </a:lnTo>
                  <a:lnTo>
                    <a:pt x="799" y="599"/>
                  </a:lnTo>
                  <a:lnTo>
                    <a:pt x="814" y="655"/>
                  </a:lnTo>
                  <a:lnTo>
                    <a:pt x="834" y="710"/>
                  </a:lnTo>
                  <a:lnTo>
                    <a:pt x="860" y="761"/>
                  </a:lnTo>
                  <a:lnTo>
                    <a:pt x="405" y="761"/>
                  </a:lnTo>
                  <a:lnTo>
                    <a:pt x="341" y="757"/>
                  </a:lnTo>
                  <a:lnTo>
                    <a:pt x="280" y="744"/>
                  </a:lnTo>
                  <a:lnTo>
                    <a:pt x="222" y="720"/>
                  </a:lnTo>
                  <a:lnTo>
                    <a:pt x="168" y="688"/>
                  </a:lnTo>
                  <a:lnTo>
                    <a:pt x="118" y="645"/>
                  </a:lnTo>
                  <a:lnTo>
                    <a:pt x="83" y="606"/>
                  </a:lnTo>
                  <a:lnTo>
                    <a:pt x="52" y="562"/>
                  </a:lnTo>
                  <a:lnTo>
                    <a:pt x="30" y="516"/>
                  </a:lnTo>
                  <a:lnTo>
                    <a:pt x="13" y="467"/>
                  </a:lnTo>
                  <a:lnTo>
                    <a:pt x="3" y="414"/>
                  </a:lnTo>
                  <a:lnTo>
                    <a:pt x="0" y="357"/>
                  </a:lnTo>
                  <a:lnTo>
                    <a:pt x="3" y="306"/>
                  </a:lnTo>
                  <a:lnTo>
                    <a:pt x="13" y="258"/>
                  </a:lnTo>
                  <a:lnTo>
                    <a:pt x="30" y="214"/>
                  </a:lnTo>
                  <a:lnTo>
                    <a:pt x="52" y="172"/>
                  </a:lnTo>
                  <a:lnTo>
                    <a:pt x="81" y="134"/>
                  </a:lnTo>
                  <a:lnTo>
                    <a:pt x="117" y="99"/>
                  </a:lnTo>
                  <a:lnTo>
                    <a:pt x="166" y="63"/>
                  </a:lnTo>
                  <a:lnTo>
                    <a:pt x="218" y="36"/>
                  </a:lnTo>
                  <a:lnTo>
                    <a:pt x="273" y="15"/>
                  </a:lnTo>
                  <a:lnTo>
                    <a:pt x="332" y="3"/>
                  </a:lnTo>
                  <a:lnTo>
                    <a:pt x="3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7" name="Freeform 13"/>
            <p:cNvSpPr>
              <a:spLocks/>
            </p:cNvSpPr>
            <p:nvPr/>
          </p:nvSpPr>
          <p:spPr bwMode="auto">
            <a:xfrm>
              <a:off x="8809" y="880"/>
              <a:ext cx="1154" cy="2034"/>
            </a:xfrm>
            <a:custGeom>
              <a:avLst/>
              <a:gdLst>
                <a:gd name="T0" fmla="*/ 571 w 1154"/>
                <a:gd name="T1" fmla="*/ 5 h 2034"/>
                <a:gd name="T2" fmla="*/ 716 w 1154"/>
                <a:gd name="T3" fmla="*/ 36 h 2034"/>
                <a:gd name="T4" fmla="*/ 846 w 1154"/>
                <a:gd name="T5" fmla="*/ 97 h 2034"/>
                <a:gd name="T6" fmla="*/ 963 w 1154"/>
                <a:gd name="T7" fmla="*/ 189 h 2034"/>
                <a:gd name="T8" fmla="*/ 1057 w 1154"/>
                <a:gd name="T9" fmla="*/ 304 h 2034"/>
                <a:gd name="T10" fmla="*/ 1120 w 1154"/>
                <a:gd name="T11" fmla="*/ 433 h 2034"/>
                <a:gd name="T12" fmla="*/ 1150 w 1154"/>
                <a:gd name="T13" fmla="*/ 577 h 2034"/>
                <a:gd name="T14" fmla="*/ 1154 w 1154"/>
                <a:gd name="T15" fmla="*/ 1431 h 2034"/>
                <a:gd name="T16" fmla="*/ 1138 w 1154"/>
                <a:gd name="T17" fmla="*/ 1576 h 2034"/>
                <a:gd name="T18" fmla="*/ 1091 w 1154"/>
                <a:gd name="T19" fmla="*/ 1705 h 2034"/>
                <a:gd name="T20" fmla="*/ 1011 w 1154"/>
                <a:gd name="T21" fmla="*/ 1820 h 2034"/>
                <a:gd name="T22" fmla="*/ 897 w 1154"/>
                <a:gd name="T23" fmla="*/ 1920 h 2034"/>
                <a:gd name="T24" fmla="*/ 762 w 1154"/>
                <a:gd name="T25" fmla="*/ 1993 h 2034"/>
                <a:gd name="T26" fmla="*/ 610 w 1154"/>
                <a:gd name="T27" fmla="*/ 2029 h 2034"/>
                <a:gd name="T28" fmla="*/ 463 w 1154"/>
                <a:gd name="T29" fmla="*/ 2031 h 2034"/>
                <a:gd name="T30" fmla="*/ 339 w 1154"/>
                <a:gd name="T31" fmla="*/ 2010 h 2034"/>
                <a:gd name="T32" fmla="*/ 246 w 1154"/>
                <a:gd name="T33" fmla="*/ 1976 h 2034"/>
                <a:gd name="T34" fmla="*/ 193 w 1154"/>
                <a:gd name="T35" fmla="*/ 1941 h 2034"/>
                <a:gd name="T36" fmla="*/ 191 w 1154"/>
                <a:gd name="T37" fmla="*/ 1939 h 2034"/>
                <a:gd name="T38" fmla="*/ 186 w 1154"/>
                <a:gd name="T39" fmla="*/ 1932 h 2034"/>
                <a:gd name="T40" fmla="*/ 173 w 1154"/>
                <a:gd name="T41" fmla="*/ 1908 h 2034"/>
                <a:gd name="T42" fmla="*/ 171 w 1154"/>
                <a:gd name="T43" fmla="*/ 1883 h 2034"/>
                <a:gd name="T44" fmla="*/ 173 w 1154"/>
                <a:gd name="T45" fmla="*/ 1868 h 2034"/>
                <a:gd name="T46" fmla="*/ 186 w 1154"/>
                <a:gd name="T47" fmla="*/ 1842 h 2034"/>
                <a:gd name="T48" fmla="*/ 222 w 1154"/>
                <a:gd name="T49" fmla="*/ 1820 h 2034"/>
                <a:gd name="T50" fmla="*/ 273 w 1154"/>
                <a:gd name="T51" fmla="*/ 1825 h 2034"/>
                <a:gd name="T52" fmla="*/ 273 w 1154"/>
                <a:gd name="T53" fmla="*/ 1825 h 2034"/>
                <a:gd name="T54" fmla="*/ 288 w 1154"/>
                <a:gd name="T55" fmla="*/ 1830 h 2034"/>
                <a:gd name="T56" fmla="*/ 307 w 1154"/>
                <a:gd name="T57" fmla="*/ 1840 h 2034"/>
                <a:gd name="T58" fmla="*/ 398 w 1154"/>
                <a:gd name="T59" fmla="*/ 1874 h 2034"/>
                <a:gd name="T60" fmla="*/ 405 w 1154"/>
                <a:gd name="T61" fmla="*/ 1876 h 2034"/>
                <a:gd name="T62" fmla="*/ 427 w 1154"/>
                <a:gd name="T63" fmla="*/ 1881 h 2034"/>
                <a:gd name="T64" fmla="*/ 521 w 1154"/>
                <a:gd name="T65" fmla="*/ 1886 h 2034"/>
                <a:gd name="T66" fmla="*/ 646 w 1154"/>
                <a:gd name="T67" fmla="*/ 1871 h 2034"/>
                <a:gd name="T68" fmla="*/ 760 w 1154"/>
                <a:gd name="T69" fmla="*/ 1827 h 2034"/>
                <a:gd name="T70" fmla="*/ 860 w 1154"/>
                <a:gd name="T71" fmla="*/ 1754 h 2034"/>
                <a:gd name="T72" fmla="*/ 940 w 1154"/>
                <a:gd name="T73" fmla="*/ 1661 h 2034"/>
                <a:gd name="T74" fmla="*/ 987 w 1154"/>
                <a:gd name="T75" fmla="*/ 1552 h 2034"/>
                <a:gd name="T76" fmla="*/ 1004 w 1154"/>
                <a:gd name="T77" fmla="*/ 1431 h 2034"/>
                <a:gd name="T78" fmla="*/ 999 w 1154"/>
                <a:gd name="T79" fmla="*/ 594 h 2034"/>
                <a:gd name="T80" fmla="*/ 965 w 1154"/>
                <a:gd name="T81" fmla="*/ 467 h 2034"/>
                <a:gd name="T82" fmla="*/ 899 w 1154"/>
                <a:gd name="T83" fmla="*/ 355 h 2034"/>
                <a:gd name="T84" fmla="*/ 799 w 1154"/>
                <a:gd name="T85" fmla="*/ 262 h 2034"/>
                <a:gd name="T86" fmla="*/ 685 w 1154"/>
                <a:gd name="T87" fmla="*/ 199 h 2034"/>
                <a:gd name="T88" fmla="*/ 560 w 1154"/>
                <a:gd name="T89" fmla="*/ 167 h 2034"/>
                <a:gd name="T90" fmla="*/ 424 w 1154"/>
                <a:gd name="T91" fmla="*/ 167 h 2034"/>
                <a:gd name="T92" fmla="*/ 298 w 1154"/>
                <a:gd name="T93" fmla="*/ 199 h 2034"/>
                <a:gd name="T94" fmla="*/ 185 w 1154"/>
                <a:gd name="T95" fmla="*/ 265 h 2034"/>
                <a:gd name="T96" fmla="*/ 108 w 1154"/>
                <a:gd name="T97" fmla="*/ 338 h 2034"/>
                <a:gd name="T98" fmla="*/ 45 w 1154"/>
                <a:gd name="T99" fmla="*/ 297 h 2034"/>
                <a:gd name="T100" fmla="*/ 6 w 1154"/>
                <a:gd name="T101" fmla="*/ 214 h 2034"/>
                <a:gd name="T102" fmla="*/ 17 w 1154"/>
                <a:gd name="T103" fmla="*/ 202 h 2034"/>
                <a:gd name="T104" fmla="*/ 22 w 1154"/>
                <a:gd name="T105" fmla="*/ 196 h 2034"/>
                <a:gd name="T106" fmla="*/ 28 w 1154"/>
                <a:gd name="T107" fmla="*/ 189 h 2034"/>
                <a:gd name="T108" fmla="*/ 146 w 1154"/>
                <a:gd name="T109" fmla="*/ 97 h 2034"/>
                <a:gd name="T110" fmla="*/ 276 w 1154"/>
                <a:gd name="T111" fmla="*/ 36 h 2034"/>
                <a:gd name="T112" fmla="*/ 419 w 1154"/>
                <a:gd name="T113" fmla="*/ 5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4" h="2034">
                  <a:moveTo>
                    <a:pt x="495" y="0"/>
                  </a:moveTo>
                  <a:lnTo>
                    <a:pt x="571" y="5"/>
                  </a:lnTo>
                  <a:lnTo>
                    <a:pt x="646" y="16"/>
                  </a:lnTo>
                  <a:lnTo>
                    <a:pt x="716" y="36"/>
                  </a:lnTo>
                  <a:lnTo>
                    <a:pt x="784" y="63"/>
                  </a:lnTo>
                  <a:lnTo>
                    <a:pt x="846" y="97"/>
                  </a:lnTo>
                  <a:lnTo>
                    <a:pt x="907" y="140"/>
                  </a:lnTo>
                  <a:lnTo>
                    <a:pt x="963" y="189"/>
                  </a:lnTo>
                  <a:lnTo>
                    <a:pt x="1014" y="245"/>
                  </a:lnTo>
                  <a:lnTo>
                    <a:pt x="1057" y="304"/>
                  </a:lnTo>
                  <a:lnTo>
                    <a:pt x="1092" y="367"/>
                  </a:lnTo>
                  <a:lnTo>
                    <a:pt x="1120" y="433"/>
                  </a:lnTo>
                  <a:lnTo>
                    <a:pt x="1138" y="504"/>
                  </a:lnTo>
                  <a:lnTo>
                    <a:pt x="1150" y="577"/>
                  </a:lnTo>
                  <a:lnTo>
                    <a:pt x="1154" y="656"/>
                  </a:lnTo>
                  <a:lnTo>
                    <a:pt x="1154" y="1431"/>
                  </a:lnTo>
                  <a:lnTo>
                    <a:pt x="1150" y="1506"/>
                  </a:lnTo>
                  <a:lnTo>
                    <a:pt x="1138" y="1576"/>
                  </a:lnTo>
                  <a:lnTo>
                    <a:pt x="1118" y="1642"/>
                  </a:lnTo>
                  <a:lnTo>
                    <a:pt x="1091" y="1705"/>
                  </a:lnTo>
                  <a:lnTo>
                    <a:pt x="1055" y="1764"/>
                  </a:lnTo>
                  <a:lnTo>
                    <a:pt x="1011" y="1820"/>
                  </a:lnTo>
                  <a:lnTo>
                    <a:pt x="960" y="1871"/>
                  </a:lnTo>
                  <a:lnTo>
                    <a:pt x="897" y="1920"/>
                  </a:lnTo>
                  <a:lnTo>
                    <a:pt x="831" y="1961"/>
                  </a:lnTo>
                  <a:lnTo>
                    <a:pt x="762" y="1993"/>
                  </a:lnTo>
                  <a:lnTo>
                    <a:pt x="687" y="2015"/>
                  </a:lnTo>
                  <a:lnTo>
                    <a:pt x="610" y="2029"/>
                  </a:lnTo>
                  <a:lnTo>
                    <a:pt x="529" y="2034"/>
                  </a:lnTo>
                  <a:lnTo>
                    <a:pt x="463" y="2031"/>
                  </a:lnTo>
                  <a:lnTo>
                    <a:pt x="398" y="2024"/>
                  </a:lnTo>
                  <a:lnTo>
                    <a:pt x="339" y="2010"/>
                  </a:lnTo>
                  <a:lnTo>
                    <a:pt x="281" y="1992"/>
                  </a:lnTo>
                  <a:lnTo>
                    <a:pt x="246" y="1976"/>
                  </a:lnTo>
                  <a:lnTo>
                    <a:pt x="215" y="1959"/>
                  </a:lnTo>
                  <a:lnTo>
                    <a:pt x="193" y="1941"/>
                  </a:lnTo>
                  <a:lnTo>
                    <a:pt x="191" y="1939"/>
                  </a:lnTo>
                  <a:lnTo>
                    <a:pt x="191" y="1939"/>
                  </a:lnTo>
                  <a:lnTo>
                    <a:pt x="186" y="1932"/>
                  </a:lnTo>
                  <a:lnTo>
                    <a:pt x="186" y="1932"/>
                  </a:lnTo>
                  <a:lnTo>
                    <a:pt x="183" y="1927"/>
                  </a:lnTo>
                  <a:lnTo>
                    <a:pt x="173" y="1908"/>
                  </a:lnTo>
                  <a:lnTo>
                    <a:pt x="169" y="1888"/>
                  </a:lnTo>
                  <a:lnTo>
                    <a:pt x="171" y="1883"/>
                  </a:lnTo>
                  <a:lnTo>
                    <a:pt x="171" y="1876"/>
                  </a:lnTo>
                  <a:lnTo>
                    <a:pt x="173" y="1868"/>
                  </a:lnTo>
                  <a:lnTo>
                    <a:pt x="176" y="1861"/>
                  </a:lnTo>
                  <a:lnTo>
                    <a:pt x="186" y="1842"/>
                  </a:lnTo>
                  <a:lnTo>
                    <a:pt x="202" y="1829"/>
                  </a:lnTo>
                  <a:lnTo>
                    <a:pt x="222" y="1820"/>
                  </a:lnTo>
                  <a:lnTo>
                    <a:pt x="244" y="1818"/>
                  </a:lnTo>
                  <a:lnTo>
                    <a:pt x="273" y="1825"/>
                  </a:lnTo>
                  <a:lnTo>
                    <a:pt x="273" y="1825"/>
                  </a:lnTo>
                  <a:lnTo>
                    <a:pt x="273" y="1825"/>
                  </a:lnTo>
                  <a:lnTo>
                    <a:pt x="274" y="1825"/>
                  </a:lnTo>
                  <a:lnTo>
                    <a:pt x="288" y="1830"/>
                  </a:lnTo>
                  <a:lnTo>
                    <a:pt x="303" y="1839"/>
                  </a:lnTo>
                  <a:lnTo>
                    <a:pt x="307" y="1840"/>
                  </a:lnTo>
                  <a:lnTo>
                    <a:pt x="353" y="1863"/>
                  </a:lnTo>
                  <a:lnTo>
                    <a:pt x="398" y="1874"/>
                  </a:lnTo>
                  <a:lnTo>
                    <a:pt x="400" y="1876"/>
                  </a:lnTo>
                  <a:lnTo>
                    <a:pt x="405" y="1876"/>
                  </a:lnTo>
                  <a:lnTo>
                    <a:pt x="417" y="1880"/>
                  </a:lnTo>
                  <a:lnTo>
                    <a:pt x="427" y="1881"/>
                  </a:lnTo>
                  <a:lnTo>
                    <a:pt x="471" y="1885"/>
                  </a:lnTo>
                  <a:lnTo>
                    <a:pt x="521" y="1886"/>
                  </a:lnTo>
                  <a:lnTo>
                    <a:pt x="585" y="1883"/>
                  </a:lnTo>
                  <a:lnTo>
                    <a:pt x="646" y="1871"/>
                  </a:lnTo>
                  <a:lnTo>
                    <a:pt x="704" y="1852"/>
                  </a:lnTo>
                  <a:lnTo>
                    <a:pt x="760" y="1827"/>
                  </a:lnTo>
                  <a:lnTo>
                    <a:pt x="811" y="1795"/>
                  </a:lnTo>
                  <a:lnTo>
                    <a:pt x="860" y="1754"/>
                  </a:lnTo>
                  <a:lnTo>
                    <a:pt x="904" y="1708"/>
                  </a:lnTo>
                  <a:lnTo>
                    <a:pt x="940" y="1661"/>
                  </a:lnTo>
                  <a:lnTo>
                    <a:pt x="969" y="1608"/>
                  </a:lnTo>
                  <a:lnTo>
                    <a:pt x="987" y="1552"/>
                  </a:lnTo>
                  <a:lnTo>
                    <a:pt x="999" y="1494"/>
                  </a:lnTo>
                  <a:lnTo>
                    <a:pt x="1004" y="1431"/>
                  </a:lnTo>
                  <a:lnTo>
                    <a:pt x="1004" y="662"/>
                  </a:lnTo>
                  <a:lnTo>
                    <a:pt x="999" y="594"/>
                  </a:lnTo>
                  <a:lnTo>
                    <a:pt x="987" y="528"/>
                  </a:lnTo>
                  <a:lnTo>
                    <a:pt x="965" y="467"/>
                  </a:lnTo>
                  <a:lnTo>
                    <a:pt x="936" y="409"/>
                  </a:lnTo>
                  <a:lnTo>
                    <a:pt x="899" y="355"/>
                  </a:lnTo>
                  <a:lnTo>
                    <a:pt x="851" y="306"/>
                  </a:lnTo>
                  <a:lnTo>
                    <a:pt x="799" y="262"/>
                  </a:lnTo>
                  <a:lnTo>
                    <a:pt x="745" y="226"/>
                  </a:lnTo>
                  <a:lnTo>
                    <a:pt x="685" y="199"/>
                  </a:lnTo>
                  <a:lnTo>
                    <a:pt x="624" y="179"/>
                  </a:lnTo>
                  <a:lnTo>
                    <a:pt x="560" y="167"/>
                  </a:lnTo>
                  <a:lnTo>
                    <a:pt x="492" y="163"/>
                  </a:lnTo>
                  <a:lnTo>
                    <a:pt x="424" y="167"/>
                  </a:lnTo>
                  <a:lnTo>
                    <a:pt x="359" y="179"/>
                  </a:lnTo>
                  <a:lnTo>
                    <a:pt x="298" y="199"/>
                  </a:lnTo>
                  <a:lnTo>
                    <a:pt x="241" y="228"/>
                  </a:lnTo>
                  <a:lnTo>
                    <a:pt x="185" y="265"/>
                  </a:lnTo>
                  <a:lnTo>
                    <a:pt x="134" y="309"/>
                  </a:lnTo>
                  <a:lnTo>
                    <a:pt x="108" y="338"/>
                  </a:lnTo>
                  <a:lnTo>
                    <a:pt x="83" y="377"/>
                  </a:lnTo>
                  <a:lnTo>
                    <a:pt x="45" y="297"/>
                  </a:lnTo>
                  <a:lnTo>
                    <a:pt x="0" y="221"/>
                  </a:lnTo>
                  <a:lnTo>
                    <a:pt x="6" y="214"/>
                  </a:lnTo>
                  <a:lnTo>
                    <a:pt x="11" y="207"/>
                  </a:lnTo>
                  <a:lnTo>
                    <a:pt x="17" y="202"/>
                  </a:lnTo>
                  <a:lnTo>
                    <a:pt x="20" y="199"/>
                  </a:lnTo>
                  <a:lnTo>
                    <a:pt x="22" y="196"/>
                  </a:lnTo>
                  <a:lnTo>
                    <a:pt x="22" y="196"/>
                  </a:lnTo>
                  <a:lnTo>
                    <a:pt x="28" y="189"/>
                  </a:lnTo>
                  <a:lnTo>
                    <a:pt x="84" y="140"/>
                  </a:lnTo>
                  <a:lnTo>
                    <a:pt x="146" y="97"/>
                  </a:lnTo>
                  <a:lnTo>
                    <a:pt x="208" y="63"/>
                  </a:lnTo>
                  <a:lnTo>
                    <a:pt x="276" y="36"/>
                  </a:lnTo>
                  <a:lnTo>
                    <a:pt x="346" y="16"/>
                  </a:lnTo>
                  <a:lnTo>
                    <a:pt x="419" y="5"/>
                  </a:lnTo>
                  <a:lnTo>
                    <a:pt x="4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8" name="Freeform 14"/>
            <p:cNvSpPr>
              <a:spLocks noEditPoints="1"/>
            </p:cNvSpPr>
            <p:nvPr/>
          </p:nvSpPr>
          <p:spPr bwMode="auto">
            <a:xfrm>
              <a:off x="7736" y="1162"/>
              <a:ext cx="866" cy="761"/>
            </a:xfrm>
            <a:custGeom>
              <a:avLst/>
              <a:gdLst>
                <a:gd name="T0" fmla="*/ 346 w 866"/>
                <a:gd name="T1" fmla="*/ 151 h 761"/>
                <a:gd name="T2" fmla="*/ 268 w 866"/>
                <a:gd name="T3" fmla="*/ 185 h 761"/>
                <a:gd name="T4" fmla="*/ 207 w 866"/>
                <a:gd name="T5" fmla="*/ 245 h 761"/>
                <a:gd name="T6" fmla="*/ 171 w 866"/>
                <a:gd name="T7" fmla="*/ 324 h 761"/>
                <a:gd name="T8" fmla="*/ 597 w 866"/>
                <a:gd name="T9" fmla="*/ 282 h 761"/>
                <a:gd name="T10" fmla="*/ 548 w 866"/>
                <a:gd name="T11" fmla="*/ 211 h 761"/>
                <a:gd name="T12" fmla="*/ 477 w 866"/>
                <a:gd name="T13" fmla="*/ 165 h 761"/>
                <a:gd name="T14" fmla="*/ 392 w 866"/>
                <a:gd name="T15" fmla="*/ 146 h 761"/>
                <a:gd name="T16" fmla="*/ 448 w 866"/>
                <a:gd name="T17" fmla="*/ 3 h 761"/>
                <a:gd name="T18" fmla="*/ 547 w 866"/>
                <a:gd name="T19" fmla="*/ 29 h 761"/>
                <a:gd name="T20" fmla="*/ 630 w 866"/>
                <a:gd name="T21" fmla="*/ 82 h 761"/>
                <a:gd name="T22" fmla="*/ 698 w 866"/>
                <a:gd name="T23" fmla="*/ 161 h 761"/>
                <a:gd name="T24" fmla="*/ 754 w 866"/>
                <a:gd name="T25" fmla="*/ 280 h 761"/>
                <a:gd name="T26" fmla="*/ 772 w 866"/>
                <a:gd name="T27" fmla="*/ 399 h 761"/>
                <a:gd name="T28" fmla="*/ 760 w 866"/>
                <a:gd name="T29" fmla="*/ 452 h 761"/>
                <a:gd name="T30" fmla="*/ 723 w 866"/>
                <a:gd name="T31" fmla="*/ 477 h 761"/>
                <a:gd name="T32" fmla="*/ 194 w 866"/>
                <a:gd name="T33" fmla="*/ 481 h 761"/>
                <a:gd name="T34" fmla="*/ 246 w 866"/>
                <a:gd name="T35" fmla="*/ 543 h 761"/>
                <a:gd name="T36" fmla="*/ 319 w 866"/>
                <a:gd name="T37" fmla="*/ 586 h 761"/>
                <a:gd name="T38" fmla="*/ 404 w 866"/>
                <a:gd name="T39" fmla="*/ 599 h 761"/>
                <a:gd name="T40" fmla="*/ 821 w 866"/>
                <a:gd name="T41" fmla="*/ 655 h 761"/>
                <a:gd name="T42" fmla="*/ 866 w 866"/>
                <a:gd name="T43" fmla="*/ 761 h 761"/>
                <a:gd name="T44" fmla="*/ 339 w 866"/>
                <a:gd name="T45" fmla="*/ 757 h 761"/>
                <a:gd name="T46" fmla="*/ 221 w 866"/>
                <a:gd name="T47" fmla="*/ 720 h 761"/>
                <a:gd name="T48" fmla="*/ 119 w 866"/>
                <a:gd name="T49" fmla="*/ 645 h 761"/>
                <a:gd name="T50" fmla="*/ 53 w 866"/>
                <a:gd name="T51" fmla="*/ 562 h 761"/>
                <a:gd name="T52" fmla="*/ 12 w 866"/>
                <a:gd name="T53" fmla="*/ 467 h 761"/>
                <a:gd name="T54" fmla="*/ 0 w 866"/>
                <a:gd name="T55" fmla="*/ 357 h 761"/>
                <a:gd name="T56" fmla="*/ 12 w 866"/>
                <a:gd name="T57" fmla="*/ 258 h 761"/>
                <a:gd name="T58" fmla="*/ 51 w 866"/>
                <a:gd name="T59" fmla="*/ 172 h 761"/>
                <a:gd name="T60" fmla="*/ 117 w 866"/>
                <a:gd name="T61" fmla="*/ 99 h 761"/>
                <a:gd name="T62" fmla="*/ 217 w 866"/>
                <a:gd name="T63" fmla="*/ 36 h 761"/>
                <a:gd name="T64" fmla="*/ 331 w 866"/>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6" h="761">
                  <a:moveTo>
                    <a:pt x="392" y="146"/>
                  </a:moveTo>
                  <a:lnTo>
                    <a:pt x="346" y="151"/>
                  </a:lnTo>
                  <a:lnTo>
                    <a:pt x="306" y="165"/>
                  </a:lnTo>
                  <a:lnTo>
                    <a:pt x="268" y="185"/>
                  </a:lnTo>
                  <a:lnTo>
                    <a:pt x="234" y="211"/>
                  </a:lnTo>
                  <a:lnTo>
                    <a:pt x="207" y="245"/>
                  </a:lnTo>
                  <a:lnTo>
                    <a:pt x="187" y="282"/>
                  </a:lnTo>
                  <a:lnTo>
                    <a:pt x="171" y="324"/>
                  </a:lnTo>
                  <a:lnTo>
                    <a:pt x="611" y="324"/>
                  </a:lnTo>
                  <a:lnTo>
                    <a:pt x="597" y="282"/>
                  </a:lnTo>
                  <a:lnTo>
                    <a:pt x="575" y="245"/>
                  </a:lnTo>
                  <a:lnTo>
                    <a:pt x="548" y="211"/>
                  </a:lnTo>
                  <a:lnTo>
                    <a:pt x="514" y="185"/>
                  </a:lnTo>
                  <a:lnTo>
                    <a:pt x="477" y="165"/>
                  </a:lnTo>
                  <a:lnTo>
                    <a:pt x="436" y="151"/>
                  </a:lnTo>
                  <a:lnTo>
                    <a:pt x="392" y="146"/>
                  </a:lnTo>
                  <a:close/>
                  <a:moveTo>
                    <a:pt x="394" y="0"/>
                  </a:moveTo>
                  <a:lnTo>
                    <a:pt x="448" y="3"/>
                  </a:lnTo>
                  <a:lnTo>
                    <a:pt x="499" y="14"/>
                  </a:lnTo>
                  <a:lnTo>
                    <a:pt x="547" y="29"/>
                  </a:lnTo>
                  <a:lnTo>
                    <a:pt x="591" y="53"/>
                  </a:lnTo>
                  <a:lnTo>
                    <a:pt x="630" y="82"/>
                  </a:lnTo>
                  <a:lnTo>
                    <a:pt x="665" y="119"/>
                  </a:lnTo>
                  <a:lnTo>
                    <a:pt x="698" y="161"/>
                  </a:lnTo>
                  <a:lnTo>
                    <a:pt x="730" y="221"/>
                  </a:lnTo>
                  <a:lnTo>
                    <a:pt x="754" y="280"/>
                  </a:lnTo>
                  <a:lnTo>
                    <a:pt x="767" y="340"/>
                  </a:lnTo>
                  <a:lnTo>
                    <a:pt x="772" y="399"/>
                  </a:lnTo>
                  <a:lnTo>
                    <a:pt x="769" y="428"/>
                  </a:lnTo>
                  <a:lnTo>
                    <a:pt x="760" y="452"/>
                  </a:lnTo>
                  <a:lnTo>
                    <a:pt x="743" y="467"/>
                  </a:lnTo>
                  <a:lnTo>
                    <a:pt x="723" y="477"/>
                  </a:lnTo>
                  <a:lnTo>
                    <a:pt x="694" y="481"/>
                  </a:lnTo>
                  <a:lnTo>
                    <a:pt x="194" y="481"/>
                  </a:lnTo>
                  <a:lnTo>
                    <a:pt x="217" y="514"/>
                  </a:lnTo>
                  <a:lnTo>
                    <a:pt x="246" y="543"/>
                  </a:lnTo>
                  <a:lnTo>
                    <a:pt x="280" y="567"/>
                  </a:lnTo>
                  <a:lnTo>
                    <a:pt x="319" y="586"/>
                  </a:lnTo>
                  <a:lnTo>
                    <a:pt x="360" y="596"/>
                  </a:lnTo>
                  <a:lnTo>
                    <a:pt x="404" y="599"/>
                  </a:lnTo>
                  <a:lnTo>
                    <a:pt x="804" y="599"/>
                  </a:lnTo>
                  <a:lnTo>
                    <a:pt x="821" y="655"/>
                  </a:lnTo>
                  <a:lnTo>
                    <a:pt x="842" y="710"/>
                  </a:lnTo>
                  <a:lnTo>
                    <a:pt x="866" y="761"/>
                  </a:lnTo>
                  <a:lnTo>
                    <a:pt x="404" y="761"/>
                  </a:lnTo>
                  <a:lnTo>
                    <a:pt x="339" y="757"/>
                  </a:lnTo>
                  <a:lnTo>
                    <a:pt x="278" y="744"/>
                  </a:lnTo>
                  <a:lnTo>
                    <a:pt x="221" y="720"/>
                  </a:lnTo>
                  <a:lnTo>
                    <a:pt x="168" y="688"/>
                  </a:lnTo>
                  <a:lnTo>
                    <a:pt x="119" y="645"/>
                  </a:lnTo>
                  <a:lnTo>
                    <a:pt x="82" y="606"/>
                  </a:lnTo>
                  <a:lnTo>
                    <a:pt x="53" y="562"/>
                  </a:lnTo>
                  <a:lnTo>
                    <a:pt x="29" y="516"/>
                  </a:lnTo>
                  <a:lnTo>
                    <a:pt x="12" y="467"/>
                  </a:lnTo>
                  <a:lnTo>
                    <a:pt x="3" y="414"/>
                  </a:lnTo>
                  <a:lnTo>
                    <a:pt x="0" y="357"/>
                  </a:lnTo>
                  <a:lnTo>
                    <a:pt x="3" y="306"/>
                  </a:lnTo>
                  <a:lnTo>
                    <a:pt x="12" y="258"/>
                  </a:lnTo>
                  <a:lnTo>
                    <a:pt x="29" y="214"/>
                  </a:lnTo>
                  <a:lnTo>
                    <a:pt x="51" y="172"/>
                  </a:lnTo>
                  <a:lnTo>
                    <a:pt x="82" y="134"/>
                  </a:lnTo>
                  <a:lnTo>
                    <a:pt x="117" y="99"/>
                  </a:lnTo>
                  <a:lnTo>
                    <a:pt x="165" y="63"/>
                  </a:lnTo>
                  <a:lnTo>
                    <a:pt x="217" y="36"/>
                  </a:lnTo>
                  <a:lnTo>
                    <a:pt x="272" y="15"/>
                  </a:lnTo>
                  <a:lnTo>
                    <a:pt x="331" y="3"/>
                  </a:lnTo>
                  <a:lnTo>
                    <a:pt x="3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9" name="Freeform 15"/>
            <p:cNvSpPr>
              <a:spLocks noEditPoints="1"/>
            </p:cNvSpPr>
            <p:nvPr/>
          </p:nvSpPr>
          <p:spPr bwMode="auto">
            <a:xfrm>
              <a:off x="8919" y="1164"/>
              <a:ext cx="779" cy="794"/>
            </a:xfrm>
            <a:custGeom>
              <a:avLst/>
              <a:gdLst>
                <a:gd name="T0" fmla="*/ 343 w 779"/>
                <a:gd name="T1" fmla="*/ 168 h 794"/>
                <a:gd name="T2" fmla="*/ 261 w 779"/>
                <a:gd name="T3" fmla="*/ 202 h 794"/>
                <a:gd name="T4" fmla="*/ 197 w 779"/>
                <a:gd name="T5" fmla="*/ 266 h 794"/>
                <a:gd name="T6" fmla="*/ 163 w 779"/>
                <a:gd name="T7" fmla="*/ 350 h 794"/>
                <a:gd name="T8" fmla="*/ 163 w 779"/>
                <a:gd name="T9" fmla="*/ 443 h 794"/>
                <a:gd name="T10" fmla="*/ 195 w 779"/>
                <a:gd name="T11" fmla="*/ 526 h 794"/>
                <a:gd name="T12" fmla="*/ 260 w 779"/>
                <a:gd name="T13" fmla="*/ 592 h 794"/>
                <a:gd name="T14" fmla="*/ 341 w 779"/>
                <a:gd name="T15" fmla="*/ 628 h 794"/>
                <a:gd name="T16" fmla="*/ 433 w 779"/>
                <a:gd name="T17" fmla="*/ 628 h 794"/>
                <a:gd name="T18" fmla="*/ 514 w 779"/>
                <a:gd name="T19" fmla="*/ 592 h 794"/>
                <a:gd name="T20" fmla="*/ 580 w 779"/>
                <a:gd name="T21" fmla="*/ 526 h 794"/>
                <a:gd name="T22" fmla="*/ 614 w 779"/>
                <a:gd name="T23" fmla="*/ 443 h 794"/>
                <a:gd name="T24" fmla="*/ 614 w 779"/>
                <a:gd name="T25" fmla="*/ 350 h 794"/>
                <a:gd name="T26" fmla="*/ 580 w 779"/>
                <a:gd name="T27" fmla="*/ 266 h 794"/>
                <a:gd name="T28" fmla="*/ 516 w 779"/>
                <a:gd name="T29" fmla="*/ 202 h 794"/>
                <a:gd name="T30" fmla="*/ 434 w 779"/>
                <a:gd name="T31" fmla="*/ 168 h 794"/>
                <a:gd name="T32" fmla="*/ 388 w 779"/>
                <a:gd name="T33" fmla="*/ 0 h 794"/>
                <a:gd name="T34" fmla="*/ 511 w 779"/>
                <a:gd name="T35" fmla="*/ 18 h 794"/>
                <a:gd name="T36" fmla="*/ 616 w 779"/>
                <a:gd name="T37" fmla="*/ 74 h 794"/>
                <a:gd name="T38" fmla="*/ 706 w 779"/>
                <a:gd name="T39" fmla="*/ 163 h 794"/>
                <a:gd name="T40" fmla="*/ 760 w 779"/>
                <a:gd name="T41" fmla="*/ 273 h 794"/>
                <a:gd name="T42" fmla="*/ 779 w 779"/>
                <a:gd name="T43" fmla="*/ 399 h 794"/>
                <a:gd name="T44" fmla="*/ 760 w 779"/>
                <a:gd name="T45" fmla="*/ 521 h 794"/>
                <a:gd name="T46" fmla="*/ 706 w 779"/>
                <a:gd name="T47" fmla="*/ 630 h 794"/>
                <a:gd name="T48" fmla="*/ 618 w 779"/>
                <a:gd name="T49" fmla="*/ 720 h 794"/>
                <a:gd name="T50" fmla="*/ 512 w 779"/>
                <a:gd name="T51" fmla="*/ 776 h 794"/>
                <a:gd name="T52" fmla="*/ 388 w 779"/>
                <a:gd name="T53" fmla="*/ 794 h 794"/>
                <a:gd name="T54" fmla="*/ 266 w 779"/>
                <a:gd name="T55" fmla="*/ 776 h 794"/>
                <a:gd name="T56" fmla="*/ 161 w 779"/>
                <a:gd name="T57" fmla="*/ 721 h 794"/>
                <a:gd name="T58" fmla="*/ 73 w 779"/>
                <a:gd name="T59" fmla="*/ 631 h 794"/>
                <a:gd name="T60" fmla="*/ 17 w 779"/>
                <a:gd name="T61" fmla="*/ 523 h 794"/>
                <a:gd name="T62" fmla="*/ 0 w 779"/>
                <a:gd name="T63" fmla="*/ 399 h 794"/>
                <a:gd name="T64" fmla="*/ 17 w 779"/>
                <a:gd name="T65" fmla="*/ 275 h 794"/>
                <a:gd name="T66" fmla="*/ 71 w 779"/>
                <a:gd name="T67" fmla="*/ 166 h 794"/>
                <a:gd name="T68" fmla="*/ 159 w 779"/>
                <a:gd name="T69" fmla="*/ 74 h 794"/>
                <a:gd name="T70" fmla="*/ 265 w 779"/>
                <a:gd name="T71" fmla="*/ 18 h 794"/>
                <a:gd name="T72" fmla="*/ 388 w 779"/>
                <a:gd name="T73"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9" h="794">
                  <a:moveTo>
                    <a:pt x="388" y="163"/>
                  </a:moveTo>
                  <a:lnTo>
                    <a:pt x="343" y="168"/>
                  </a:lnTo>
                  <a:lnTo>
                    <a:pt x="300" y="180"/>
                  </a:lnTo>
                  <a:lnTo>
                    <a:pt x="261" y="202"/>
                  </a:lnTo>
                  <a:lnTo>
                    <a:pt x="226" y="231"/>
                  </a:lnTo>
                  <a:lnTo>
                    <a:pt x="197" y="266"/>
                  </a:lnTo>
                  <a:lnTo>
                    <a:pt x="175" y="307"/>
                  </a:lnTo>
                  <a:lnTo>
                    <a:pt x="163" y="350"/>
                  </a:lnTo>
                  <a:lnTo>
                    <a:pt x="158" y="397"/>
                  </a:lnTo>
                  <a:lnTo>
                    <a:pt x="163" y="443"/>
                  </a:lnTo>
                  <a:lnTo>
                    <a:pt x="175" y="487"/>
                  </a:lnTo>
                  <a:lnTo>
                    <a:pt x="195" y="526"/>
                  </a:lnTo>
                  <a:lnTo>
                    <a:pt x="224" y="562"/>
                  </a:lnTo>
                  <a:lnTo>
                    <a:pt x="260" y="592"/>
                  </a:lnTo>
                  <a:lnTo>
                    <a:pt x="299" y="614"/>
                  </a:lnTo>
                  <a:lnTo>
                    <a:pt x="341" y="628"/>
                  </a:lnTo>
                  <a:lnTo>
                    <a:pt x="388" y="631"/>
                  </a:lnTo>
                  <a:lnTo>
                    <a:pt x="433" y="628"/>
                  </a:lnTo>
                  <a:lnTo>
                    <a:pt x="475" y="614"/>
                  </a:lnTo>
                  <a:lnTo>
                    <a:pt x="514" y="592"/>
                  </a:lnTo>
                  <a:lnTo>
                    <a:pt x="550" y="562"/>
                  </a:lnTo>
                  <a:lnTo>
                    <a:pt x="580" y="526"/>
                  </a:lnTo>
                  <a:lnTo>
                    <a:pt x="602" y="487"/>
                  </a:lnTo>
                  <a:lnTo>
                    <a:pt x="614" y="443"/>
                  </a:lnTo>
                  <a:lnTo>
                    <a:pt x="619" y="397"/>
                  </a:lnTo>
                  <a:lnTo>
                    <a:pt x="614" y="350"/>
                  </a:lnTo>
                  <a:lnTo>
                    <a:pt x="602" y="307"/>
                  </a:lnTo>
                  <a:lnTo>
                    <a:pt x="580" y="266"/>
                  </a:lnTo>
                  <a:lnTo>
                    <a:pt x="551" y="231"/>
                  </a:lnTo>
                  <a:lnTo>
                    <a:pt x="516" y="202"/>
                  </a:lnTo>
                  <a:lnTo>
                    <a:pt x="477" y="180"/>
                  </a:lnTo>
                  <a:lnTo>
                    <a:pt x="434" y="168"/>
                  </a:lnTo>
                  <a:lnTo>
                    <a:pt x="388" y="163"/>
                  </a:lnTo>
                  <a:close/>
                  <a:moveTo>
                    <a:pt x="388" y="0"/>
                  </a:moveTo>
                  <a:lnTo>
                    <a:pt x="451" y="5"/>
                  </a:lnTo>
                  <a:lnTo>
                    <a:pt x="511" y="18"/>
                  </a:lnTo>
                  <a:lnTo>
                    <a:pt x="565" y="42"/>
                  </a:lnTo>
                  <a:lnTo>
                    <a:pt x="616" y="74"/>
                  </a:lnTo>
                  <a:lnTo>
                    <a:pt x="663" y="115"/>
                  </a:lnTo>
                  <a:lnTo>
                    <a:pt x="706" y="163"/>
                  </a:lnTo>
                  <a:lnTo>
                    <a:pt x="736" y="215"/>
                  </a:lnTo>
                  <a:lnTo>
                    <a:pt x="760" y="273"/>
                  </a:lnTo>
                  <a:lnTo>
                    <a:pt x="774" y="334"/>
                  </a:lnTo>
                  <a:lnTo>
                    <a:pt x="779" y="399"/>
                  </a:lnTo>
                  <a:lnTo>
                    <a:pt x="774" y="462"/>
                  </a:lnTo>
                  <a:lnTo>
                    <a:pt x="760" y="521"/>
                  </a:lnTo>
                  <a:lnTo>
                    <a:pt x="738" y="577"/>
                  </a:lnTo>
                  <a:lnTo>
                    <a:pt x="706" y="630"/>
                  </a:lnTo>
                  <a:lnTo>
                    <a:pt x="665" y="677"/>
                  </a:lnTo>
                  <a:lnTo>
                    <a:pt x="618" y="720"/>
                  </a:lnTo>
                  <a:lnTo>
                    <a:pt x="567" y="752"/>
                  </a:lnTo>
                  <a:lnTo>
                    <a:pt x="512" y="776"/>
                  </a:lnTo>
                  <a:lnTo>
                    <a:pt x="453" y="789"/>
                  </a:lnTo>
                  <a:lnTo>
                    <a:pt x="388" y="794"/>
                  </a:lnTo>
                  <a:lnTo>
                    <a:pt x="326" y="789"/>
                  </a:lnTo>
                  <a:lnTo>
                    <a:pt x="266" y="776"/>
                  </a:lnTo>
                  <a:lnTo>
                    <a:pt x="212" y="754"/>
                  </a:lnTo>
                  <a:lnTo>
                    <a:pt x="161" y="721"/>
                  </a:lnTo>
                  <a:lnTo>
                    <a:pt x="114" y="679"/>
                  </a:lnTo>
                  <a:lnTo>
                    <a:pt x="73" y="631"/>
                  </a:lnTo>
                  <a:lnTo>
                    <a:pt x="41" y="579"/>
                  </a:lnTo>
                  <a:lnTo>
                    <a:pt x="17" y="523"/>
                  </a:lnTo>
                  <a:lnTo>
                    <a:pt x="3" y="463"/>
                  </a:lnTo>
                  <a:lnTo>
                    <a:pt x="0" y="399"/>
                  </a:lnTo>
                  <a:lnTo>
                    <a:pt x="3" y="334"/>
                  </a:lnTo>
                  <a:lnTo>
                    <a:pt x="17" y="275"/>
                  </a:lnTo>
                  <a:lnTo>
                    <a:pt x="41" y="217"/>
                  </a:lnTo>
                  <a:lnTo>
                    <a:pt x="71" y="166"/>
                  </a:lnTo>
                  <a:lnTo>
                    <a:pt x="112" y="117"/>
                  </a:lnTo>
                  <a:lnTo>
                    <a:pt x="159" y="74"/>
                  </a:lnTo>
                  <a:lnTo>
                    <a:pt x="210" y="42"/>
                  </a:lnTo>
                  <a:lnTo>
                    <a:pt x="265" y="18"/>
                  </a:lnTo>
                  <a:lnTo>
                    <a:pt x="326" y="5"/>
                  </a:lnTo>
                  <a:lnTo>
                    <a:pt x="3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grpSp>
    </p:spTree>
    <p:extLst>
      <p:ext uri="{BB962C8B-B14F-4D97-AF65-F5344CB8AC3E}">
        <p14:creationId xmlns:p14="http://schemas.microsoft.com/office/powerpoint/2010/main" val="657125520"/>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Lst>
  <p:hf hdr="0"/>
  <p:txStyles>
    <p:titleStyle>
      <a:lvl1pPr algn="l" defTabSz="914400" rtl="0" eaLnBrk="1" latinLnBrk="0" hangingPunct="1">
        <a:spcBef>
          <a:spcPct val="0"/>
        </a:spcBef>
        <a:buNone/>
        <a:defRPr sz="2400" b="0" kern="1200" spc="20" baseline="0">
          <a:solidFill>
            <a:schemeClr val="tx1"/>
          </a:solidFill>
          <a:latin typeface="+mj-lt"/>
          <a:ea typeface="+mj-ea"/>
          <a:cs typeface="+mj-cs"/>
        </a:defRPr>
      </a:lvl1pPr>
    </p:titleStyle>
    <p:bodyStyle>
      <a:lvl1pPr marL="182563" indent="-182563" algn="l" defTabSz="914400" rtl="0" eaLnBrk="1" latinLnBrk="0" hangingPunct="1">
        <a:spcBef>
          <a:spcPts val="700"/>
        </a:spcBef>
        <a:buClr>
          <a:srgbClr val="A2D3F3"/>
        </a:buClr>
        <a:buSzPct val="90000"/>
        <a:buFont typeface="Wingdings 2" panose="05020102010507070707" pitchFamily="18" charset="2"/>
        <a:buChar char=""/>
        <a:defRPr sz="1800" kern="1200" spc="40" baseline="0">
          <a:solidFill>
            <a:schemeClr val="tx1"/>
          </a:solidFill>
          <a:latin typeface="+mn-lt"/>
          <a:ea typeface="+mn-ea"/>
          <a:cs typeface="+mn-cs"/>
        </a:defRPr>
      </a:lvl1pPr>
      <a:lvl2pPr marL="625475" indent="-168275" algn="l" defTabSz="914400" rtl="0" eaLnBrk="1" latinLnBrk="0" hangingPunct="1">
        <a:spcBef>
          <a:spcPct val="20000"/>
        </a:spcBef>
        <a:buClr>
          <a:srgbClr val="A2D3F3"/>
        </a:buClr>
        <a:buSzPct val="90000"/>
        <a:buFont typeface="Wingdings 2" panose="05020102010507070707" pitchFamily="18" charset="2"/>
        <a:buChar char=""/>
        <a:defRPr sz="1800" kern="1200" spc="20" baseline="0">
          <a:solidFill>
            <a:schemeClr val="tx1"/>
          </a:solidFill>
          <a:latin typeface="+mn-lt"/>
          <a:ea typeface="+mn-ea"/>
          <a:cs typeface="+mn-cs"/>
        </a:defRPr>
      </a:lvl2pPr>
      <a:lvl3pPr marL="1074738" indent="-160338" algn="l" defTabSz="914400" rtl="0" eaLnBrk="1" latinLnBrk="0" hangingPunct="1">
        <a:spcBef>
          <a:spcPct val="20000"/>
        </a:spcBef>
        <a:buClr>
          <a:srgbClr val="A2D3F3"/>
        </a:buClr>
        <a:buSzPct val="90000"/>
        <a:buFont typeface="Wingdings 2" panose="05020102010507070707" pitchFamily="18" charset="2"/>
        <a:buChar char=""/>
        <a:defRPr sz="1600" kern="1200" spc="20" baseline="0">
          <a:solidFill>
            <a:schemeClr val="tx1"/>
          </a:solidFill>
          <a:latin typeface="+mn-lt"/>
          <a:ea typeface="+mn-ea"/>
          <a:cs typeface="+mn-cs"/>
        </a:defRPr>
      </a:lvl3pPr>
      <a:lvl4pPr marL="1524000" indent="-152400" algn="l" defTabSz="914400" rtl="0" eaLnBrk="1" latinLnBrk="0" hangingPunct="1">
        <a:spcBef>
          <a:spcPct val="20000"/>
        </a:spcBef>
        <a:buClr>
          <a:srgbClr val="A2D3F3"/>
        </a:buClr>
        <a:buSzPct val="90000"/>
        <a:buFont typeface="Wingdings 2" panose="05020102010507070707" pitchFamily="18" charset="2"/>
        <a:buChar char=""/>
        <a:defRPr sz="1400" kern="1200" spc="20" baseline="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spc="2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D80C0F-9C3E-4349-8766-2C60FFEA92D8}" type="datetime1">
              <a:rPr lang="nl-BE" smtClean="0"/>
              <a:pPr/>
              <a:t>30/05/2023</a:t>
            </a:fld>
            <a:endParaRPr lang="nl-BE"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E375CD-4755-4D83-B134-E6AD5007676A}" type="slidenum">
              <a:rPr lang="nl-BE" smtClean="0"/>
              <a:pPr/>
              <a:t>‹nr.›</a:t>
            </a:fld>
            <a:endParaRPr lang="nl-BE" dirty="0"/>
          </a:p>
        </p:txBody>
      </p:sp>
    </p:spTree>
    <p:extLst>
      <p:ext uri="{BB962C8B-B14F-4D97-AF65-F5344CB8AC3E}">
        <p14:creationId xmlns:p14="http://schemas.microsoft.com/office/powerpoint/2010/main" val="2229964512"/>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9600" y="730560"/>
            <a:ext cx="10972800" cy="565200"/>
          </a:xfrm>
          <a:prstGeom prst="rect">
            <a:avLst/>
          </a:prstGeom>
        </p:spPr>
        <p:txBody>
          <a:bodyPr vert="horz" lIns="91440" tIns="45720" rIns="91440" bIns="45720" rtlCol="0" anchor="t" anchorCtr="0">
            <a:normAutofit/>
          </a:bodyPr>
          <a:lstStyle/>
          <a:p>
            <a:r>
              <a:rPr lang="en-US"/>
              <a:t>This is the title of the subject on this page</a:t>
            </a:r>
            <a:endParaRPr lang="nl-BE"/>
          </a:p>
        </p:txBody>
      </p:sp>
      <p:sp>
        <p:nvSpPr>
          <p:cNvPr id="3" name="Tijdelijke aanduiding voor tekst 2"/>
          <p:cNvSpPr>
            <a:spLocks noGrp="1"/>
          </p:cNvSpPr>
          <p:nvPr>
            <p:ph type="body" idx="1"/>
          </p:nvPr>
        </p:nvSpPr>
        <p:spPr>
          <a:xfrm>
            <a:off x="609600" y="1623061"/>
            <a:ext cx="10972800" cy="4525963"/>
          </a:xfrm>
          <a:prstGeom prst="rect">
            <a:avLst/>
          </a:prstGeom>
        </p:spPr>
        <p:txBody>
          <a:bodyPr vert="horz" lIns="486000" tIns="45720" rIns="91440" bIns="45720" rtlCol="0">
            <a:normAutofit/>
          </a:bodyPr>
          <a:lstStyle/>
          <a:p>
            <a:pPr lvl="0"/>
            <a:r>
              <a:rPr lang="en-US"/>
              <a:t>this could be a bulletpoint</a:t>
            </a:r>
            <a:endParaRPr lang="nl-NL"/>
          </a:p>
          <a:p>
            <a:pPr lvl="0"/>
            <a:r>
              <a:rPr lang="en-US"/>
              <a:t>this could be another bulletpoint</a:t>
            </a:r>
            <a:endParaRPr lang="nl-NL"/>
          </a:p>
          <a:p>
            <a:pPr lvl="0"/>
            <a:r>
              <a:rPr lang="en-US"/>
              <a:t>this could be the third bulletpoint</a:t>
            </a:r>
            <a:endParaRPr lang="nl-NL"/>
          </a:p>
          <a:p>
            <a:pPr lvl="0"/>
            <a:r>
              <a:rPr lang="en-US"/>
              <a:t>this bulletpoint needs some bodycopy</a:t>
            </a:r>
            <a:endParaRPr lang="nl-BE"/>
          </a:p>
        </p:txBody>
      </p:sp>
      <p:sp>
        <p:nvSpPr>
          <p:cNvPr id="4" name="Tijdelijke aanduiding voor datum 3"/>
          <p:cNvSpPr>
            <a:spLocks noGrp="1"/>
          </p:cNvSpPr>
          <p:nvPr>
            <p:ph type="dt" sz="half" idx="2"/>
          </p:nvPr>
        </p:nvSpPr>
        <p:spPr>
          <a:xfrm>
            <a:off x="1199456" y="6400801"/>
            <a:ext cx="917211" cy="276224"/>
          </a:xfrm>
          <a:prstGeom prst="rect">
            <a:avLst/>
          </a:prstGeom>
        </p:spPr>
        <p:txBody>
          <a:bodyPr vert="horz" lIns="72000" tIns="45720" rIns="72000" bIns="45720" rtlCol="0" anchor="b" anchorCtr="0"/>
          <a:lstStyle>
            <a:lvl1pPr algn="r">
              <a:defRPr sz="700">
                <a:solidFill>
                  <a:schemeClr val="tx1">
                    <a:tint val="75000"/>
                  </a:schemeClr>
                </a:solidFill>
              </a:defRPr>
            </a:lvl1pPr>
          </a:lstStyle>
          <a:p>
            <a:fld id="{68D80C0F-9C3E-4349-8766-2C60FFEA92D8}" type="datetime1">
              <a:rPr lang="nl-BE" smtClean="0"/>
              <a:pPr/>
              <a:t>30/05/2023</a:t>
            </a:fld>
            <a:endParaRPr lang="nl-BE"/>
          </a:p>
        </p:txBody>
      </p:sp>
      <p:sp>
        <p:nvSpPr>
          <p:cNvPr id="5" name="Tijdelijke aanduiding voor voettekst 4"/>
          <p:cNvSpPr>
            <a:spLocks noGrp="1"/>
          </p:cNvSpPr>
          <p:nvPr>
            <p:ph type="ftr" sz="quarter" idx="3"/>
          </p:nvPr>
        </p:nvSpPr>
        <p:spPr>
          <a:xfrm>
            <a:off x="2116667" y="6400801"/>
            <a:ext cx="8313605" cy="276224"/>
          </a:xfrm>
          <a:prstGeom prst="rect">
            <a:avLst/>
          </a:prstGeom>
        </p:spPr>
        <p:txBody>
          <a:bodyPr vert="horz" lIns="0" tIns="45720" rIns="0" bIns="45720" rtlCol="0" anchor="b" anchorCtr="0"/>
          <a:lstStyle>
            <a:lvl1pPr marL="88900" indent="-88900" algn="l">
              <a:buClr>
                <a:schemeClr val="accent2"/>
              </a:buClr>
              <a:buFont typeface="Arial" panose="020B0604020202020204" pitchFamily="34" charset="0"/>
              <a:buChar char="•"/>
              <a:defRPr sz="700">
                <a:solidFill>
                  <a:schemeClr val="tx1">
                    <a:tint val="75000"/>
                  </a:schemeClr>
                </a:solidFill>
              </a:defRPr>
            </a:lvl1pPr>
          </a:lstStyle>
          <a:p>
            <a:endParaRPr lang="nl-BE"/>
          </a:p>
        </p:txBody>
      </p:sp>
      <p:sp>
        <p:nvSpPr>
          <p:cNvPr id="6" name="Tijdelijke aanduiding voor dianummer 5"/>
          <p:cNvSpPr>
            <a:spLocks noGrp="1"/>
          </p:cNvSpPr>
          <p:nvPr>
            <p:ph type="sldNum" sz="quarter" idx="4"/>
          </p:nvPr>
        </p:nvSpPr>
        <p:spPr>
          <a:xfrm>
            <a:off x="609600" y="6400801"/>
            <a:ext cx="589856" cy="276224"/>
          </a:xfrm>
          <a:prstGeom prst="rect">
            <a:avLst/>
          </a:prstGeom>
        </p:spPr>
        <p:txBody>
          <a:bodyPr vert="horz" lIns="91440" tIns="45720" rIns="91440" bIns="45720" rtlCol="0" anchor="b" anchorCtr="0"/>
          <a:lstStyle>
            <a:lvl1pPr algn="l">
              <a:defRPr sz="700">
                <a:solidFill>
                  <a:schemeClr val="tx1">
                    <a:tint val="75000"/>
                  </a:schemeClr>
                </a:solidFill>
              </a:defRPr>
            </a:lvl1pPr>
          </a:lstStyle>
          <a:p>
            <a:fld id="{9BE375CD-4755-4D83-B134-E6AD5007676A}" type="slidenum">
              <a:rPr lang="nl-BE" smtClean="0"/>
              <a:pPr/>
              <a:t>‹nr.›</a:t>
            </a:fld>
            <a:endParaRPr lang="nl-BE"/>
          </a:p>
        </p:txBody>
      </p:sp>
      <p:sp>
        <p:nvSpPr>
          <p:cNvPr id="10" name="Rechthoek 9"/>
          <p:cNvSpPr/>
          <p:nvPr/>
        </p:nvSpPr>
        <p:spPr>
          <a:xfrm>
            <a:off x="0" y="6791326"/>
            <a:ext cx="12192000" cy="66675"/>
          </a:xfrm>
          <a:prstGeom prst="rect">
            <a:avLst/>
          </a:prstGeom>
          <a:solidFill>
            <a:srgbClr val="C6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800"/>
          </a:p>
        </p:txBody>
      </p:sp>
      <p:grpSp>
        <p:nvGrpSpPr>
          <p:cNvPr id="12" name="Group 7"/>
          <p:cNvGrpSpPr>
            <a:grpSpLocks noChangeAspect="1"/>
          </p:cNvGrpSpPr>
          <p:nvPr/>
        </p:nvGrpSpPr>
        <p:grpSpPr bwMode="auto">
          <a:xfrm>
            <a:off x="11110397" y="6416042"/>
            <a:ext cx="554553" cy="258577"/>
            <a:chOff x="4371" y="191"/>
            <a:chExt cx="5592" cy="2723"/>
          </a:xfrm>
          <a:solidFill>
            <a:srgbClr val="C62B37"/>
          </a:solidFill>
        </p:grpSpPr>
        <p:sp>
          <p:nvSpPr>
            <p:cNvPr id="13" name="Freeform 9"/>
            <p:cNvSpPr>
              <a:spLocks/>
            </p:cNvSpPr>
            <p:nvPr/>
          </p:nvSpPr>
          <p:spPr bwMode="auto">
            <a:xfrm>
              <a:off x="4649" y="1284"/>
              <a:ext cx="1811" cy="920"/>
            </a:xfrm>
            <a:custGeom>
              <a:avLst/>
              <a:gdLst>
                <a:gd name="T0" fmla="*/ 68 w 1811"/>
                <a:gd name="T1" fmla="*/ 0 h 920"/>
                <a:gd name="T2" fmla="*/ 611 w 1811"/>
                <a:gd name="T3" fmla="*/ 58 h 920"/>
                <a:gd name="T4" fmla="*/ 581 w 1811"/>
                <a:gd name="T5" fmla="*/ 189 h 920"/>
                <a:gd name="T6" fmla="*/ 582 w 1811"/>
                <a:gd name="T7" fmla="*/ 330 h 920"/>
                <a:gd name="T8" fmla="*/ 616 w 1811"/>
                <a:gd name="T9" fmla="*/ 454 h 920"/>
                <a:gd name="T10" fmla="*/ 686 w 1811"/>
                <a:gd name="T11" fmla="*/ 564 h 920"/>
                <a:gd name="T12" fmla="*/ 786 w 1811"/>
                <a:gd name="T13" fmla="*/ 657 h 920"/>
                <a:gd name="T14" fmla="*/ 903 w 1811"/>
                <a:gd name="T15" fmla="*/ 722 h 920"/>
                <a:gd name="T16" fmla="*/ 1032 w 1811"/>
                <a:gd name="T17" fmla="*/ 754 h 920"/>
                <a:gd name="T18" fmla="*/ 1641 w 1811"/>
                <a:gd name="T19" fmla="*/ 757 h 920"/>
                <a:gd name="T20" fmla="*/ 1657 w 1811"/>
                <a:gd name="T21" fmla="*/ 776 h 920"/>
                <a:gd name="T22" fmla="*/ 1672 w 1811"/>
                <a:gd name="T23" fmla="*/ 795 h 920"/>
                <a:gd name="T24" fmla="*/ 1689 w 1811"/>
                <a:gd name="T25" fmla="*/ 813 h 920"/>
                <a:gd name="T26" fmla="*/ 1758 w 1811"/>
                <a:gd name="T27" fmla="*/ 880 h 920"/>
                <a:gd name="T28" fmla="*/ 1102 w 1811"/>
                <a:gd name="T29" fmla="*/ 920 h 920"/>
                <a:gd name="T30" fmla="*/ 951 w 1811"/>
                <a:gd name="T31" fmla="*/ 905 h 920"/>
                <a:gd name="T32" fmla="*/ 811 w 1811"/>
                <a:gd name="T33" fmla="*/ 858 h 920"/>
                <a:gd name="T34" fmla="*/ 682 w 1811"/>
                <a:gd name="T35" fmla="*/ 780 h 920"/>
                <a:gd name="T36" fmla="*/ 569 w 1811"/>
                <a:gd name="T37" fmla="*/ 671 h 920"/>
                <a:gd name="T38" fmla="*/ 486 w 1811"/>
                <a:gd name="T39" fmla="*/ 549 h 920"/>
                <a:gd name="T40" fmla="*/ 435 w 1811"/>
                <a:gd name="T41" fmla="*/ 413 h 920"/>
                <a:gd name="T42" fmla="*/ 418 w 1811"/>
                <a:gd name="T43" fmla="*/ 263 h 920"/>
                <a:gd name="T44" fmla="*/ 426 w 1811"/>
                <a:gd name="T45" fmla="*/ 146 h 920"/>
                <a:gd name="T46" fmla="*/ 153 w 1811"/>
                <a:gd name="T47" fmla="*/ 839 h 920"/>
                <a:gd name="T48" fmla="*/ 150 w 1811"/>
                <a:gd name="T49" fmla="*/ 868 h 920"/>
                <a:gd name="T50" fmla="*/ 122 w 1811"/>
                <a:gd name="T51" fmla="*/ 905 h 920"/>
                <a:gd name="T52" fmla="*/ 77 w 1811"/>
                <a:gd name="T53" fmla="*/ 920 h 920"/>
                <a:gd name="T54" fmla="*/ 33 w 1811"/>
                <a:gd name="T55" fmla="*/ 905 h 920"/>
                <a:gd name="T56" fmla="*/ 5 w 1811"/>
                <a:gd name="T57" fmla="*/ 868 h 920"/>
                <a:gd name="T58" fmla="*/ 2 w 1811"/>
                <a:gd name="T59" fmla="*/ 842 h 920"/>
                <a:gd name="T60" fmla="*/ 0 w 1811"/>
                <a:gd name="T61" fmla="*/ 70 h 920"/>
                <a:gd name="T62" fmla="*/ 2 w 1811"/>
                <a:gd name="T63" fmla="*/ 60 h 920"/>
                <a:gd name="T64" fmla="*/ 9 w 1811"/>
                <a:gd name="T65" fmla="*/ 36 h 920"/>
                <a:gd name="T66" fmla="*/ 27 w 1811"/>
                <a:gd name="T67" fmla="*/ 11 h 920"/>
                <a:gd name="T68" fmla="*/ 68 w 1811"/>
                <a:gd name="T69"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1" h="920">
                  <a:moveTo>
                    <a:pt x="68" y="0"/>
                  </a:moveTo>
                  <a:lnTo>
                    <a:pt x="68" y="0"/>
                  </a:lnTo>
                  <a:lnTo>
                    <a:pt x="637" y="0"/>
                  </a:lnTo>
                  <a:lnTo>
                    <a:pt x="611" y="58"/>
                  </a:lnTo>
                  <a:lnTo>
                    <a:pt x="593" y="121"/>
                  </a:lnTo>
                  <a:lnTo>
                    <a:pt x="581" y="189"/>
                  </a:lnTo>
                  <a:lnTo>
                    <a:pt x="577" y="263"/>
                  </a:lnTo>
                  <a:lnTo>
                    <a:pt x="582" y="330"/>
                  </a:lnTo>
                  <a:lnTo>
                    <a:pt x="594" y="392"/>
                  </a:lnTo>
                  <a:lnTo>
                    <a:pt x="616" y="454"/>
                  </a:lnTo>
                  <a:lnTo>
                    <a:pt x="647" y="510"/>
                  </a:lnTo>
                  <a:lnTo>
                    <a:pt x="686" y="564"/>
                  </a:lnTo>
                  <a:lnTo>
                    <a:pt x="733" y="613"/>
                  </a:lnTo>
                  <a:lnTo>
                    <a:pt x="786" y="657"/>
                  </a:lnTo>
                  <a:lnTo>
                    <a:pt x="844" y="693"/>
                  </a:lnTo>
                  <a:lnTo>
                    <a:pt x="903" y="722"/>
                  </a:lnTo>
                  <a:lnTo>
                    <a:pt x="966" y="742"/>
                  </a:lnTo>
                  <a:lnTo>
                    <a:pt x="1032" y="754"/>
                  </a:lnTo>
                  <a:lnTo>
                    <a:pt x="1102" y="757"/>
                  </a:lnTo>
                  <a:lnTo>
                    <a:pt x="1641" y="757"/>
                  </a:lnTo>
                  <a:lnTo>
                    <a:pt x="1641" y="757"/>
                  </a:lnTo>
                  <a:lnTo>
                    <a:pt x="1657" y="776"/>
                  </a:lnTo>
                  <a:lnTo>
                    <a:pt x="1658" y="778"/>
                  </a:lnTo>
                  <a:lnTo>
                    <a:pt x="1672" y="795"/>
                  </a:lnTo>
                  <a:lnTo>
                    <a:pt x="1677" y="802"/>
                  </a:lnTo>
                  <a:lnTo>
                    <a:pt x="1689" y="813"/>
                  </a:lnTo>
                  <a:lnTo>
                    <a:pt x="1707" y="832"/>
                  </a:lnTo>
                  <a:lnTo>
                    <a:pt x="1758" y="880"/>
                  </a:lnTo>
                  <a:lnTo>
                    <a:pt x="1811" y="920"/>
                  </a:lnTo>
                  <a:lnTo>
                    <a:pt x="1102" y="920"/>
                  </a:lnTo>
                  <a:lnTo>
                    <a:pt x="1025" y="917"/>
                  </a:lnTo>
                  <a:lnTo>
                    <a:pt x="951" y="905"/>
                  </a:lnTo>
                  <a:lnTo>
                    <a:pt x="879" y="885"/>
                  </a:lnTo>
                  <a:lnTo>
                    <a:pt x="811" y="858"/>
                  </a:lnTo>
                  <a:lnTo>
                    <a:pt x="745" y="822"/>
                  </a:lnTo>
                  <a:lnTo>
                    <a:pt x="682" y="780"/>
                  </a:lnTo>
                  <a:lnTo>
                    <a:pt x="623" y="729"/>
                  </a:lnTo>
                  <a:lnTo>
                    <a:pt x="569" y="671"/>
                  </a:lnTo>
                  <a:lnTo>
                    <a:pt x="523" y="611"/>
                  </a:lnTo>
                  <a:lnTo>
                    <a:pt x="486" y="549"/>
                  </a:lnTo>
                  <a:lnTo>
                    <a:pt x="457" y="482"/>
                  </a:lnTo>
                  <a:lnTo>
                    <a:pt x="435" y="413"/>
                  </a:lnTo>
                  <a:lnTo>
                    <a:pt x="423" y="340"/>
                  </a:lnTo>
                  <a:lnTo>
                    <a:pt x="418" y="263"/>
                  </a:lnTo>
                  <a:lnTo>
                    <a:pt x="421" y="204"/>
                  </a:lnTo>
                  <a:lnTo>
                    <a:pt x="426" y="146"/>
                  </a:lnTo>
                  <a:lnTo>
                    <a:pt x="153" y="146"/>
                  </a:lnTo>
                  <a:lnTo>
                    <a:pt x="153" y="839"/>
                  </a:lnTo>
                  <a:lnTo>
                    <a:pt x="153" y="844"/>
                  </a:lnTo>
                  <a:lnTo>
                    <a:pt x="150" y="868"/>
                  </a:lnTo>
                  <a:lnTo>
                    <a:pt x="138" y="890"/>
                  </a:lnTo>
                  <a:lnTo>
                    <a:pt x="122" y="905"/>
                  </a:lnTo>
                  <a:lnTo>
                    <a:pt x="100" y="917"/>
                  </a:lnTo>
                  <a:lnTo>
                    <a:pt x="77" y="920"/>
                  </a:lnTo>
                  <a:lnTo>
                    <a:pt x="53" y="917"/>
                  </a:lnTo>
                  <a:lnTo>
                    <a:pt x="33" y="905"/>
                  </a:lnTo>
                  <a:lnTo>
                    <a:pt x="16" y="890"/>
                  </a:lnTo>
                  <a:lnTo>
                    <a:pt x="5" y="868"/>
                  </a:lnTo>
                  <a:lnTo>
                    <a:pt x="0" y="844"/>
                  </a:lnTo>
                  <a:lnTo>
                    <a:pt x="2" y="842"/>
                  </a:lnTo>
                  <a:lnTo>
                    <a:pt x="0" y="842"/>
                  </a:lnTo>
                  <a:lnTo>
                    <a:pt x="0" y="70"/>
                  </a:lnTo>
                  <a:lnTo>
                    <a:pt x="0" y="68"/>
                  </a:lnTo>
                  <a:lnTo>
                    <a:pt x="2" y="60"/>
                  </a:lnTo>
                  <a:lnTo>
                    <a:pt x="4" y="48"/>
                  </a:lnTo>
                  <a:lnTo>
                    <a:pt x="9" y="36"/>
                  </a:lnTo>
                  <a:lnTo>
                    <a:pt x="16" y="22"/>
                  </a:lnTo>
                  <a:lnTo>
                    <a:pt x="27" y="11"/>
                  </a:lnTo>
                  <a:lnTo>
                    <a:pt x="44" y="4"/>
                  </a:lnTo>
                  <a:lnTo>
                    <a:pt x="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4" name="Freeform 10"/>
            <p:cNvSpPr>
              <a:spLocks noEditPoints="1"/>
            </p:cNvSpPr>
            <p:nvPr/>
          </p:nvSpPr>
          <p:spPr bwMode="auto">
            <a:xfrm>
              <a:off x="6528" y="1152"/>
              <a:ext cx="784" cy="789"/>
            </a:xfrm>
            <a:custGeom>
              <a:avLst/>
              <a:gdLst>
                <a:gd name="T0" fmla="*/ 341 w 784"/>
                <a:gd name="T1" fmla="*/ 166 h 789"/>
                <a:gd name="T2" fmla="*/ 259 w 784"/>
                <a:gd name="T3" fmla="*/ 200 h 789"/>
                <a:gd name="T4" fmla="*/ 195 w 784"/>
                <a:gd name="T5" fmla="*/ 266 h 789"/>
                <a:gd name="T6" fmla="*/ 163 w 784"/>
                <a:gd name="T7" fmla="*/ 351 h 789"/>
                <a:gd name="T8" fmla="*/ 163 w 784"/>
                <a:gd name="T9" fmla="*/ 445 h 789"/>
                <a:gd name="T10" fmla="*/ 197 w 784"/>
                <a:gd name="T11" fmla="*/ 526 h 789"/>
                <a:gd name="T12" fmla="*/ 261 w 784"/>
                <a:gd name="T13" fmla="*/ 591 h 789"/>
                <a:gd name="T14" fmla="*/ 343 w 784"/>
                <a:gd name="T15" fmla="*/ 623 h 789"/>
                <a:gd name="T16" fmla="*/ 436 w 784"/>
                <a:gd name="T17" fmla="*/ 623 h 789"/>
                <a:gd name="T18" fmla="*/ 519 w 784"/>
                <a:gd name="T19" fmla="*/ 591 h 789"/>
                <a:gd name="T20" fmla="*/ 585 w 784"/>
                <a:gd name="T21" fmla="*/ 526 h 789"/>
                <a:gd name="T22" fmla="*/ 621 w 784"/>
                <a:gd name="T23" fmla="*/ 445 h 789"/>
                <a:gd name="T24" fmla="*/ 621 w 784"/>
                <a:gd name="T25" fmla="*/ 351 h 789"/>
                <a:gd name="T26" fmla="*/ 587 w 784"/>
                <a:gd name="T27" fmla="*/ 266 h 789"/>
                <a:gd name="T28" fmla="*/ 521 w 784"/>
                <a:gd name="T29" fmla="*/ 200 h 789"/>
                <a:gd name="T30" fmla="*/ 436 w 784"/>
                <a:gd name="T31" fmla="*/ 166 h 789"/>
                <a:gd name="T32" fmla="*/ 388 w 784"/>
                <a:gd name="T33" fmla="*/ 0 h 789"/>
                <a:gd name="T34" fmla="*/ 512 w 784"/>
                <a:gd name="T35" fmla="*/ 19 h 789"/>
                <a:gd name="T36" fmla="*/ 621 w 784"/>
                <a:gd name="T37" fmla="*/ 75 h 789"/>
                <a:gd name="T38" fmla="*/ 711 w 784"/>
                <a:gd name="T39" fmla="*/ 166 h 789"/>
                <a:gd name="T40" fmla="*/ 765 w 784"/>
                <a:gd name="T41" fmla="*/ 275 h 789"/>
                <a:gd name="T42" fmla="*/ 784 w 784"/>
                <a:gd name="T43" fmla="*/ 399 h 789"/>
                <a:gd name="T44" fmla="*/ 765 w 784"/>
                <a:gd name="T45" fmla="*/ 519 h 789"/>
                <a:gd name="T46" fmla="*/ 709 w 784"/>
                <a:gd name="T47" fmla="*/ 626 h 789"/>
                <a:gd name="T48" fmla="*/ 619 w 784"/>
                <a:gd name="T49" fmla="*/ 716 h 789"/>
                <a:gd name="T50" fmla="*/ 512 w 784"/>
                <a:gd name="T51" fmla="*/ 772 h 789"/>
                <a:gd name="T52" fmla="*/ 388 w 784"/>
                <a:gd name="T53" fmla="*/ 789 h 789"/>
                <a:gd name="T54" fmla="*/ 266 w 784"/>
                <a:gd name="T55" fmla="*/ 772 h 789"/>
                <a:gd name="T56" fmla="*/ 159 w 784"/>
                <a:gd name="T57" fmla="*/ 718 h 789"/>
                <a:gd name="T58" fmla="*/ 73 w 784"/>
                <a:gd name="T59" fmla="*/ 630 h 789"/>
                <a:gd name="T60" fmla="*/ 19 w 784"/>
                <a:gd name="T61" fmla="*/ 523 h 789"/>
                <a:gd name="T62" fmla="*/ 0 w 784"/>
                <a:gd name="T63" fmla="*/ 399 h 789"/>
                <a:gd name="T64" fmla="*/ 19 w 784"/>
                <a:gd name="T65" fmla="*/ 275 h 789"/>
                <a:gd name="T66" fmla="*/ 73 w 784"/>
                <a:gd name="T67" fmla="*/ 166 h 789"/>
                <a:gd name="T68" fmla="*/ 163 w 784"/>
                <a:gd name="T69" fmla="*/ 75 h 789"/>
                <a:gd name="T70" fmla="*/ 268 w 784"/>
                <a:gd name="T71" fmla="*/ 19 h 789"/>
                <a:gd name="T72" fmla="*/ 388 w 784"/>
                <a:gd name="T7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4" h="789">
                  <a:moveTo>
                    <a:pt x="388" y="161"/>
                  </a:moveTo>
                  <a:lnTo>
                    <a:pt x="341" y="166"/>
                  </a:lnTo>
                  <a:lnTo>
                    <a:pt x="299" y="178"/>
                  </a:lnTo>
                  <a:lnTo>
                    <a:pt x="259" y="200"/>
                  </a:lnTo>
                  <a:lnTo>
                    <a:pt x="224" y="229"/>
                  </a:lnTo>
                  <a:lnTo>
                    <a:pt x="195" y="266"/>
                  </a:lnTo>
                  <a:lnTo>
                    <a:pt x="175" y="305"/>
                  </a:lnTo>
                  <a:lnTo>
                    <a:pt x="163" y="351"/>
                  </a:lnTo>
                  <a:lnTo>
                    <a:pt x="159" y="399"/>
                  </a:lnTo>
                  <a:lnTo>
                    <a:pt x="163" y="445"/>
                  </a:lnTo>
                  <a:lnTo>
                    <a:pt x="175" y="487"/>
                  </a:lnTo>
                  <a:lnTo>
                    <a:pt x="197" y="526"/>
                  </a:lnTo>
                  <a:lnTo>
                    <a:pt x="226" y="562"/>
                  </a:lnTo>
                  <a:lnTo>
                    <a:pt x="261" y="591"/>
                  </a:lnTo>
                  <a:lnTo>
                    <a:pt x="300" y="611"/>
                  </a:lnTo>
                  <a:lnTo>
                    <a:pt x="343" y="623"/>
                  </a:lnTo>
                  <a:lnTo>
                    <a:pt x="388" y="628"/>
                  </a:lnTo>
                  <a:lnTo>
                    <a:pt x="436" y="623"/>
                  </a:lnTo>
                  <a:lnTo>
                    <a:pt x="478" y="611"/>
                  </a:lnTo>
                  <a:lnTo>
                    <a:pt x="519" y="591"/>
                  </a:lnTo>
                  <a:lnTo>
                    <a:pt x="555" y="562"/>
                  </a:lnTo>
                  <a:lnTo>
                    <a:pt x="585" y="526"/>
                  </a:lnTo>
                  <a:lnTo>
                    <a:pt x="607" y="487"/>
                  </a:lnTo>
                  <a:lnTo>
                    <a:pt x="621" y="445"/>
                  </a:lnTo>
                  <a:lnTo>
                    <a:pt x="624" y="399"/>
                  </a:lnTo>
                  <a:lnTo>
                    <a:pt x="621" y="351"/>
                  </a:lnTo>
                  <a:lnTo>
                    <a:pt x="607" y="305"/>
                  </a:lnTo>
                  <a:lnTo>
                    <a:pt x="587" y="266"/>
                  </a:lnTo>
                  <a:lnTo>
                    <a:pt x="556" y="229"/>
                  </a:lnTo>
                  <a:lnTo>
                    <a:pt x="521" y="200"/>
                  </a:lnTo>
                  <a:lnTo>
                    <a:pt x="480" y="178"/>
                  </a:lnTo>
                  <a:lnTo>
                    <a:pt x="436" y="166"/>
                  </a:lnTo>
                  <a:lnTo>
                    <a:pt x="388" y="161"/>
                  </a:lnTo>
                  <a:close/>
                  <a:moveTo>
                    <a:pt x="388" y="0"/>
                  </a:moveTo>
                  <a:lnTo>
                    <a:pt x="453" y="5"/>
                  </a:lnTo>
                  <a:lnTo>
                    <a:pt x="512" y="19"/>
                  </a:lnTo>
                  <a:lnTo>
                    <a:pt x="570" y="42"/>
                  </a:lnTo>
                  <a:lnTo>
                    <a:pt x="621" y="75"/>
                  </a:lnTo>
                  <a:lnTo>
                    <a:pt x="668" y="117"/>
                  </a:lnTo>
                  <a:lnTo>
                    <a:pt x="711" y="166"/>
                  </a:lnTo>
                  <a:lnTo>
                    <a:pt x="743" y="219"/>
                  </a:lnTo>
                  <a:lnTo>
                    <a:pt x="765" y="275"/>
                  </a:lnTo>
                  <a:lnTo>
                    <a:pt x="779" y="334"/>
                  </a:lnTo>
                  <a:lnTo>
                    <a:pt x="784" y="399"/>
                  </a:lnTo>
                  <a:lnTo>
                    <a:pt x="779" y="462"/>
                  </a:lnTo>
                  <a:lnTo>
                    <a:pt x="765" y="519"/>
                  </a:lnTo>
                  <a:lnTo>
                    <a:pt x="741" y="575"/>
                  </a:lnTo>
                  <a:lnTo>
                    <a:pt x="709" y="626"/>
                  </a:lnTo>
                  <a:lnTo>
                    <a:pt x="668" y="674"/>
                  </a:lnTo>
                  <a:lnTo>
                    <a:pt x="619" y="716"/>
                  </a:lnTo>
                  <a:lnTo>
                    <a:pt x="567" y="749"/>
                  </a:lnTo>
                  <a:lnTo>
                    <a:pt x="512" y="772"/>
                  </a:lnTo>
                  <a:lnTo>
                    <a:pt x="451" y="786"/>
                  </a:lnTo>
                  <a:lnTo>
                    <a:pt x="388" y="789"/>
                  </a:lnTo>
                  <a:lnTo>
                    <a:pt x="326" y="786"/>
                  </a:lnTo>
                  <a:lnTo>
                    <a:pt x="266" y="772"/>
                  </a:lnTo>
                  <a:lnTo>
                    <a:pt x="212" y="750"/>
                  </a:lnTo>
                  <a:lnTo>
                    <a:pt x="159" y="718"/>
                  </a:lnTo>
                  <a:lnTo>
                    <a:pt x="114" y="677"/>
                  </a:lnTo>
                  <a:lnTo>
                    <a:pt x="73" y="630"/>
                  </a:lnTo>
                  <a:lnTo>
                    <a:pt x="41" y="579"/>
                  </a:lnTo>
                  <a:lnTo>
                    <a:pt x="19" y="523"/>
                  </a:lnTo>
                  <a:lnTo>
                    <a:pt x="5" y="463"/>
                  </a:lnTo>
                  <a:lnTo>
                    <a:pt x="0" y="399"/>
                  </a:lnTo>
                  <a:lnTo>
                    <a:pt x="5" y="334"/>
                  </a:lnTo>
                  <a:lnTo>
                    <a:pt x="19" y="275"/>
                  </a:lnTo>
                  <a:lnTo>
                    <a:pt x="41" y="219"/>
                  </a:lnTo>
                  <a:lnTo>
                    <a:pt x="73" y="166"/>
                  </a:lnTo>
                  <a:lnTo>
                    <a:pt x="114" y="117"/>
                  </a:lnTo>
                  <a:lnTo>
                    <a:pt x="163" y="75"/>
                  </a:lnTo>
                  <a:lnTo>
                    <a:pt x="214" y="42"/>
                  </a:lnTo>
                  <a:lnTo>
                    <a:pt x="268" y="19"/>
                  </a:lnTo>
                  <a:lnTo>
                    <a:pt x="327" y="5"/>
                  </a:lnTo>
                  <a:lnTo>
                    <a:pt x="3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5" name="Freeform 11"/>
            <p:cNvSpPr>
              <a:spLocks/>
            </p:cNvSpPr>
            <p:nvPr/>
          </p:nvSpPr>
          <p:spPr bwMode="auto">
            <a:xfrm>
              <a:off x="4371" y="191"/>
              <a:ext cx="5327" cy="2450"/>
            </a:xfrm>
            <a:custGeom>
              <a:avLst/>
              <a:gdLst>
                <a:gd name="T0" fmla="*/ 2282 w 5327"/>
                <a:gd name="T1" fmla="*/ 127 h 2450"/>
                <a:gd name="T2" fmla="*/ 2342 w 5327"/>
                <a:gd name="T3" fmla="*/ 739 h 2450"/>
                <a:gd name="T4" fmla="*/ 2773 w 5327"/>
                <a:gd name="T5" fmla="*/ 737 h 2450"/>
                <a:gd name="T6" fmla="*/ 3136 w 5327"/>
                <a:gd name="T7" fmla="*/ 1061 h 2450"/>
                <a:gd name="T8" fmla="*/ 3448 w 5327"/>
                <a:gd name="T9" fmla="*/ 749 h 2450"/>
                <a:gd name="T10" fmla="*/ 3968 w 5327"/>
                <a:gd name="T11" fmla="*/ 720 h 2450"/>
                <a:gd name="T12" fmla="*/ 4337 w 5327"/>
                <a:gd name="T13" fmla="*/ 1017 h 2450"/>
                <a:gd name="T14" fmla="*/ 4422 w 5327"/>
                <a:gd name="T15" fmla="*/ 1353 h 2450"/>
                <a:gd name="T16" fmla="*/ 4617 w 5327"/>
                <a:gd name="T17" fmla="*/ 1767 h 2450"/>
                <a:gd name="T18" fmla="*/ 5060 w 5327"/>
                <a:gd name="T19" fmla="*/ 1852 h 2450"/>
                <a:gd name="T20" fmla="*/ 5322 w 5327"/>
                <a:gd name="T21" fmla="*/ 2129 h 2450"/>
                <a:gd name="T22" fmla="*/ 5089 w 5327"/>
                <a:gd name="T23" fmla="*/ 2433 h 2450"/>
                <a:gd name="T24" fmla="*/ 4826 w 5327"/>
                <a:gd name="T25" fmla="*/ 2419 h 2450"/>
                <a:gd name="T26" fmla="*/ 4813 w 5327"/>
                <a:gd name="T27" fmla="*/ 2283 h 2450"/>
                <a:gd name="T28" fmla="*/ 4886 w 5327"/>
                <a:gd name="T29" fmla="*/ 2273 h 2450"/>
                <a:gd name="T30" fmla="*/ 5062 w 5327"/>
                <a:gd name="T31" fmla="*/ 2278 h 2450"/>
                <a:gd name="T32" fmla="*/ 5179 w 5327"/>
                <a:gd name="T33" fmla="*/ 2007 h 2450"/>
                <a:gd name="T34" fmla="*/ 4852 w 5327"/>
                <a:gd name="T35" fmla="*/ 2003 h 2450"/>
                <a:gd name="T36" fmla="*/ 4417 w 5327"/>
                <a:gd name="T37" fmla="*/ 1755 h 2450"/>
                <a:gd name="T38" fmla="*/ 4271 w 5327"/>
                <a:gd name="T39" fmla="*/ 1312 h 2450"/>
                <a:gd name="T40" fmla="*/ 4096 w 5327"/>
                <a:gd name="T41" fmla="*/ 961 h 2450"/>
                <a:gd name="T42" fmla="*/ 3679 w 5327"/>
                <a:gd name="T43" fmla="*/ 847 h 2450"/>
                <a:gd name="T44" fmla="*/ 3312 w 5327"/>
                <a:gd name="T45" fmla="*/ 1064 h 2450"/>
                <a:gd name="T46" fmla="*/ 3255 w 5327"/>
                <a:gd name="T47" fmla="*/ 1485 h 2450"/>
                <a:gd name="T48" fmla="*/ 3562 w 5327"/>
                <a:gd name="T49" fmla="*/ 1815 h 2450"/>
                <a:gd name="T50" fmla="*/ 4424 w 5327"/>
                <a:gd name="T51" fmla="*/ 1973 h 2450"/>
                <a:gd name="T52" fmla="*/ 3406 w 5327"/>
                <a:gd name="T53" fmla="*/ 1915 h 2450"/>
                <a:gd name="T54" fmla="*/ 3066 w 5327"/>
                <a:gd name="T55" fmla="*/ 1767 h 2450"/>
                <a:gd name="T56" fmla="*/ 2627 w 5327"/>
                <a:gd name="T57" fmla="*/ 2010 h 2450"/>
                <a:gd name="T58" fmla="*/ 2140 w 5327"/>
                <a:gd name="T59" fmla="*/ 1878 h 2450"/>
                <a:gd name="T60" fmla="*/ 1896 w 5327"/>
                <a:gd name="T61" fmla="*/ 1446 h 2450"/>
                <a:gd name="T62" fmla="*/ 1794 w 5327"/>
                <a:gd name="T63" fmla="*/ 1047 h 2450"/>
                <a:gd name="T64" fmla="*/ 1436 w 5327"/>
                <a:gd name="T65" fmla="*/ 847 h 2450"/>
                <a:gd name="T66" fmla="*/ 348 w 5327"/>
                <a:gd name="T67" fmla="*/ 947 h 2450"/>
                <a:gd name="T68" fmla="*/ 280 w 5327"/>
                <a:gd name="T69" fmla="*/ 888 h 2450"/>
                <a:gd name="T70" fmla="*/ 319 w 5327"/>
                <a:gd name="T71" fmla="*/ 465 h 2450"/>
                <a:gd name="T72" fmla="*/ 555 w 5327"/>
                <a:gd name="T73" fmla="*/ 333 h 2450"/>
                <a:gd name="T74" fmla="*/ 1081 w 5327"/>
                <a:gd name="T75" fmla="*/ 268 h 2450"/>
                <a:gd name="T76" fmla="*/ 531 w 5327"/>
                <a:gd name="T77" fmla="*/ 197 h 2450"/>
                <a:gd name="T78" fmla="*/ 251 w 5327"/>
                <a:gd name="T79" fmla="*/ 324 h 2450"/>
                <a:gd name="T80" fmla="*/ 151 w 5327"/>
                <a:gd name="T81" fmla="*/ 1940 h 2450"/>
                <a:gd name="T82" fmla="*/ 32 w 5327"/>
                <a:gd name="T83" fmla="*/ 2000 h 2450"/>
                <a:gd name="T84" fmla="*/ 10 w 5327"/>
                <a:gd name="T85" fmla="*/ 484 h 2450"/>
                <a:gd name="T86" fmla="*/ 243 w 5327"/>
                <a:gd name="T87" fmla="*/ 136 h 2450"/>
                <a:gd name="T88" fmla="*/ 1032 w 5327"/>
                <a:gd name="T89" fmla="*/ 44 h 2450"/>
                <a:gd name="T90" fmla="*/ 1224 w 5327"/>
                <a:gd name="T91" fmla="*/ 214 h 2450"/>
                <a:gd name="T92" fmla="*/ 1108 w 5327"/>
                <a:gd name="T93" fmla="*/ 452 h 2450"/>
                <a:gd name="T94" fmla="*/ 572 w 5327"/>
                <a:gd name="T95" fmla="*/ 474 h 2450"/>
                <a:gd name="T96" fmla="*/ 416 w 5327"/>
                <a:gd name="T97" fmla="*/ 635 h 2450"/>
                <a:gd name="T98" fmla="*/ 1290 w 5327"/>
                <a:gd name="T99" fmla="*/ 693 h 2450"/>
                <a:gd name="T100" fmla="*/ 1768 w 5327"/>
                <a:gd name="T101" fmla="*/ 808 h 2450"/>
                <a:gd name="T102" fmla="*/ 2028 w 5327"/>
                <a:gd name="T103" fmla="*/ 1226 h 2450"/>
                <a:gd name="T104" fmla="*/ 2147 w 5327"/>
                <a:gd name="T105" fmla="*/ 1660 h 2450"/>
                <a:gd name="T106" fmla="*/ 2554 w 5327"/>
                <a:gd name="T107" fmla="*/ 1852 h 2450"/>
                <a:gd name="T108" fmla="*/ 2954 w 5327"/>
                <a:gd name="T109" fmla="*/ 1662 h 2450"/>
                <a:gd name="T110" fmla="*/ 3041 w 5327"/>
                <a:gd name="T111" fmla="*/ 1226 h 2450"/>
                <a:gd name="T112" fmla="*/ 2751 w 5327"/>
                <a:gd name="T113" fmla="*/ 874 h 2450"/>
                <a:gd name="T114" fmla="*/ 2277 w 5327"/>
                <a:gd name="T115" fmla="*/ 918 h 2450"/>
                <a:gd name="T116" fmla="*/ 2136 w 5327"/>
                <a:gd name="T117" fmla="*/ 165 h 2450"/>
                <a:gd name="T118" fmla="*/ 2021 w 5327"/>
                <a:gd name="T119" fmla="*/ 195 h 2450"/>
                <a:gd name="T120" fmla="*/ 1896 w 5327"/>
                <a:gd name="T121" fmla="*/ 769 h 2450"/>
                <a:gd name="T122" fmla="*/ 1906 w 5327"/>
                <a:gd name="T123" fmla="*/ 93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7" h="2450">
                  <a:moveTo>
                    <a:pt x="2087" y="0"/>
                  </a:moveTo>
                  <a:lnTo>
                    <a:pt x="2130" y="3"/>
                  </a:lnTo>
                  <a:lnTo>
                    <a:pt x="2170" y="15"/>
                  </a:lnTo>
                  <a:lnTo>
                    <a:pt x="2206" y="36"/>
                  </a:lnTo>
                  <a:lnTo>
                    <a:pt x="2237" y="61"/>
                  </a:lnTo>
                  <a:lnTo>
                    <a:pt x="2264" y="92"/>
                  </a:lnTo>
                  <a:lnTo>
                    <a:pt x="2282" y="127"/>
                  </a:lnTo>
                  <a:lnTo>
                    <a:pt x="2296" y="168"/>
                  </a:lnTo>
                  <a:lnTo>
                    <a:pt x="2299" y="212"/>
                  </a:lnTo>
                  <a:lnTo>
                    <a:pt x="2299" y="212"/>
                  </a:lnTo>
                  <a:lnTo>
                    <a:pt x="2301" y="222"/>
                  </a:lnTo>
                  <a:lnTo>
                    <a:pt x="2301" y="233"/>
                  </a:lnTo>
                  <a:lnTo>
                    <a:pt x="2301" y="756"/>
                  </a:lnTo>
                  <a:lnTo>
                    <a:pt x="2342" y="739"/>
                  </a:lnTo>
                  <a:lnTo>
                    <a:pt x="2374" y="727"/>
                  </a:lnTo>
                  <a:lnTo>
                    <a:pt x="2433" y="711"/>
                  </a:lnTo>
                  <a:lnTo>
                    <a:pt x="2495" y="703"/>
                  </a:lnTo>
                  <a:lnTo>
                    <a:pt x="2556" y="699"/>
                  </a:lnTo>
                  <a:lnTo>
                    <a:pt x="2632" y="705"/>
                  </a:lnTo>
                  <a:lnTo>
                    <a:pt x="2703" y="716"/>
                  </a:lnTo>
                  <a:lnTo>
                    <a:pt x="2773" y="737"/>
                  </a:lnTo>
                  <a:lnTo>
                    <a:pt x="2837" y="764"/>
                  </a:lnTo>
                  <a:lnTo>
                    <a:pt x="2900" y="800"/>
                  </a:lnTo>
                  <a:lnTo>
                    <a:pt x="2960" y="844"/>
                  </a:lnTo>
                  <a:lnTo>
                    <a:pt x="3016" y="896"/>
                  </a:lnTo>
                  <a:lnTo>
                    <a:pt x="3063" y="949"/>
                  </a:lnTo>
                  <a:lnTo>
                    <a:pt x="3102" y="1003"/>
                  </a:lnTo>
                  <a:lnTo>
                    <a:pt x="3136" y="1061"/>
                  </a:lnTo>
                  <a:lnTo>
                    <a:pt x="3161" y="1008"/>
                  </a:lnTo>
                  <a:lnTo>
                    <a:pt x="3192" y="959"/>
                  </a:lnTo>
                  <a:lnTo>
                    <a:pt x="3228" y="913"/>
                  </a:lnTo>
                  <a:lnTo>
                    <a:pt x="3267" y="871"/>
                  </a:lnTo>
                  <a:lnTo>
                    <a:pt x="3324" y="822"/>
                  </a:lnTo>
                  <a:lnTo>
                    <a:pt x="3384" y="783"/>
                  </a:lnTo>
                  <a:lnTo>
                    <a:pt x="3448" y="749"/>
                  </a:lnTo>
                  <a:lnTo>
                    <a:pt x="3518" y="723"/>
                  </a:lnTo>
                  <a:lnTo>
                    <a:pt x="3591" y="705"/>
                  </a:lnTo>
                  <a:lnTo>
                    <a:pt x="3667" y="693"/>
                  </a:lnTo>
                  <a:lnTo>
                    <a:pt x="3749" y="689"/>
                  </a:lnTo>
                  <a:lnTo>
                    <a:pt x="3825" y="693"/>
                  </a:lnTo>
                  <a:lnTo>
                    <a:pt x="3898" y="703"/>
                  </a:lnTo>
                  <a:lnTo>
                    <a:pt x="3968" y="720"/>
                  </a:lnTo>
                  <a:lnTo>
                    <a:pt x="4032" y="742"/>
                  </a:lnTo>
                  <a:lnTo>
                    <a:pt x="4093" y="772"/>
                  </a:lnTo>
                  <a:lnTo>
                    <a:pt x="4151" y="808"/>
                  </a:lnTo>
                  <a:lnTo>
                    <a:pt x="4203" y="852"/>
                  </a:lnTo>
                  <a:lnTo>
                    <a:pt x="4253" y="902"/>
                  </a:lnTo>
                  <a:lnTo>
                    <a:pt x="4298" y="958"/>
                  </a:lnTo>
                  <a:lnTo>
                    <a:pt x="4337" y="1017"/>
                  </a:lnTo>
                  <a:lnTo>
                    <a:pt x="4368" y="1078"/>
                  </a:lnTo>
                  <a:lnTo>
                    <a:pt x="4393" y="1141"/>
                  </a:lnTo>
                  <a:lnTo>
                    <a:pt x="4410" y="1207"/>
                  </a:lnTo>
                  <a:lnTo>
                    <a:pt x="4421" y="1277"/>
                  </a:lnTo>
                  <a:lnTo>
                    <a:pt x="4424" y="1348"/>
                  </a:lnTo>
                  <a:lnTo>
                    <a:pt x="4422" y="1350"/>
                  </a:lnTo>
                  <a:lnTo>
                    <a:pt x="4422" y="1353"/>
                  </a:lnTo>
                  <a:lnTo>
                    <a:pt x="4427" y="1423"/>
                  </a:lnTo>
                  <a:lnTo>
                    <a:pt x="4439" y="1489"/>
                  </a:lnTo>
                  <a:lnTo>
                    <a:pt x="4460" y="1552"/>
                  </a:lnTo>
                  <a:lnTo>
                    <a:pt x="4487" y="1611"/>
                  </a:lnTo>
                  <a:lnTo>
                    <a:pt x="4524" y="1667"/>
                  </a:lnTo>
                  <a:lnTo>
                    <a:pt x="4568" y="1721"/>
                  </a:lnTo>
                  <a:lnTo>
                    <a:pt x="4617" y="1767"/>
                  </a:lnTo>
                  <a:lnTo>
                    <a:pt x="4672" y="1806"/>
                  </a:lnTo>
                  <a:lnTo>
                    <a:pt x="4729" y="1835"/>
                  </a:lnTo>
                  <a:lnTo>
                    <a:pt x="4791" y="1857"/>
                  </a:lnTo>
                  <a:lnTo>
                    <a:pt x="4857" y="1869"/>
                  </a:lnTo>
                  <a:lnTo>
                    <a:pt x="4926" y="1874"/>
                  </a:lnTo>
                  <a:lnTo>
                    <a:pt x="4992" y="1869"/>
                  </a:lnTo>
                  <a:lnTo>
                    <a:pt x="5060" y="1852"/>
                  </a:lnTo>
                  <a:lnTo>
                    <a:pt x="5132" y="1827"/>
                  </a:lnTo>
                  <a:lnTo>
                    <a:pt x="5205" y="1789"/>
                  </a:lnTo>
                  <a:lnTo>
                    <a:pt x="5240" y="1767"/>
                  </a:lnTo>
                  <a:lnTo>
                    <a:pt x="5281" y="1738"/>
                  </a:lnTo>
                  <a:lnTo>
                    <a:pt x="5327" y="1703"/>
                  </a:lnTo>
                  <a:lnTo>
                    <a:pt x="5327" y="2068"/>
                  </a:lnTo>
                  <a:lnTo>
                    <a:pt x="5322" y="2129"/>
                  </a:lnTo>
                  <a:lnTo>
                    <a:pt x="5310" y="2185"/>
                  </a:lnTo>
                  <a:lnTo>
                    <a:pt x="5289" y="2237"/>
                  </a:lnTo>
                  <a:lnTo>
                    <a:pt x="5261" y="2288"/>
                  </a:lnTo>
                  <a:lnTo>
                    <a:pt x="5223" y="2336"/>
                  </a:lnTo>
                  <a:lnTo>
                    <a:pt x="5181" y="2377"/>
                  </a:lnTo>
                  <a:lnTo>
                    <a:pt x="5137" y="2409"/>
                  </a:lnTo>
                  <a:lnTo>
                    <a:pt x="5089" y="2433"/>
                  </a:lnTo>
                  <a:lnTo>
                    <a:pt x="5042" y="2446"/>
                  </a:lnTo>
                  <a:lnTo>
                    <a:pt x="4991" y="2450"/>
                  </a:lnTo>
                  <a:lnTo>
                    <a:pt x="4935" y="2448"/>
                  </a:lnTo>
                  <a:lnTo>
                    <a:pt x="4886" y="2440"/>
                  </a:lnTo>
                  <a:lnTo>
                    <a:pt x="4841" y="2426"/>
                  </a:lnTo>
                  <a:lnTo>
                    <a:pt x="4833" y="2423"/>
                  </a:lnTo>
                  <a:lnTo>
                    <a:pt x="4826" y="2419"/>
                  </a:lnTo>
                  <a:lnTo>
                    <a:pt x="4808" y="2407"/>
                  </a:lnTo>
                  <a:lnTo>
                    <a:pt x="4794" y="2390"/>
                  </a:lnTo>
                  <a:lnTo>
                    <a:pt x="4784" y="2370"/>
                  </a:lnTo>
                  <a:lnTo>
                    <a:pt x="4780" y="2348"/>
                  </a:lnTo>
                  <a:lnTo>
                    <a:pt x="4785" y="2322"/>
                  </a:lnTo>
                  <a:lnTo>
                    <a:pt x="4796" y="2300"/>
                  </a:lnTo>
                  <a:lnTo>
                    <a:pt x="4813" y="2283"/>
                  </a:lnTo>
                  <a:lnTo>
                    <a:pt x="4835" y="2273"/>
                  </a:lnTo>
                  <a:lnTo>
                    <a:pt x="4860" y="2268"/>
                  </a:lnTo>
                  <a:lnTo>
                    <a:pt x="4867" y="2268"/>
                  </a:lnTo>
                  <a:lnTo>
                    <a:pt x="4875" y="2270"/>
                  </a:lnTo>
                  <a:lnTo>
                    <a:pt x="4875" y="2270"/>
                  </a:lnTo>
                  <a:lnTo>
                    <a:pt x="4875" y="2270"/>
                  </a:lnTo>
                  <a:lnTo>
                    <a:pt x="4886" y="2273"/>
                  </a:lnTo>
                  <a:lnTo>
                    <a:pt x="4903" y="2277"/>
                  </a:lnTo>
                  <a:lnTo>
                    <a:pt x="4925" y="2282"/>
                  </a:lnTo>
                  <a:lnTo>
                    <a:pt x="4952" y="2285"/>
                  </a:lnTo>
                  <a:lnTo>
                    <a:pt x="4981" y="2288"/>
                  </a:lnTo>
                  <a:lnTo>
                    <a:pt x="5009" y="2288"/>
                  </a:lnTo>
                  <a:lnTo>
                    <a:pt x="5038" y="2287"/>
                  </a:lnTo>
                  <a:lnTo>
                    <a:pt x="5062" y="2278"/>
                  </a:lnTo>
                  <a:lnTo>
                    <a:pt x="5093" y="2260"/>
                  </a:lnTo>
                  <a:lnTo>
                    <a:pt x="5118" y="2236"/>
                  </a:lnTo>
                  <a:lnTo>
                    <a:pt x="5140" y="2205"/>
                  </a:lnTo>
                  <a:lnTo>
                    <a:pt x="5157" y="2166"/>
                  </a:lnTo>
                  <a:lnTo>
                    <a:pt x="5169" y="2120"/>
                  </a:lnTo>
                  <a:lnTo>
                    <a:pt x="5176" y="2068"/>
                  </a:lnTo>
                  <a:lnTo>
                    <a:pt x="5179" y="2007"/>
                  </a:lnTo>
                  <a:lnTo>
                    <a:pt x="5179" y="1952"/>
                  </a:lnTo>
                  <a:lnTo>
                    <a:pt x="5140" y="1968"/>
                  </a:lnTo>
                  <a:lnTo>
                    <a:pt x="5110" y="1978"/>
                  </a:lnTo>
                  <a:lnTo>
                    <a:pt x="5047" y="1995"/>
                  </a:lnTo>
                  <a:lnTo>
                    <a:pt x="4986" y="2005"/>
                  </a:lnTo>
                  <a:lnTo>
                    <a:pt x="4926" y="2007"/>
                  </a:lnTo>
                  <a:lnTo>
                    <a:pt x="4852" y="2003"/>
                  </a:lnTo>
                  <a:lnTo>
                    <a:pt x="4780" y="1991"/>
                  </a:lnTo>
                  <a:lnTo>
                    <a:pt x="4711" y="1971"/>
                  </a:lnTo>
                  <a:lnTo>
                    <a:pt x="4646" y="1944"/>
                  </a:lnTo>
                  <a:lnTo>
                    <a:pt x="4584" y="1906"/>
                  </a:lnTo>
                  <a:lnTo>
                    <a:pt x="4522" y="1862"/>
                  </a:lnTo>
                  <a:lnTo>
                    <a:pt x="4466" y="1810"/>
                  </a:lnTo>
                  <a:lnTo>
                    <a:pt x="4417" y="1755"/>
                  </a:lnTo>
                  <a:lnTo>
                    <a:pt x="4375" y="1698"/>
                  </a:lnTo>
                  <a:lnTo>
                    <a:pt x="4339" y="1638"/>
                  </a:lnTo>
                  <a:lnTo>
                    <a:pt x="4312" y="1577"/>
                  </a:lnTo>
                  <a:lnTo>
                    <a:pt x="4292" y="1511"/>
                  </a:lnTo>
                  <a:lnTo>
                    <a:pt x="4280" y="1443"/>
                  </a:lnTo>
                  <a:lnTo>
                    <a:pt x="4273" y="1370"/>
                  </a:lnTo>
                  <a:lnTo>
                    <a:pt x="4271" y="1312"/>
                  </a:lnTo>
                  <a:lnTo>
                    <a:pt x="4263" y="1256"/>
                  </a:lnTo>
                  <a:lnTo>
                    <a:pt x="4249" y="1200"/>
                  </a:lnTo>
                  <a:lnTo>
                    <a:pt x="4229" y="1146"/>
                  </a:lnTo>
                  <a:lnTo>
                    <a:pt x="4205" y="1095"/>
                  </a:lnTo>
                  <a:lnTo>
                    <a:pt x="4175" y="1047"/>
                  </a:lnTo>
                  <a:lnTo>
                    <a:pt x="4141" y="1003"/>
                  </a:lnTo>
                  <a:lnTo>
                    <a:pt x="4096" y="961"/>
                  </a:lnTo>
                  <a:lnTo>
                    <a:pt x="4049" y="925"/>
                  </a:lnTo>
                  <a:lnTo>
                    <a:pt x="3998" y="896"/>
                  </a:lnTo>
                  <a:lnTo>
                    <a:pt x="3942" y="873"/>
                  </a:lnTo>
                  <a:lnTo>
                    <a:pt x="3881" y="856"/>
                  </a:lnTo>
                  <a:lnTo>
                    <a:pt x="3818" y="847"/>
                  </a:lnTo>
                  <a:lnTo>
                    <a:pt x="3749" y="844"/>
                  </a:lnTo>
                  <a:lnTo>
                    <a:pt x="3679" y="847"/>
                  </a:lnTo>
                  <a:lnTo>
                    <a:pt x="3613" y="859"/>
                  </a:lnTo>
                  <a:lnTo>
                    <a:pt x="3550" y="878"/>
                  </a:lnTo>
                  <a:lnTo>
                    <a:pt x="3491" y="903"/>
                  </a:lnTo>
                  <a:lnTo>
                    <a:pt x="3436" y="937"/>
                  </a:lnTo>
                  <a:lnTo>
                    <a:pt x="3385" y="978"/>
                  </a:lnTo>
                  <a:lnTo>
                    <a:pt x="3345" y="1019"/>
                  </a:lnTo>
                  <a:lnTo>
                    <a:pt x="3312" y="1064"/>
                  </a:lnTo>
                  <a:lnTo>
                    <a:pt x="3285" y="1114"/>
                  </a:lnTo>
                  <a:lnTo>
                    <a:pt x="3265" y="1168"/>
                  </a:lnTo>
                  <a:lnTo>
                    <a:pt x="3250" y="1226"/>
                  </a:lnTo>
                  <a:lnTo>
                    <a:pt x="3240" y="1289"/>
                  </a:lnTo>
                  <a:lnTo>
                    <a:pt x="3238" y="1356"/>
                  </a:lnTo>
                  <a:lnTo>
                    <a:pt x="3241" y="1423"/>
                  </a:lnTo>
                  <a:lnTo>
                    <a:pt x="3255" y="1485"/>
                  </a:lnTo>
                  <a:lnTo>
                    <a:pt x="3275" y="1547"/>
                  </a:lnTo>
                  <a:lnTo>
                    <a:pt x="3306" y="1603"/>
                  </a:lnTo>
                  <a:lnTo>
                    <a:pt x="3345" y="1657"/>
                  </a:lnTo>
                  <a:lnTo>
                    <a:pt x="3392" y="1706"/>
                  </a:lnTo>
                  <a:lnTo>
                    <a:pt x="3447" y="1750"/>
                  </a:lnTo>
                  <a:lnTo>
                    <a:pt x="3503" y="1786"/>
                  </a:lnTo>
                  <a:lnTo>
                    <a:pt x="3562" y="1815"/>
                  </a:lnTo>
                  <a:lnTo>
                    <a:pt x="3625" y="1835"/>
                  </a:lnTo>
                  <a:lnTo>
                    <a:pt x="3691" y="1847"/>
                  </a:lnTo>
                  <a:lnTo>
                    <a:pt x="3760" y="1850"/>
                  </a:lnTo>
                  <a:lnTo>
                    <a:pt x="4307" y="1850"/>
                  </a:lnTo>
                  <a:lnTo>
                    <a:pt x="4339" y="1889"/>
                  </a:lnTo>
                  <a:lnTo>
                    <a:pt x="4375" y="1925"/>
                  </a:lnTo>
                  <a:lnTo>
                    <a:pt x="4424" y="1973"/>
                  </a:lnTo>
                  <a:lnTo>
                    <a:pt x="4477" y="2013"/>
                  </a:lnTo>
                  <a:lnTo>
                    <a:pt x="3760" y="2013"/>
                  </a:lnTo>
                  <a:lnTo>
                    <a:pt x="3684" y="2010"/>
                  </a:lnTo>
                  <a:lnTo>
                    <a:pt x="3611" y="1998"/>
                  </a:lnTo>
                  <a:lnTo>
                    <a:pt x="3540" y="1978"/>
                  </a:lnTo>
                  <a:lnTo>
                    <a:pt x="3470" y="1951"/>
                  </a:lnTo>
                  <a:lnTo>
                    <a:pt x="3406" y="1915"/>
                  </a:lnTo>
                  <a:lnTo>
                    <a:pt x="3343" y="1873"/>
                  </a:lnTo>
                  <a:lnTo>
                    <a:pt x="3284" y="1822"/>
                  </a:lnTo>
                  <a:lnTo>
                    <a:pt x="3229" y="1766"/>
                  </a:lnTo>
                  <a:lnTo>
                    <a:pt x="3184" y="1706"/>
                  </a:lnTo>
                  <a:lnTo>
                    <a:pt x="3146" y="1643"/>
                  </a:lnTo>
                  <a:lnTo>
                    <a:pt x="3111" y="1708"/>
                  </a:lnTo>
                  <a:lnTo>
                    <a:pt x="3066" y="1767"/>
                  </a:lnTo>
                  <a:lnTo>
                    <a:pt x="3016" y="1825"/>
                  </a:lnTo>
                  <a:lnTo>
                    <a:pt x="2958" y="1876"/>
                  </a:lnTo>
                  <a:lnTo>
                    <a:pt x="2898" y="1918"/>
                  </a:lnTo>
                  <a:lnTo>
                    <a:pt x="2836" y="1952"/>
                  </a:lnTo>
                  <a:lnTo>
                    <a:pt x="2769" y="1979"/>
                  </a:lnTo>
                  <a:lnTo>
                    <a:pt x="2700" y="2000"/>
                  </a:lnTo>
                  <a:lnTo>
                    <a:pt x="2627" y="2010"/>
                  </a:lnTo>
                  <a:lnTo>
                    <a:pt x="2551" y="2015"/>
                  </a:lnTo>
                  <a:lnTo>
                    <a:pt x="2472" y="2010"/>
                  </a:lnTo>
                  <a:lnTo>
                    <a:pt x="2400" y="2000"/>
                  </a:lnTo>
                  <a:lnTo>
                    <a:pt x="2330" y="1979"/>
                  </a:lnTo>
                  <a:lnTo>
                    <a:pt x="2262" y="1954"/>
                  </a:lnTo>
                  <a:lnTo>
                    <a:pt x="2199" y="1918"/>
                  </a:lnTo>
                  <a:lnTo>
                    <a:pt x="2140" y="1878"/>
                  </a:lnTo>
                  <a:lnTo>
                    <a:pt x="2082" y="1828"/>
                  </a:lnTo>
                  <a:lnTo>
                    <a:pt x="2033" y="1772"/>
                  </a:lnTo>
                  <a:lnTo>
                    <a:pt x="1989" y="1715"/>
                  </a:lnTo>
                  <a:lnTo>
                    <a:pt x="1955" y="1654"/>
                  </a:lnTo>
                  <a:lnTo>
                    <a:pt x="1926" y="1587"/>
                  </a:lnTo>
                  <a:lnTo>
                    <a:pt x="1907" y="1519"/>
                  </a:lnTo>
                  <a:lnTo>
                    <a:pt x="1896" y="1446"/>
                  </a:lnTo>
                  <a:lnTo>
                    <a:pt x="1890" y="1370"/>
                  </a:lnTo>
                  <a:lnTo>
                    <a:pt x="1889" y="1312"/>
                  </a:lnTo>
                  <a:lnTo>
                    <a:pt x="1880" y="1256"/>
                  </a:lnTo>
                  <a:lnTo>
                    <a:pt x="1867" y="1200"/>
                  </a:lnTo>
                  <a:lnTo>
                    <a:pt x="1848" y="1146"/>
                  </a:lnTo>
                  <a:lnTo>
                    <a:pt x="1823" y="1095"/>
                  </a:lnTo>
                  <a:lnTo>
                    <a:pt x="1794" y="1047"/>
                  </a:lnTo>
                  <a:lnTo>
                    <a:pt x="1758" y="1003"/>
                  </a:lnTo>
                  <a:lnTo>
                    <a:pt x="1716" y="961"/>
                  </a:lnTo>
                  <a:lnTo>
                    <a:pt x="1668" y="925"/>
                  </a:lnTo>
                  <a:lnTo>
                    <a:pt x="1616" y="896"/>
                  </a:lnTo>
                  <a:lnTo>
                    <a:pt x="1560" y="873"/>
                  </a:lnTo>
                  <a:lnTo>
                    <a:pt x="1500" y="856"/>
                  </a:lnTo>
                  <a:lnTo>
                    <a:pt x="1436" y="847"/>
                  </a:lnTo>
                  <a:lnTo>
                    <a:pt x="1368" y="844"/>
                  </a:lnTo>
                  <a:lnTo>
                    <a:pt x="1295" y="847"/>
                  </a:lnTo>
                  <a:lnTo>
                    <a:pt x="1224" y="859"/>
                  </a:lnTo>
                  <a:lnTo>
                    <a:pt x="1159" y="881"/>
                  </a:lnTo>
                  <a:lnTo>
                    <a:pt x="1098" y="910"/>
                  </a:lnTo>
                  <a:lnTo>
                    <a:pt x="1040" y="947"/>
                  </a:lnTo>
                  <a:lnTo>
                    <a:pt x="348" y="947"/>
                  </a:lnTo>
                  <a:lnTo>
                    <a:pt x="346" y="947"/>
                  </a:lnTo>
                  <a:lnTo>
                    <a:pt x="322" y="944"/>
                  </a:lnTo>
                  <a:lnTo>
                    <a:pt x="305" y="935"/>
                  </a:lnTo>
                  <a:lnTo>
                    <a:pt x="294" y="925"/>
                  </a:lnTo>
                  <a:lnTo>
                    <a:pt x="287" y="912"/>
                  </a:lnTo>
                  <a:lnTo>
                    <a:pt x="282" y="898"/>
                  </a:lnTo>
                  <a:lnTo>
                    <a:pt x="280" y="888"/>
                  </a:lnTo>
                  <a:lnTo>
                    <a:pt x="278" y="879"/>
                  </a:lnTo>
                  <a:lnTo>
                    <a:pt x="278" y="876"/>
                  </a:lnTo>
                  <a:lnTo>
                    <a:pt x="278" y="621"/>
                  </a:lnTo>
                  <a:lnTo>
                    <a:pt x="282" y="582"/>
                  </a:lnTo>
                  <a:lnTo>
                    <a:pt x="288" y="543"/>
                  </a:lnTo>
                  <a:lnTo>
                    <a:pt x="302" y="504"/>
                  </a:lnTo>
                  <a:lnTo>
                    <a:pt x="319" y="465"/>
                  </a:lnTo>
                  <a:lnTo>
                    <a:pt x="343" y="430"/>
                  </a:lnTo>
                  <a:lnTo>
                    <a:pt x="370" y="399"/>
                  </a:lnTo>
                  <a:lnTo>
                    <a:pt x="402" y="374"/>
                  </a:lnTo>
                  <a:lnTo>
                    <a:pt x="436" y="355"/>
                  </a:lnTo>
                  <a:lnTo>
                    <a:pt x="473" y="343"/>
                  </a:lnTo>
                  <a:lnTo>
                    <a:pt x="512" y="336"/>
                  </a:lnTo>
                  <a:lnTo>
                    <a:pt x="555" y="333"/>
                  </a:lnTo>
                  <a:lnTo>
                    <a:pt x="599" y="331"/>
                  </a:lnTo>
                  <a:lnTo>
                    <a:pt x="1018" y="331"/>
                  </a:lnTo>
                  <a:lnTo>
                    <a:pt x="1039" y="328"/>
                  </a:lnTo>
                  <a:lnTo>
                    <a:pt x="1056" y="319"/>
                  </a:lnTo>
                  <a:lnTo>
                    <a:pt x="1069" y="304"/>
                  </a:lnTo>
                  <a:lnTo>
                    <a:pt x="1078" y="287"/>
                  </a:lnTo>
                  <a:lnTo>
                    <a:pt x="1081" y="268"/>
                  </a:lnTo>
                  <a:lnTo>
                    <a:pt x="1079" y="250"/>
                  </a:lnTo>
                  <a:lnTo>
                    <a:pt x="1071" y="228"/>
                  </a:lnTo>
                  <a:lnTo>
                    <a:pt x="1059" y="211"/>
                  </a:lnTo>
                  <a:lnTo>
                    <a:pt x="1044" y="200"/>
                  </a:lnTo>
                  <a:lnTo>
                    <a:pt x="1027" y="195"/>
                  </a:lnTo>
                  <a:lnTo>
                    <a:pt x="570" y="195"/>
                  </a:lnTo>
                  <a:lnTo>
                    <a:pt x="531" y="197"/>
                  </a:lnTo>
                  <a:lnTo>
                    <a:pt x="490" y="200"/>
                  </a:lnTo>
                  <a:lnTo>
                    <a:pt x="450" y="205"/>
                  </a:lnTo>
                  <a:lnTo>
                    <a:pt x="407" y="217"/>
                  </a:lnTo>
                  <a:lnTo>
                    <a:pt x="367" y="233"/>
                  </a:lnTo>
                  <a:lnTo>
                    <a:pt x="326" y="256"/>
                  </a:lnTo>
                  <a:lnTo>
                    <a:pt x="287" y="287"/>
                  </a:lnTo>
                  <a:lnTo>
                    <a:pt x="251" y="324"/>
                  </a:lnTo>
                  <a:lnTo>
                    <a:pt x="214" y="375"/>
                  </a:lnTo>
                  <a:lnTo>
                    <a:pt x="187" y="430"/>
                  </a:lnTo>
                  <a:lnTo>
                    <a:pt x="166" y="486"/>
                  </a:lnTo>
                  <a:lnTo>
                    <a:pt x="156" y="547"/>
                  </a:lnTo>
                  <a:lnTo>
                    <a:pt x="151" y="610"/>
                  </a:lnTo>
                  <a:lnTo>
                    <a:pt x="151" y="1940"/>
                  </a:lnTo>
                  <a:lnTo>
                    <a:pt x="151" y="1940"/>
                  </a:lnTo>
                  <a:lnTo>
                    <a:pt x="148" y="1964"/>
                  </a:lnTo>
                  <a:lnTo>
                    <a:pt x="136" y="1983"/>
                  </a:lnTo>
                  <a:lnTo>
                    <a:pt x="119" y="2000"/>
                  </a:lnTo>
                  <a:lnTo>
                    <a:pt x="98" y="2010"/>
                  </a:lnTo>
                  <a:lnTo>
                    <a:pt x="76" y="2013"/>
                  </a:lnTo>
                  <a:lnTo>
                    <a:pt x="53" y="2010"/>
                  </a:lnTo>
                  <a:lnTo>
                    <a:pt x="32" y="2000"/>
                  </a:lnTo>
                  <a:lnTo>
                    <a:pt x="15" y="1983"/>
                  </a:lnTo>
                  <a:lnTo>
                    <a:pt x="5" y="1964"/>
                  </a:lnTo>
                  <a:lnTo>
                    <a:pt x="0" y="1940"/>
                  </a:lnTo>
                  <a:lnTo>
                    <a:pt x="0" y="1940"/>
                  </a:lnTo>
                  <a:lnTo>
                    <a:pt x="0" y="611"/>
                  </a:lnTo>
                  <a:lnTo>
                    <a:pt x="3" y="545"/>
                  </a:lnTo>
                  <a:lnTo>
                    <a:pt x="10" y="484"/>
                  </a:lnTo>
                  <a:lnTo>
                    <a:pt x="24" y="426"/>
                  </a:lnTo>
                  <a:lnTo>
                    <a:pt x="44" y="374"/>
                  </a:lnTo>
                  <a:lnTo>
                    <a:pt x="70" y="321"/>
                  </a:lnTo>
                  <a:lnTo>
                    <a:pt x="104" y="272"/>
                  </a:lnTo>
                  <a:lnTo>
                    <a:pt x="143" y="222"/>
                  </a:lnTo>
                  <a:lnTo>
                    <a:pt x="190" y="177"/>
                  </a:lnTo>
                  <a:lnTo>
                    <a:pt x="243" y="136"/>
                  </a:lnTo>
                  <a:lnTo>
                    <a:pt x="299" y="104"/>
                  </a:lnTo>
                  <a:lnTo>
                    <a:pt x="361" y="78"/>
                  </a:lnTo>
                  <a:lnTo>
                    <a:pt x="426" y="60"/>
                  </a:lnTo>
                  <a:lnTo>
                    <a:pt x="496" y="48"/>
                  </a:lnTo>
                  <a:lnTo>
                    <a:pt x="570" y="44"/>
                  </a:lnTo>
                  <a:lnTo>
                    <a:pt x="1023" y="44"/>
                  </a:lnTo>
                  <a:lnTo>
                    <a:pt x="1032" y="44"/>
                  </a:lnTo>
                  <a:lnTo>
                    <a:pt x="1050" y="46"/>
                  </a:lnTo>
                  <a:lnTo>
                    <a:pt x="1093" y="58"/>
                  </a:lnTo>
                  <a:lnTo>
                    <a:pt x="1130" y="76"/>
                  </a:lnTo>
                  <a:lnTo>
                    <a:pt x="1162" y="104"/>
                  </a:lnTo>
                  <a:lnTo>
                    <a:pt x="1190" y="136"/>
                  </a:lnTo>
                  <a:lnTo>
                    <a:pt x="1210" y="173"/>
                  </a:lnTo>
                  <a:lnTo>
                    <a:pt x="1224" y="214"/>
                  </a:lnTo>
                  <a:lnTo>
                    <a:pt x="1229" y="258"/>
                  </a:lnTo>
                  <a:lnTo>
                    <a:pt x="1224" y="299"/>
                  </a:lnTo>
                  <a:lnTo>
                    <a:pt x="1213" y="338"/>
                  </a:lnTo>
                  <a:lnTo>
                    <a:pt x="1195" y="374"/>
                  </a:lnTo>
                  <a:lnTo>
                    <a:pt x="1171" y="404"/>
                  </a:lnTo>
                  <a:lnTo>
                    <a:pt x="1142" y="430"/>
                  </a:lnTo>
                  <a:lnTo>
                    <a:pt x="1108" y="452"/>
                  </a:lnTo>
                  <a:lnTo>
                    <a:pt x="1081" y="460"/>
                  </a:lnTo>
                  <a:lnTo>
                    <a:pt x="1056" y="467"/>
                  </a:lnTo>
                  <a:lnTo>
                    <a:pt x="1037" y="470"/>
                  </a:lnTo>
                  <a:lnTo>
                    <a:pt x="1022" y="472"/>
                  </a:lnTo>
                  <a:lnTo>
                    <a:pt x="1016" y="472"/>
                  </a:lnTo>
                  <a:lnTo>
                    <a:pt x="623" y="472"/>
                  </a:lnTo>
                  <a:lnTo>
                    <a:pt x="572" y="474"/>
                  </a:lnTo>
                  <a:lnTo>
                    <a:pt x="529" y="481"/>
                  </a:lnTo>
                  <a:lnTo>
                    <a:pt x="494" y="491"/>
                  </a:lnTo>
                  <a:lnTo>
                    <a:pt x="467" y="506"/>
                  </a:lnTo>
                  <a:lnTo>
                    <a:pt x="445" y="528"/>
                  </a:lnTo>
                  <a:lnTo>
                    <a:pt x="429" y="557"/>
                  </a:lnTo>
                  <a:lnTo>
                    <a:pt x="419" y="593"/>
                  </a:lnTo>
                  <a:lnTo>
                    <a:pt x="416" y="635"/>
                  </a:lnTo>
                  <a:lnTo>
                    <a:pt x="416" y="815"/>
                  </a:lnTo>
                  <a:lnTo>
                    <a:pt x="954" y="815"/>
                  </a:lnTo>
                  <a:lnTo>
                    <a:pt x="1013" y="778"/>
                  </a:lnTo>
                  <a:lnTo>
                    <a:pt x="1076" y="745"/>
                  </a:lnTo>
                  <a:lnTo>
                    <a:pt x="1142" y="722"/>
                  </a:lnTo>
                  <a:lnTo>
                    <a:pt x="1213" y="705"/>
                  </a:lnTo>
                  <a:lnTo>
                    <a:pt x="1290" y="693"/>
                  </a:lnTo>
                  <a:lnTo>
                    <a:pt x="1368" y="689"/>
                  </a:lnTo>
                  <a:lnTo>
                    <a:pt x="1444" y="693"/>
                  </a:lnTo>
                  <a:lnTo>
                    <a:pt x="1517" y="703"/>
                  </a:lnTo>
                  <a:lnTo>
                    <a:pt x="1585" y="720"/>
                  </a:lnTo>
                  <a:lnTo>
                    <a:pt x="1649" y="742"/>
                  </a:lnTo>
                  <a:lnTo>
                    <a:pt x="1711" y="772"/>
                  </a:lnTo>
                  <a:lnTo>
                    <a:pt x="1768" y="808"/>
                  </a:lnTo>
                  <a:lnTo>
                    <a:pt x="1823" y="852"/>
                  </a:lnTo>
                  <a:lnTo>
                    <a:pt x="1872" y="902"/>
                  </a:lnTo>
                  <a:lnTo>
                    <a:pt x="1918" y="959"/>
                  </a:lnTo>
                  <a:lnTo>
                    <a:pt x="1957" y="1020"/>
                  </a:lnTo>
                  <a:lnTo>
                    <a:pt x="1987" y="1087"/>
                  </a:lnTo>
                  <a:lnTo>
                    <a:pt x="2011" y="1154"/>
                  </a:lnTo>
                  <a:lnTo>
                    <a:pt x="2028" y="1226"/>
                  </a:lnTo>
                  <a:lnTo>
                    <a:pt x="2038" y="1297"/>
                  </a:lnTo>
                  <a:lnTo>
                    <a:pt x="2041" y="1370"/>
                  </a:lnTo>
                  <a:lnTo>
                    <a:pt x="2047" y="1435"/>
                  </a:lnTo>
                  <a:lnTo>
                    <a:pt x="2060" y="1496"/>
                  </a:lnTo>
                  <a:lnTo>
                    <a:pt x="2080" y="1555"/>
                  </a:lnTo>
                  <a:lnTo>
                    <a:pt x="2111" y="1609"/>
                  </a:lnTo>
                  <a:lnTo>
                    <a:pt x="2147" y="1660"/>
                  </a:lnTo>
                  <a:lnTo>
                    <a:pt x="2192" y="1710"/>
                  </a:lnTo>
                  <a:lnTo>
                    <a:pt x="2245" y="1754"/>
                  </a:lnTo>
                  <a:lnTo>
                    <a:pt x="2301" y="1789"/>
                  </a:lnTo>
                  <a:lnTo>
                    <a:pt x="2359" y="1816"/>
                  </a:lnTo>
                  <a:lnTo>
                    <a:pt x="2420" y="1837"/>
                  </a:lnTo>
                  <a:lnTo>
                    <a:pt x="2484" y="1849"/>
                  </a:lnTo>
                  <a:lnTo>
                    <a:pt x="2554" y="1852"/>
                  </a:lnTo>
                  <a:lnTo>
                    <a:pt x="2620" y="1849"/>
                  </a:lnTo>
                  <a:lnTo>
                    <a:pt x="2685" y="1837"/>
                  </a:lnTo>
                  <a:lnTo>
                    <a:pt x="2746" y="1816"/>
                  </a:lnTo>
                  <a:lnTo>
                    <a:pt x="2803" y="1789"/>
                  </a:lnTo>
                  <a:lnTo>
                    <a:pt x="2858" y="1754"/>
                  </a:lnTo>
                  <a:lnTo>
                    <a:pt x="2909" y="1711"/>
                  </a:lnTo>
                  <a:lnTo>
                    <a:pt x="2954" y="1662"/>
                  </a:lnTo>
                  <a:lnTo>
                    <a:pt x="2992" y="1609"/>
                  </a:lnTo>
                  <a:lnTo>
                    <a:pt x="3021" y="1553"/>
                  </a:lnTo>
                  <a:lnTo>
                    <a:pt x="3041" y="1494"/>
                  </a:lnTo>
                  <a:lnTo>
                    <a:pt x="3053" y="1429"/>
                  </a:lnTo>
                  <a:lnTo>
                    <a:pt x="3056" y="1363"/>
                  </a:lnTo>
                  <a:lnTo>
                    <a:pt x="3053" y="1292"/>
                  </a:lnTo>
                  <a:lnTo>
                    <a:pt x="3041" y="1226"/>
                  </a:lnTo>
                  <a:lnTo>
                    <a:pt x="3021" y="1163"/>
                  </a:lnTo>
                  <a:lnTo>
                    <a:pt x="2992" y="1102"/>
                  </a:lnTo>
                  <a:lnTo>
                    <a:pt x="2956" y="1046"/>
                  </a:lnTo>
                  <a:lnTo>
                    <a:pt x="2912" y="991"/>
                  </a:lnTo>
                  <a:lnTo>
                    <a:pt x="2861" y="944"/>
                  </a:lnTo>
                  <a:lnTo>
                    <a:pt x="2808" y="905"/>
                  </a:lnTo>
                  <a:lnTo>
                    <a:pt x="2751" y="874"/>
                  </a:lnTo>
                  <a:lnTo>
                    <a:pt x="2690" y="854"/>
                  </a:lnTo>
                  <a:lnTo>
                    <a:pt x="2625" y="840"/>
                  </a:lnTo>
                  <a:lnTo>
                    <a:pt x="2556" y="835"/>
                  </a:lnTo>
                  <a:lnTo>
                    <a:pt x="2489" y="840"/>
                  </a:lnTo>
                  <a:lnTo>
                    <a:pt x="2420" y="857"/>
                  </a:lnTo>
                  <a:lnTo>
                    <a:pt x="2350" y="883"/>
                  </a:lnTo>
                  <a:lnTo>
                    <a:pt x="2277" y="918"/>
                  </a:lnTo>
                  <a:lnTo>
                    <a:pt x="2243" y="939"/>
                  </a:lnTo>
                  <a:lnTo>
                    <a:pt x="2203" y="968"/>
                  </a:lnTo>
                  <a:lnTo>
                    <a:pt x="2157" y="1003"/>
                  </a:lnTo>
                  <a:lnTo>
                    <a:pt x="2157" y="212"/>
                  </a:lnTo>
                  <a:lnTo>
                    <a:pt x="2153" y="192"/>
                  </a:lnTo>
                  <a:lnTo>
                    <a:pt x="2147" y="177"/>
                  </a:lnTo>
                  <a:lnTo>
                    <a:pt x="2136" y="165"/>
                  </a:lnTo>
                  <a:lnTo>
                    <a:pt x="2121" y="156"/>
                  </a:lnTo>
                  <a:lnTo>
                    <a:pt x="2106" y="153"/>
                  </a:lnTo>
                  <a:lnTo>
                    <a:pt x="2087" y="151"/>
                  </a:lnTo>
                  <a:lnTo>
                    <a:pt x="2065" y="155"/>
                  </a:lnTo>
                  <a:lnTo>
                    <a:pt x="2047" y="163"/>
                  </a:lnTo>
                  <a:lnTo>
                    <a:pt x="2031" y="178"/>
                  </a:lnTo>
                  <a:lnTo>
                    <a:pt x="2021" y="195"/>
                  </a:lnTo>
                  <a:lnTo>
                    <a:pt x="2018" y="212"/>
                  </a:lnTo>
                  <a:lnTo>
                    <a:pt x="2016" y="216"/>
                  </a:lnTo>
                  <a:lnTo>
                    <a:pt x="2016" y="915"/>
                  </a:lnTo>
                  <a:lnTo>
                    <a:pt x="1991" y="874"/>
                  </a:lnTo>
                  <a:lnTo>
                    <a:pt x="1960" y="837"/>
                  </a:lnTo>
                  <a:lnTo>
                    <a:pt x="1928" y="801"/>
                  </a:lnTo>
                  <a:lnTo>
                    <a:pt x="1896" y="769"/>
                  </a:lnTo>
                  <a:lnTo>
                    <a:pt x="1867" y="744"/>
                  </a:lnTo>
                  <a:lnTo>
                    <a:pt x="1867" y="216"/>
                  </a:lnTo>
                  <a:lnTo>
                    <a:pt x="1867" y="212"/>
                  </a:lnTo>
                  <a:lnTo>
                    <a:pt x="1867" y="212"/>
                  </a:lnTo>
                  <a:lnTo>
                    <a:pt x="1870" y="168"/>
                  </a:lnTo>
                  <a:lnTo>
                    <a:pt x="1884" y="129"/>
                  </a:lnTo>
                  <a:lnTo>
                    <a:pt x="1906" y="93"/>
                  </a:lnTo>
                  <a:lnTo>
                    <a:pt x="1933" y="61"/>
                  </a:lnTo>
                  <a:lnTo>
                    <a:pt x="1967" y="36"/>
                  </a:lnTo>
                  <a:lnTo>
                    <a:pt x="2004" y="15"/>
                  </a:lnTo>
                  <a:lnTo>
                    <a:pt x="2045" y="3"/>
                  </a:lnTo>
                  <a:lnTo>
                    <a:pt x="20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6" name="Freeform 12"/>
            <p:cNvSpPr>
              <a:spLocks noEditPoints="1"/>
            </p:cNvSpPr>
            <p:nvPr/>
          </p:nvSpPr>
          <p:spPr bwMode="auto">
            <a:xfrm>
              <a:off x="5354" y="1162"/>
              <a:ext cx="860" cy="761"/>
            </a:xfrm>
            <a:custGeom>
              <a:avLst/>
              <a:gdLst>
                <a:gd name="T0" fmla="*/ 344 w 860"/>
                <a:gd name="T1" fmla="*/ 151 h 761"/>
                <a:gd name="T2" fmla="*/ 264 w 860"/>
                <a:gd name="T3" fmla="*/ 185 h 761"/>
                <a:gd name="T4" fmla="*/ 205 w 860"/>
                <a:gd name="T5" fmla="*/ 245 h 761"/>
                <a:gd name="T6" fmla="*/ 169 w 860"/>
                <a:gd name="T7" fmla="*/ 324 h 761"/>
                <a:gd name="T8" fmla="*/ 593 w 860"/>
                <a:gd name="T9" fmla="*/ 282 h 761"/>
                <a:gd name="T10" fmla="*/ 544 w 860"/>
                <a:gd name="T11" fmla="*/ 211 h 761"/>
                <a:gd name="T12" fmla="*/ 475 w 860"/>
                <a:gd name="T13" fmla="*/ 165 h 761"/>
                <a:gd name="T14" fmla="*/ 388 w 860"/>
                <a:gd name="T15" fmla="*/ 146 h 761"/>
                <a:gd name="T16" fmla="*/ 449 w 860"/>
                <a:gd name="T17" fmla="*/ 3 h 761"/>
                <a:gd name="T18" fmla="*/ 548 w 860"/>
                <a:gd name="T19" fmla="*/ 29 h 761"/>
                <a:gd name="T20" fmla="*/ 631 w 860"/>
                <a:gd name="T21" fmla="*/ 82 h 761"/>
                <a:gd name="T22" fmla="*/ 697 w 860"/>
                <a:gd name="T23" fmla="*/ 161 h 761"/>
                <a:gd name="T24" fmla="*/ 755 w 860"/>
                <a:gd name="T25" fmla="*/ 280 h 761"/>
                <a:gd name="T26" fmla="*/ 773 w 860"/>
                <a:gd name="T27" fmla="*/ 399 h 761"/>
                <a:gd name="T28" fmla="*/ 760 w 860"/>
                <a:gd name="T29" fmla="*/ 452 h 761"/>
                <a:gd name="T30" fmla="*/ 722 w 860"/>
                <a:gd name="T31" fmla="*/ 477 h 761"/>
                <a:gd name="T32" fmla="*/ 195 w 860"/>
                <a:gd name="T33" fmla="*/ 481 h 761"/>
                <a:gd name="T34" fmla="*/ 247 w 860"/>
                <a:gd name="T35" fmla="*/ 543 h 761"/>
                <a:gd name="T36" fmla="*/ 319 w 860"/>
                <a:gd name="T37" fmla="*/ 586 h 761"/>
                <a:gd name="T38" fmla="*/ 405 w 860"/>
                <a:gd name="T39" fmla="*/ 599 h 761"/>
                <a:gd name="T40" fmla="*/ 814 w 860"/>
                <a:gd name="T41" fmla="*/ 655 h 761"/>
                <a:gd name="T42" fmla="*/ 860 w 860"/>
                <a:gd name="T43" fmla="*/ 761 h 761"/>
                <a:gd name="T44" fmla="*/ 341 w 860"/>
                <a:gd name="T45" fmla="*/ 757 h 761"/>
                <a:gd name="T46" fmla="*/ 222 w 860"/>
                <a:gd name="T47" fmla="*/ 720 h 761"/>
                <a:gd name="T48" fmla="*/ 118 w 860"/>
                <a:gd name="T49" fmla="*/ 645 h 761"/>
                <a:gd name="T50" fmla="*/ 52 w 860"/>
                <a:gd name="T51" fmla="*/ 562 h 761"/>
                <a:gd name="T52" fmla="*/ 13 w 860"/>
                <a:gd name="T53" fmla="*/ 467 h 761"/>
                <a:gd name="T54" fmla="*/ 0 w 860"/>
                <a:gd name="T55" fmla="*/ 357 h 761"/>
                <a:gd name="T56" fmla="*/ 13 w 860"/>
                <a:gd name="T57" fmla="*/ 258 h 761"/>
                <a:gd name="T58" fmla="*/ 52 w 860"/>
                <a:gd name="T59" fmla="*/ 172 h 761"/>
                <a:gd name="T60" fmla="*/ 117 w 860"/>
                <a:gd name="T61" fmla="*/ 99 h 761"/>
                <a:gd name="T62" fmla="*/ 218 w 860"/>
                <a:gd name="T63" fmla="*/ 36 h 761"/>
                <a:gd name="T64" fmla="*/ 332 w 860"/>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0" h="761">
                  <a:moveTo>
                    <a:pt x="388" y="146"/>
                  </a:moveTo>
                  <a:lnTo>
                    <a:pt x="344" y="151"/>
                  </a:lnTo>
                  <a:lnTo>
                    <a:pt x="303" y="165"/>
                  </a:lnTo>
                  <a:lnTo>
                    <a:pt x="264" y="185"/>
                  </a:lnTo>
                  <a:lnTo>
                    <a:pt x="232" y="211"/>
                  </a:lnTo>
                  <a:lnTo>
                    <a:pt x="205" y="245"/>
                  </a:lnTo>
                  <a:lnTo>
                    <a:pt x="183" y="282"/>
                  </a:lnTo>
                  <a:lnTo>
                    <a:pt x="169" y="324"/>
                  </a:lnTo>
                  <a:lnTo>
                    <a:pt x="609" y="324"/>
                  </a:lnTo>
                  <a:lnTo>
                    <a:pt x="593" y="282"/>
                  </a:lnTo>
                  <a:lnTo>
                    <a:pt x="571" y="245"/>
                  </a:lnTo>
                  <a:lnTo>
                    <a:pt x="544" y="211"/>
                  </a:lnTo>
                  <a:lnTo>
                    <a:pt x="512" y="185"/>
                  </a:lnTo>
                  <a:lnTo>
                    <a:pt x="475" y="165"/>
                  </a:lnTo>
                  <a:lnTo>
                    <a:pt x="432" y="151"/>
                  </a:lnTo>
                  <a:lnTo>
                    <a:pt x="388" y="146"/>
                  </a:lnTo>
                  <a:close/>
                  <a:moveTo>
                    <a:pt x="393" y="0"/>
                  </a:moveTo>
                  <a:lnTo>
                    <a:pt x="449" y="3"/>
                  </a:lnTo>
                  <a:lnTo>
                    <a:pt x="500" y="14"/>
                  </a:lnTo>
                  <a:lnTo>
                    <a:pt x="548" y="29"/>
                  </a:lnTo>
                  <a:lnTo>
                    <a:pt x="590" y="53"/>
                  </a:lnTo>
                  <a:lnTo>
                    <a:pt x="631" y="82"/>
                  </a:lnTo>
                  <a:lnTo>
                    <a:pt x="666" y="119"/>
                  </a:lnTo>
                  <a:lnTo>
                    <a:pt x="697" y="161"/>
                  </a:lnTo>
                  <a:lnTo>
                    <a:pt x="731" y="221"/>
                  </a:lnTo>
                  <a:lnTo>
                    <a:pt x="755" y="280"/>
                  </a:lnTo>
                  <a:lnTo>
                    <a:pt x="768" y="340"/>
                  </a:lnTo>
                  <a:lnTo>
                    <a:pt x="773" y="399"/>
                  </a:lnTo>
                  <a:lnTo>
                    <a:pt x="770" y="428"/>
                  </a:lnTo>
                  <a:lnTo>
                    <a:pt x="760" y="452"/>
                  </a:lnTo>
                  <a:lnTo>
                    <a:pt x="745" y="467"/>
                  </a:lnTo>
                  <a:lnTo>
                    <a:pt x="722" y="477"/>
                  </a:lnTo>
                  <a:lnTo>
                    <a:pt x="695" y="481"/>
                  </a:lnTo>
                  <a:lnTo>
                    <a:pt x="195" y="481"/>
                  </a:lnTo>
                  <a:lnTo>
                    <a:pt x="218" y="514"/>
                  </a:lnTo>
                  <a:lnTo>
                    <a:pt x="247" y="543"/>
                  </a:lnTo>
                  <a:lnTo>
                    <a:pt x="281" y="567"/>
                  </a:lnTo>
                  <a:lnTo>
                    <a:pt x="319" y="586"/>
                  </a:lnTo>
                  <a:lnTo>
                    <a:pt x="361" y="596"/>
                  </a:lnTo>
                  <a:lnTo>
                    <a:pt x="405" y="599"/>
                  </a:lnTo>
                  <a:lnTo>
                    <a:pt x="799" y="599"/>
                  </a:lnTo>
                  <a:lnTo>
                    <a:pt x="814" y="655"/>
                  </a:lnTo>
                  <a:lnTo>
                    <a:pt x="834" y="710"/>
                  </a:lnTo>
                  <a:lnTo>
                    <a:pt x="860" y="761"/>
                  </a:lnTo>
                  <a:lnTo>
                    <a:pt x="405" y="761"/>
                  </a:lnTo>
                  <a:lnTo>
                    <a:pt x="341" y="757"/>
                  </a:lnTo>
                  <a:lnTo>
                    <a:pt x="280" y="744"/>
                  </a:lnTo>
                  <a:lnTo>
                    <a:pt x="222" y="720"/>
                  </a:lnTo>
                  <a:lnTo>
                    <a:pt x="168" y="688"/>
                  </a:lnTo>
                  <a:lnTo>
                    <a:pt x="118" y="645"/>
                  </a:lnTo>
                  <a:lnTo>
                    <a:pt x="83" y="606"/>
                  </a:lnTo>
                  <a:lnTo>
                    <a:pt x="52" y="562"/>
                  </a:lnTo>
                  <a:lnTo>
                    <a:pt x="30" y="516"/>
                  </a:lnTo>
                  <a:lnTo>
                    <a:pt x="13" y="467"/>
                  </a:lnTo>
                  <a:lnTo>
                    <a:pt x="3" y="414"/>
                  </a:lnTo>
                  <a:lnTo>
                    <a:pt x="0" y="357"/>
                  </a:lnTo>
                  <a:lnTo>
                    <a:pt x="3" y="306"/>
                  </a:lnTo>
                  <a:lnTo>
                    <a:pt x="13" y="258"/>
                  </a:lnTo>
                  <a:lnTo>
                    <a:pt x="30" y="214"/>
                  </a:lnTo>
                  <a:lnTo>
                    <a:pt x="52" y="172"/>
                  </a:lnTo>
                  <a:lnTo>
                    <a:pt x="81" y="134"/>
                  </a:lnTo>
                  <a:lnTo>
                    <a:pt x="117" y="99"/>
                  </a:lnTo>
                  <a:lnTo>
                    <a:pt x="166" y="63"/>
                  </a:lnTo>
                  <a:lnTo>
                    <a:pt x="218" y="36"/>
                  </a:lnTo>
                  <a:lnTo>
                    <a:pt x="273" y="15"/>
                  </a:lnTo>
                  <a:lnTo>
                    <a:pt x="332" y="3"/>
                  </a:lnTo>
                  <a:lnTo>
                    <a:pt x="3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7" name="Freeform 13"/>
            <p:cNvSpPr>
              <a:spLocks/>
            </p:cNvSpPr>
            <p:nvPr/>
          </p:nvSpPr>
          <p:spPr bwMode="auto">
            <a:xfrm>
              <a:off x="8809" y="880"/>
              <a:ext cx="1154" cy="2034"/>
            </a:xfrm>
            <a:custGeom>
              <a:avLst/>
              <a:gdLst>
                <a:gd name="T0" fmla="*/ 571 w 1154"/>
                <a:gd name="T1" fmla="*/ 5 h 2034"/>
                <a:gd name="T2" fmla="*/ 716 w 1154"/>
                <a:gd name="T3" fmla="*/ 36 h 2034"/>
                <a:gd name="T4" fmla="*/ 846 w 1154"/>
                <a:gd name="T5" fmla="*/ 97 h 2034"/>
                <a:gd name="T6" fmla="*/ 963 w 1154"/>
                <a:gd name="T7" fmla="*/ 189 h 2034"/>
                <a:gd name="T8" fmla="*/ 1057 w 1154"/>
                <a:gd name="T9" fmla="*/ 304 h 2034"/>
                <a:gd name="T10" fmla="*/ 1120 w 1154"/>
                <a:gd name="T11" fmla="*/ 433 h 2034"/>
                <a:gd name="T12" fmla="*/ 1150 w 1154"/>
                <a:gd name="T13" fmla="*/ 577 h 2034"/>
                <a:gd name="T14" fmla="*/ 1154 w 1154"/>
                <a:gd name="T15" fmla="*/ 1431 h 2034"/>
                <a:gd name="T16" fmla="*/ 1138 w 1154"/>
                <a:gd name="T17" fmla="*/ 1576 h 2034"/>
                <a:gd name="T18" fmla="*/ 1091 w 1154"/>
                <a:gd name="T19" fmla="*/ 1705 h 2034"/>
                <a:gd name="T20" fmla="*/ 1011 w 1154"/>
                <a:gd name="T21" fmla="*/ 1820 h 2034"/>
                <a:gd name="T22" fmla="*/ 897 w 1154"/>
                <a:gd name="T23" fmla="*/ 1920 h 2034"/>
                <a:gd name="T24" fmla="*/ 762 w 1154"/>
                <a:gd name="T25" fmla="*/ 1993 h 2034"/>
                <a:gd name="T26" fmla="*/ 610 w 1154"/>
                <a:gd name="T27" fmla="*/ 2029 h 2034"/>
                <a:gd name="T28" fmla="*/ 463 w 1154"/>
                <a:gd name="T29" fmla="*/ 2031 h 2034"/>
                <a:gd name="T30" fmla="*/ 339 w 1154"/>
                <a:gd name="T31" fmla="*/ 2010 h 2034"/>
                <a:gd name="T32" fmla="*/ 246 w 1154"/>
                <a:gd name="T33" fmla="*/ 1976 h 2034"/>
                <a:gd name="T34" fmla="*/ 193 w 1154"/>
                <a:gd name="T35" fmla="*/ 1941 h 2034"/>
                <a:gd name="T36" fmla="*/ 191 w 1154"/>
                <a:gd name="T37" fmla="*/ 1939 h 2034"/>
                <a:gd name="T38" fmla="*/ 186 w 1154"/>
                <a:gd name="T39" fmla="*/ 1932 h 2034"/>
                <a:gd name="T40" fmla="*/ 173 w 1154"/>
                <a:gd name="T41" fmla="*/ 1908 h 2034"/>
                <a:gd name="T42" fmla="*/ 171 w 1154"/>
                <a:gd name="T43" fmla="*/ 1883 h 2034"/>
                <a:gd name="T44" fmla="*/ 173 w 1154"/>
                <a:gd name="T45" fmla="*/ 1868 h 2034"/>
                <a:gd name="T46" fmla="*/ 186 w 1154"/>
                <a:gd name="T47" fmla="*/ 1842 h 2034"/>
                <a:gd name="T48" fmla="*/ 222 w 1154"/>
                <a:gd name="T49" fmla="*/ 1820 h 2034"/>
                <a:gd name="T50" fmla="*/ 273 w 1154"/>
                <a:gd name="T51" fmla="*/ 1825 h 2034"/>
                <a:gd name="T52" fmla="*/ 273 w 1154"/>
                <a:gd name="T53" fmla="*/ 1825 h 2034"/>
                <a:gd name="T54" fmla="*/ 288 w 1154"/>
                <a:gd name="T55" fmla="*/ 1830 h 2034"/>
                <a:gd name="T56" fmla="*/ 307 w 1154"/>
                <a:gd name="T57" fmla="*/ 1840 h 2034"/>
                <a:gd name="T58" fmla="*/ 398 w 1154"/>
                <a:gd name="T59" fmla="*/ 1874 h 2034"/>
                <a:gd name="T60" fmla="*/ 405 w 1154"/>
                <a:gd name="T61" fmla="*/ 1876 h 2034"/>
                <a:gd name="T62" fmla="*/ 427 w 1154"/>
                <a:gd name="T63" fmla="*/ 1881 h 2034"/>
                <a:gd name="T64" fmla="*/ 521 w 1154"/>
                <a:gd name="T65" fmla="*/ 1886 h 2034"/>
                <a:gd name="T66" fmla="*/ 646 w 1154"/>
                <a:gd name="T67" fmla="*/ 1871 h 2034"/>
                <a:gd name="T68" fmla="*/ 760 w 1154"/>
                <a:gd name="T69" fmla="*/ 1827 h 2034"/>
                <a:gd name="T70" fmla="*/ 860 w 1154"/>
                <a:gd name="T71" fmla="*/ 1754 h 2034"/>
                <a:gd name="T72" fmla="*/ 940 w 1154"/>
                <a:gd name="T73" fmla="*/ 1661 h 2034"/>
                <a:gd name="T74" fmla="*/ 987 w 1154"/>
                <a:gd name="T75" fmla="*/ 1552 h 2034"/>
                <a:gd name="T76" fmla="*/ 1004 w 1154"/>
                <a:gd name="T77" fmla="*/ 1431 h 2034"/>
                <a:gd name="T78" fmla="*/ 999 w 1154"/>
                <a:gd name="T79" fmla="*/ 594 h 2034"/>
                <a:gd name="T80" fmla="*/ 965 w 1154"/>
                <a:gd name="T81" fmla="*/ 467 h 2034"/>
                <a:gd name="T82" fmla="*/ 899 w 1154"/>
                <a:gd name="T83" fmla="*/ 355 h 2034"/>
                <a:gd name="T84" fmla="*/ 799 w 1154"/>
                <a:gd name="T85" fmla="*/ 262 h 2034"/>
                <a:gd name="T86" fmla="*/ 685 w 1154"/>
                <a:gd name="T87" fmla="*/ 199 h 2034"/>
                <a:gd name="T88" fmla="*/ 560 w 1154"/>
                <a:gd name="T89" fmla="*/ 167 h 2034"/>
                <a:gd name="T90" fmla="*/ 424 w 1154"/>
                <a:gd name="T91" fmla="*/ 167 h 2034"/>
                <a:gd name="T92" fmla="*/ 298 w 1154"/>
                <a:gd name="T93" fmla="*/ 199 h 2034"/>
                <a:gd name="T94" fmla="*/ 185 w 1154"/>
                <a:gd name="T95" fmla="*/ 265 h 2034"/>
                <a:gd name="T96" fmla="*/ 108 w 1154"/>
                <a:gd name="T97" fmla="*/ 338 h 2034"/>
                <a:gd name="T98" fmla="*/ 45 w 1154"/>
                <a:gd name="T99" fmla="*/ 297 h 2034"/>
                <a:gd name="T100" fmla="*/ 6 w 1154"/>
                <a:gd name="T101" fmla="*/ 214 h 2034"/>
                <a:gd name="T102" fmla="*/ 17 w 1154"/>
                <a:gd name="T103" fmla="*/ 202 h 2034"/>
                <a:gd name="T104" fmla="*/ 22 w 1154"/>
                <a:gd name="T105" fmla="*/ 196 h 2034"/>
                <a:gd name="T106" fmla="*/ 28 w 1154"/>
                <a:gd name="T107" fmla="*/ 189 h 2034"/>
                <a:gd name="T108" fmla="*/ 146 w 1154"/>
                <a:gd name="T109" fmla="*/ 97 h 2034"/>
                <a:gd name="T110" fmla="*/ 276 w 1154"/>
                <a:gd name="T111" fmla="*/ 36 h 2034"/>
                <a:gd name="T112" fmla="*/ 419 w 1154"/>
                <a:gd name="T113" fmla="*/ 5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4" h="2034">
                  <a:moveTo>
                    <a:pt x="495" y="0"/>
                  </a:moveTo>
                  <a:lnTo>
                    <a:pt x="571" y="5"/>
                  </a:lnTo>
                  <a:lnTo>
                    <a:pt x="646" y="16"/>
                  </a:lnTo>
                  <a:lnTo>
                    <a:pt x="716" y="36"/>
                  </a:lnTo>
                  <a:lnTo>
                    <a:pt x="784" y="63"/>
                  </a:lnTo>
                  <a:lnTo>
                    <a:pt x="846" y="97"/>
                  </a:lnTo>
                  <a:lnTo>
                    <a:pt x="907" y="140"/>
                  </a:lnTo>
                  <a:lnTo>
                    <a:pt x="963" y="189"/>
                  </a:lnTo>
                  <a:lnTo>
                    <a:pt x="1014" y="245"/>
                  </a:lnTo>
                  <a:lnTo>
                    <a:pt x="1057" y="304"/>
                  </a:lnTo>
                  <a:lnTo>
                    <a:pt x="1092" y="367"/>
                  </a:lnTo>
                  <a:lnTo>
                    <a:pt x="1120" y="433"/>
                  </a:lnTo>
                  <a:lnTo>
                    <a:pt x="1138" y="504"/>
                  </a:lnTo>
                  <a:lnTo>
                    <a:pt x="1150" y="577"/>
                  </a:lnTo>
                  <a:lnTo>
                    <a:pt x="1154" y="656"/>
                  </a:lnTo>
                  <a:lnTo>
                    <a:pt x="1154" y="1431"/>
                  </a:lnTo>
                  <a:lnTo>
                    <a:pt x="1150" y="1506"/>
                  </a:lnTo>
                  <a:lnTo>
                    <a:pt x="1138" y="1576"/>
                  </a:lnTo>
                  <a:lnTo>
                    <a:pt x="1118" y="1642"/>
                  </a:lnTo>
                  <a:lnTo>
                    <a:pt x="1091" y="1705"/>
                  </a:lnTo>
                  <a:lnTo>
                    <a:pt x="1055" y="1764"/>
                  </a:lnTo>
                  <a:lnTo>
                    <a:pt x="1011" y="1820"/>
                  </a:lnTo>
                  <a:lnTo>
                    <a:pt x="960" y="1871"/>
                  </a:lnTo>
                  <a:lnTo>
                    <a:pt x="897" y="1920"/>
                  </a:lnTo>
                  <a:lnTo>
                    <a:pt x="831" y="1961"/>
                  </a:lnTo>
                  <a:lnTo>
                    <a:pt x="762" y="1993"/>
                  </a:lnTo>
                  <a:lnTo>
                    <a:pt x="687" y="2015"/>
                  </a:lnTo>
                  <a:lnTo>
                    <a:pt x="610" y="2029"/>
                  </a:lnTo>
                  <a:lnTo>
                    <a:pt x="529" y="2034"/>
                  </a:lnTo>
                  <a:lnTo>
                    <a:pt x="463" y="2031"/>
                  </a:lnTo>
                  <a:lnTo>
                    <a:pt x="398" y="2024"/>
                  </a:lnTo>
                  <a:lnTo>
                    <a:pt x="339" y="2010"/>
                  </a:lnTo>
                  <a:lnTo>
                    <a:pt x="281" y="1992"/>
                  </a:lnTo>
                  <a:lnTo>
                    <a:pt x="246" y="1976"/>
                  </a:lnTo>
                  <a:lnTo>
                    <a:pt x="215" y="1959"/>
                  </a:lnTo>
                  <a:lnTo>
                    <a:pt x="193" y="1941"/>
                  </a:lnTo>
                  <a:lnTo>
                    <a:pt x="191" y="1939"/>
                  </a:lnTo>
                  <a:lnTo>
                    <a:pt x="191" y="1939"/>
                  </a:lnTo>
                  <a:lnTo>
                    <a:pt x="186" y="1932"/>
                  </a:lnTo>
                  <a:lnTo>
                    <a:pt x="186" y="1932"/>
                  </a:lnTo>
                  <a:lnTo>
                    <a:pt x="183" y="1927"/>
                  </a:lnTo>
                  <a:lnTo>
                    <a:pt x="173" y="1908"/>
                  </a:lnTo>
                  <a:lnTo>
                    <a:pt x="169" y="1888"/>
                  </a:lnTo>
                  <a:lnTo>
                    <a:pt x="171" y="1883"/>
                  </a:lnTo>
                  <a:lnTo>
                    <a:pt x="171" y="1876"/>
                  </a:lnTo>
                  <a:lnTo>
                    <a:pt x="173" y="1868"/>
                  </a:lnTo>
                  <a:lnTo>
                    <a:pt x="176" y="1861"/>
                  </a:lnTo>
                  <a:lnTo>
                    <a:pt x="186" y="1842"/>
                  </a:lnTo>
                  <a:lnTo>
                    <a:pt x="202" y="1829"/>
                  </a:lnTo>
                  <a:lnTo>
                    <a:pt x="222" y="1820"/>
                  </a:lnTo>
                  <a:lnTo>
                    <a:pt x="244" y="1818"/>
                  </a:lnTo>
                  <a:lnTo>
                    <a:pt x="273" y="1825"/>
                  </a:lnTo>
                  <a:lnTo>
                    <a:pt x="273" y="1825"/>
                  </a:lnTo>
                  <a:lnTo>
                    <a:pt x="273" y="1825"/>
                  </a:lnTo>
                  <a:lnTo>
                    <a:pt x="274" y="1825"/>
                  </a:lnTo>
                  <a:lnTo>
                    <a:pt x="288" y="1830"/>
                  </a:lnTo>
                  <a:lnTo>
                    <a:pt x="303" y="1839"/>
                  </a:lnTo>
                  <a:lnTo>
                    <a:pt x="307" y="1840"/>
                  </a:lnTo>
                  <a:lnTo>
                    <a:pt x="353" y="1863"/>
                  </a:lnTo>
                  <a:lnTo>
                    <a:pt x="398" y="1874"/>
                  </a:lnTo>
                  <a:lnTo>
                    <a:pt x="400" y="1876"/>
                  </a:lnTo>
                  <a:lnTo>
                    <a:pt x="405" y="1876"/>
                  </a:lnTo>
                  <a:lnTo>
                    <a:pt x="417" y="1880"/>
                  </a:lnTo>
                  <a:lnTo>
                    <a:pt x="427" y="1881"/>
                  </a:lnTo>
                  <a:lnTo>
                    <a:pt x="471" y="1885"/>
                  </a:lnTo>
                  <a:lnTo>
                    <a:pt x="521" y="1886"/>
                  </a:lnTo>
                  <a:lnTo>
                    <a:pt x="585" y="1883"/>
                  </a:lnTo>
                  <a:lnTo>
                    <a:pt x="646" y="1871"/>
                  </a:lnTo>
                  <a:lnTo>
                    <a:pt x="704" y="1852"/>
                  </a:lnTo>
                  <a:lnTo>
                    <a:pt x="760" y="1827"/>
                  </a:lnTo>
                  <a:lnTo>
                    <a:pt x="811" y="1795"/>
                  </a:lnTo>
                  <a:lnTo>
                    <a:pt x="860" y="1754"/>
                  </a:lnTo>
                  <a:lnTo>
                    <a:pt x="904" y="1708"/>
                  </a:lnTo>
                  <a:lnTo>
                    <a:pt x="940" y="1661"/>
                  </a:lnTo>
                  <a:lnTo>
                    <a:pt x="969" y="1608"/>
                  </a:lnTo>
                  <a:lnTo>
                    <a:pt x="987" y="1552"/>
                  </a:lnTo>
                  <a:lnTo>
                    <a:pt x="999" y="1494"/>
                  </a:lnTo>
                  <a:lnTo>
                    <a:pt x="1004" y="1431"/>
                  </a:lnTo>
                  <a:lnTo>
                    <a:pt x="1004" y="662"/>
                  </a:lnTo>
                  <a:lnTo>
                    <a:pt x="999" y="594"/>
                  </a:lnTo>
                  <a:lnTo>
                    <a:pt x="987" y="528"/>
                  </a:lnTo>
                  <a:lnTo>
                    <a:pt x="965" y="467"/>
                  </a:lnTo>
                  <a:lnTo>
                    <a:pt x="936" y="409"/>
                  </a:lnTo>
                  <a:lnTo>
                    <a:pt x="899" y="355"/>
                  </a:lnTo>
                  <a:lnTo>
                    <a:pt x="851" y="306"/>
                  </a:lnTo>
                  <a:lnTo>
                    <a:pt x="799" y="262"/>
                  </a:lnTo>
                  <a:lnTo>
                    <a:pt x="745" y="226"/>
                  </a:lnTo>
                  <a:lnTo>
                    <a:pt x="685" y="199"/>
                  </a:lnTo>
                  <a:lnTo>
                    <a:pt x="624" y="179"/>
                  </a:lnTo>
                  <a:lnTo>
                    <a:pt x="560" y="167"/>
                  </a:lnTo>
                  <a:lnTo>
                    <a:pt x="492" y="163"/>
                  </a:lnTo>
                  <a:lnTo>
                    <a:pt x="424" y="167"/>
                  </a:lnTo>
                  <a:lnTo>
                    <a:pt x="359" y="179"/>
                  </a:lnTo>
                  <a:lnTo>
                    <a:pt x="298" y="199"/>
                  </a:lnTo>
                  <a:lnTo>
                    <a:pt x="241" y="228"/>
                  </a:lnTo>
                  <a:lnTo>
                    <a:pt x="185" y="265"/>
                  </a:lnTo>
                  <a:lnTo>
                    <a:pt x="134" y="309"/>
                  </a:lnTo>
                  <a:lnTo>
                    <a:pt x="108" y="338"/>
                  </a:lnTo>
                  <a:lnTo>
                    <a:pt x="83" y="377"/>
                  </a:lnTo>
                  <a:lnTo>
                    <a:pt x="45" y="297"/>
                  </a:lnTo>
                  <a:lnTo>
                    <a:pt x="0" y="221"/>
                  </a:lnTo>
                  <a:lnTo>
                    <a:pt x="6" y="214"/>
                  </a:lnTo>
                  <a:lnTo>
                    <a:pt x="11" y="207"/>
                  </a:lnTo>
                  <a:lnTo>
                    <a:pt x="17" y="202"/>
                  </a:lnTo>
                  <a:lnTo>
                    <a:pt x="20" y="199"/>
                  </a:lnTo>
                  <a:lnTo>
                    <a:pt x="22" y="196"/>
                  </a:lnTo>
                  <a:lnTo>
                    <a:pt x="22" y="196"/>
                  </a:lnTo>
                  <a:lnTo>
                    <a:pt x="28" y="189"/>
                  </a:lnTo>
                  <a:lnTo>
                    <a:pt x="84" y="140"/>
                  </a:lnTo>
                  <a:lnTo>
                    <a:pt x="146" y="97"/>
                  </a:lnTo>
                  <a:lnTo>
                    <a:pt x="208" y="63"/>
                  </a:lnTo>
                  <a:lnTo>
                    <a:pt x="276" y="36"/>
                  </a:lnTo>
                  <a:lnTo>
                    <a:pt x="346" y="16"/>
                  </a:lnTo>
                  <a:lnTo>
                    <a:pt x="419" y="5"/>
                  </a:lnTo>
                  <a:lnTo>
                    <a:pt x="4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8" name="Freeform 14"/>
            <p:cNvSpPr>
              <a:spLocks noEditPoints="1"/>
            </p:cNvSpPr>
            <p:nvPr/>
          </p:nvSpPr>
          <p:spPr bwMode="auto">
            <a:xfrm>
              <a:off x="7736" y="1162"/>
              <a:ext cx="866" cy="761"/>
            </a:xfrm>
            <a:custGeom>
              <a:avLst/>
              <a:gdLst>
                <a:gd name="T0" fmla="*/ 346 w 866"/>
                <a:gd name="T1" fmla="*/ 151 h 761"/>
                <a:gd name="T2" fmla="*/ 268 w 866"/>
                <a:gd name="T3" fmla="*/ 185 h 761"/>
                <a:gd name="T4" fmla="*/ 207 w 866"/>
                <a:gd name="T5" fmla="*/ 245 h 761"/>
                <a:gd name="T6" fmla="*/ 171 w 866"/>
                <a:gd name="T7" fmla="*/ 324 h 761"/>
                <a:gd name="T8" fmla="*/ 597 w 866"/>
                <a:gd name="T9" fmla="*/ 282 h 761"/>
                <a:gd name="T10" fmla="*/ 548 w 866"/>
                <a:gd name="T11" fmla="*/ 211 h 761"/>
                <a:gd name="T12" fmla="*/ 477 w 866"/>
                <a:gd name="T13" fmla="*/ 165 h 761"/>
                <a:gd name="T14" fmla="*/ 392 w 866"/>
                <a:gd name="T15" fmla="*/ 146 h 761"/>
                <a:gd name="T16" fmla="*/ 448 w 866"/>
                <a:gd name="T17" fmla="*/ 3 h 761"/>
                <a:gd name="T18" fmla="*/ 547 w 866"/>
                <a:gd name="T19" fmla="*/ 29 h 761"/>
                <a:gd name="T20" fmla="*/ 630 w 866"/>
                <a:gd name="T21" fmla="*/ 82 h 761"/>
                <a:gd name="T22" fmla="*/ 698 w 866"/>
                <a:gd name="T23" fmla="*/ 161 h 761"/>
                <a:gd name="T24" fmla="*/ 754 w 866"/>
                <a:gd name="T25" fmla="*/ 280 h 761"/>
                <a:gd name="T26" fmla="*/ 772 w 866"/>
                <a:gd name="T27" fmla="*/ 399 h 761"/>
                <a:gd name="T28" fmla="*/ 760 w 866"/>
                <a:gd name="T29" fmla="*/ 452 h 761"/>
                <a:gd name="T30" fmla="*/ 723 w 866"/>
                <a:gd name="T31" fmla="*/ 477 h 761"/>
                <a:gd name="T32" fmla="*/ 194 w 866"/>
                <a:gd name="T33" fmla="*/ 481 h 761"/>
                <a:gd name="T34" fmla="*/ 246 w 866"/>
                <a:gd name="T35" fmla="*/ 543 h 761"/>
                <a:gd name="T36" fmla="*/ 319 w 866"/>
                <a:gd name="T37" fmla="*/ 586 h 761"/>
                <a:gd name="T38" fmla="*/ 404 w 866"/>
                <a:gd name="T39" fmla="*/ 599 h 761"/>
                <a:gd name="T40" fmla="*/ 821 w 866"/>
                <a:gd name="T41" fmla="*/ 655 h 761"/>
                <a:gd name="T42" fmla="*/ 866 w 866"/>
                <a:gd name="T43" fmla="*/ 761 h 761"/>
                <a:gd name="T44" fmla="*/ 339 w 866"/>
                <a:gd name="T45" fmla="*/ 757 h 761"/>
                <a:gd name="T46" fmla="*/ 221 w 866"/>
                <a:gd name="T47" fmla="*/ 720 h 761"/>
                <a:gd name="T48" fmla="*/ 119 w 866"/>
                <a:gd name="T49" fmla="*/ 645 h 761"/>
                <a:gd name="T50" fmla="*/ 53 w 866"/>
                <a:gd name="T51" fmla="*/ 562 h 761"/>
                <a:gd name="T52" fmla="*/ 12 w 866"/>
                <a:gd name="T53" fmla="*/ 467 h 761"/>
                <a:gd name="T54" fmla="*/ 0 w 866"/>
                <a:gd name="T55" fmla="*/ 357 h 761"/>
                <a:gd name="T56" fmla="*/ 12 w 866"/>
                <a:gd name="T57" fmla="*/ 258 h 761"/>
                <a:gd name="T58" fmla="*/ 51 w 866"/>
                <a:gd name="T59" fmla="*/ 172 h 761"/>
                <a:gd name="T60" fmla="*/ 117 w 866"/>
                <a:gd name="T61" fmla="*/ 99 h 761"/>
                <a:gd name="T62" fmla="*/ 217 w 866"/>
                <a:gd name="T63" fmla="*/ 36 h 761"/>
                <a:gd name="T64" fmla="*/ 331 w 866"/>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6" h="761">
                  <a:moveTo>
                    <a:pt x="392" y="146"/>
                  </a:moveTo>
                  <a:lnTo>
                    <a:pt x="346" y="151"/>
                  </a:lnTo>
                  <a:lnTo>
                    <a:pt x="306" y="165"/>
                  </a:lnTo>
                  <a:lnTo>
                    <a:pt x="268" y="185"/>
                  </a:lnTo>
                  <a:lnTo>
                    <a:pt x="234" y="211"/>
                  </a:lnTo>
                  <a:lnTo>
                    <a:pt x="207" y="245"/>
                  </a:lnTo>
                  <a:lnTo>
                    <a:pt x="187" y="282"/>
                  </a:lnTo>
                  <a:lnTo>
                    <a:pt x="171" y="324"/>
                  </a:lnTo>
                  <a:lnTo>
                    <a:pt x="611" y="324"/>
                  </a:lnTo>
                  <a:lnTo>
                    <a:pt x="597" y="282"/>
                  </a:lnTo>
                  <a:lnTo>
                    <a:pt x="575" y="245"/>
                  </a:lnTo>
                  <a:lnTo>
                    <a:pt x="548" y="211"/>
                  </a:lnTo>
                  <a:lnTo>
                    <a:pt x="514" y="185"/>
                  </a:lnTo>
                  <a:lnTo>
                    <a:pt x="477" y="165"/>
                  </a:lnTo>
                  <a:lnTo>
                    <a:pt x="436" y="151"/>
                  </a:lnTo>
                  <a:lnTo>
                    <a:pt x="392" y="146"/>
                  </a:lnTo>
                  <a:close/>
                  <a:moveTo>
                    <a:pt x="394" y="0"/>
                  </a:moveTo>
                  <a:lnTo>
                    <a:pt x="448" y="3"/>
                  </a:lnTo>
                  <a:lnTo>
                    <a:pt x="499" y="14"/>
                  </a:lnTo>
                  <a:lnTo>
                    <a:pt x="547" y="29"/>
                  </a:lnTo>
                  <a:lnTo>
                    <a:pt x="591" y="53"/>
                  </a:lnTo>
                  <a:lnTo>
                    <a:pt x="630" y="82"/>
                  </a:lnTo>
                  <a:lnTo>
                    <a:pt x="665" y="119"/>
                  </a:lnTo>
                  <a:lnTo>
                    <a:pt x="698" y="161"/>
                  </a:lnTo>
                  <a:lnTo>
                    <a:pt x="730" y="221"/>
                  </a:lnTo>
                  <a:lnTo>
                    <a:pt x="754" y="280"/>
                  </a:lnTo>
                  <a:lnTo>
                    <a:pt x="767" y="340"/>
                  </a:lnTo>
                  <a:lnTo>
                    <a:pt x="772" y="399"/>
                  </a:lnTo>
                  <a:lnTo>
                    <a:pt x="769" y="428"/>
                  </a:lnTo>
                  <a:lnTo>
                    <a:pt x="760" y="452"/>
                  </a:lnTo>
                  <a:lnTo>
                    <a:pt x="743" y="467"/>
                  </a:lnTo>
                  <a:lnTo>
                    <a:pt x="723" y="477"/>
                  </a:lnTo>
                  <a:lnTo>
                    <a:pt x="694" y="481"/>
                  </a:lnTo>
                  <a:lnTo>
                    <a:pt x="194" y="481"/>
                  </a:lnTo>
                  <a:lnTo>
                    <a:pt x="217" y="514"/>
                  </a:lnTo>
                  <a:lnTo>
                    <a:pt x="246" y="543"/>
                  </a:lnTo>
                  <a:lnTo>
                    <a:pt x="280" y="567"/>
                  </a:lnTo>
                  <a:lnTo>
                    <a:pt x="319" y="586"/>
                  </a:lnTo>
                  <a:lnTo>
                    <a:pt x="360" y="596"/>
                  </a:lnTo>
                  <a:lnTo>
                    <a:pt x="404" y="599"/>
                  </a:lnTo>
                  <a:lnTo>
                    <a:pt x="804" y="599"/>
                  </a:lnTo>
                  <a:lnTo>
                    <a:pt x="821" y="655"/>
                  </a:lnTo>
                  <a:lnTo>
                    <a:pt x="842" y="710"/>
                  </a:lnTo>
                  <a:lnTo>
                    <a:pt x="866" y="761"/>
                  </a:lnTo>
                  <a:lnTo>
                    <a:pt x="404" y="761"/>
                  </a:lnTo>
                  <a:lnTo>
                    <a:pt x="339" y="757"/>
                  </a:lnTo>
                  <a:lnTo>
                    <a:pt x="278" y="744"/>
                  </a:lnTo>
                  <a:lnTo>
                    <a:pt x="221" y="720"/>
                  </a:lnTo>
                  <a:lnTo>
                    <a:pt x="168" y="688"/>
                  </a:lnTo>
                  <a:lnTo>
                    <a:pt x="119" y="645"/>
                  </a:lnTo>
                  <a:lnTo>
                    <a:pt x="82" y="606"/>
                  </a:lnTo>
                  <a:lnTo>
                    <a:pt x="53" y="562"/>
                  </a:lnTo>
                  <a:lnTo>
                    <a:pt x="29" y="516"/>
                  </a:lnTo>
                  <a:lnTo>
                    <a:pt x="12" y="467"/>
                  </a:lnTo>
                  <a:lnTo>
                    <a:pt x="3" y="414"/>
                  </a:lnTo>
                  <a:lnTo>
                    <a:pt x="0" y="357"/>
                  </a:lnTo>
                  <a:lnTo>
                    <a:pt x="3" y="306"/>
                  </a:lnTo>
                  <a:lnTo>
                    <a:pt x="12" y="258"/>
                  </a:lnTo>
                  <a:lnTo>
                    <a:pt x="29" y="214"/>
                  </a:lnTo>
                  <a:lnTo>
                    <a:pt x="51" y="172"/>
                  </a:lnTo>
                  <a:lnTo>
                    <a:pt x="82" y="134"/>
                  </a:lnTo>
                  <a:lnTo>
                    <a:pt x="117" y="99"/>
                  </a:lnTo>
                  <a:lnTo>
                    <a:pt x="165" y="63"/>
                  </a:lnTo>
                  <a:lnTo>
                    <a:pt x="217" y="36"/>
                  </a:lnTo>
                  <a:lnTo>
                    <a:pt x="272" y="15"/>
                  </a:lnTo>
                  <a:lnTo>
                    <a:pt x="331" y="3"/>
                  </a:lnTo>
                  <a:lnTo>
                    <a:pt x="3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9" name="Freeform 15"/>
            <p:cNvSpPr>
              <a:spLocks noEditPoints="1"/>
            </p:cNvSpPr>
            <p:nvPr/>
          </p:nvSpPr>
          <p:spPr bwMode="auto">
            <a:xfrm>
              <a:off x="8919" y="1164"/>
              <a:ext cx="779" cy="794"/>
            </a:xfrm>
            <a:custGeom>
              <a:avLst/>
              <a:gdLst>
                <a:gd name="T0" fmla="*/ 343 w 779"/>
                <a:gd name="T1" fmla="*/ 168 h 794"/>
                <a:gd name="T2" fmla="*/ 261 w 779"/>
                <a:gd name="T3" fmla="*/ 202 h 794"/>
                <a:gd name="T4" fmla="*/ 197 w 779"/>
                <a:gd name="T5" fmla="*/ 266 h 794"/>
                <a:gd name="T6" fmla="*/ 163 w 779"/>
                <a:gd name="T7" fmla="*/ 350 h 794"/>
                <a:gd name="T8" fmla="*/ 163 w 779"/>
                <a:gd name="T9" fmla="*/ 443 h 794"/>
                <a:gd name="T10" fmla="*/ 195 w 779"/>
                <a:gd name="T11" fmla="*/ 526 h 794"/>
                <a:gd name="T12" fmla="*/ 260 w 779"/>
                <a:gd name="T13" fmla="*/ 592 h 794"/>
                <a:gd name="T14" fmla="*/ 341 w 779"/>
                <a:gd name="T15" fmla="*/ 628 h 794"/>
                <a:gd name="T16" fmla="*/ 433 w 779"/>
                <a:gd name="T17" fmla="*/ 628 h 794"/>
                <a:gd name="T18" fmla="*/ 514 w 779"/>
                <a:gd name="T19" fmla="*/ 592 h 794"/>
                <a:gd name="T20" fmla="*/ 580 w 779"/>
                <a:gd name="T21" fmla="*/ 526 h 794"/>
                <a:gd name="T22" fmla="*/ 614 w 779"/>
                <a:gd name="T23" fmla="*/ 443 h 794"/>
                <a:gd name="T24" fmla="*/ 614 w 779"/>
                <a:gd name="T25" fmla="*/ 350 h 794"/>
                <a:gd name="T26" fmla="*/ 580 w 779"/>
                <a:gd name="T27" fmla="*/ 266 h 794"/>
                <a:gd name="T28" fmla="*/ 516 w 779"/>
                <a:gd name="T29" fmla="*/ 202 h 794"/>
                <a:gd name="T30" fmla="*/ 434 w 779"/>
                <a:gd name="T31" fmla="*/ 168 h 794"/>
                <a:gd name="T32" fmla="*/ 388 w 779"/>
                <a:gd name="T33" fmla="*/ 0 h 794"/>
                <a:gd name="T34" fmla="*/ 511 w 779"/>
                <a:gd name="T35" fmla="*/ 18 h 794"/>
                <a:gd name="T36" fmla="*/ 616 w 779"/>
                <a:gd name="T37" fmla="*/ 74 h 794"/>
                <a:gd name="T38" fmla="*/ 706 w 779"/>
                <a:gd name="T39" fmla="*/ 163 h 794"/>
                <a:gd name="T40" fmla="*/ 760 w 779"/>
                <a:gd name="T41" fmla="*/ 273 h 794"/>
                <a:gd name="T42" fmla="*/ 779 w 779"/>
                <a:gd name="T43" fmla="*/ 399 h 794"/>
                <a:gd name="T44" fmla="*/ 760 w 779"/>
                <a:gd name="T45" fmla="*/ 521 h 794"/>
                <a:gd name="T46" fmla="*/ 706 w 779"/>
                <a:gd name="T47" fmla="*/ 630 h 794"/>
                <a:gd name="T48" fmla="*/ 618 w 779"/>
                <a:gd name="T49" fmla="*/ 720 h 794"/>
                <a:gd name="T50" fmla="*/ 512 w 779"/>
                <a:gd name="T51" fmla="*/ 776 h 794"/>
                <a:gd name="T52" fmla="*/ 388 w 779"/>
                <a:gd name="T53" fmla="*/ 794 h 794"/>
                <a:gd name="T54" fmla="*/ 266 w 779"/>
                <a:gd name="T55" fmla="*/ 776 h 794"/>
                <a:gd name="T56" fmla="*/ 161 w 779"/>
                <a:gd name="T57" fmla="*/ 721 h 794"/>
                <a:gd name="T58" fmla="*/ 73 w 779"/>
                <a:gd name="T59" fmla="*/ 631 h 794"/>
                <a:gd name="T60" fmla="*/ 17 w 779"/>
                <a:gd name="T61" fmla="*/ 523 h 794"/>
                <a:gd name="T62" fmla="*/ 0 w 779"/>
                <a:gd name="T63" fmla="*/ 399 h 794"/>
                <a:gd name="T64" fmla="*/ 17 w 779"/>
                <a:gd name="T65" fmla="*/ 275 h 794"/>
                <a:gd name="T66" fmla="*/ 71 w 779"/>
                <a:gd name="T67" fmla="*/ 166 h 794"/>
                <a:gd name="T68" fmla="*/ 159 w 779"/>
                <a:gd name="T69" fmla="*/ 74 h 794"/>
                <a:gd name="T70" fmla="*/ 265 w 779"/>
                <a:gd name="T71" fmla="*/ 18 h 794"/>
                <a:gd name="T72" fmla="*/ 388 w 779"/>
                <a:gd name="T73"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9" h="794">
                  <a:moveTo>
                    <a:pt x="388" y="163"/>
                  </a:moveTo>
                  <a:lnTo>
                    <a:pt x="343" y="168"/>
                  </a:lnTo>
                  <a:lnTo>
                    <a:pt x="300" y="180"/>
                  </a:lnTo>
                  <a:lnTo>
                    <a:pt x="261" y="202"/>
                  </a:lnTo>
                  <a:lnTo>
                    <a:pt x="226" y="231"/>
                  </a:lnTo>
                  <a:lnTo>
                    <a:pt x="197" y="266"/>
                  </a:lnTo>
                  <a:lnTo>
                    <a:pt x="175" y="307"/>
                  </a:lnTo>
                  <a:lnTo>
                    <a:pt x="163" y="350"/>
                  </a:lnTo>
                  <a:lnTo>
                    <a:pt x="158" y="397"/>
                  </a:lnTo>
                  <a:lnTo>
                    <a:pt x="163" y="443"/>
                  </a:lnTo>
                  <a:lnTo>
                    <a:pt x="175" y="487"/>
                  </a:lnTo>
                  <a:lnTo>
                    <a:pt x="195" y="526"/>
                  </a:lnTo>
                  <a:lnTo>
                    <a:pt x="224" y="562"/>
                  </a:lnTo>
                  <a:lnTo>
                    <a:pt x="260" y="592"/>
                  </a:lnTo>
                  <a:lnTo>
                    <a:pt x="299" y="614"/>
                  </a:lnTo>
                  <a:lnTo>
                    <a:pt x="341" y="628"/>
                  </a:lnTo>
                  <a:lnTo>
                    <a:pt x="388" y="631"/>
                  </a:lnTo>
                  <a:lnTo>
                    <a:pt x="433" y="628"/>
                  </a:lnTo>
                  <a:lnTo>
                    <a:pt x="475" y="614"/>
                  </a:lnTo>
                  <a:lnTo>
                    <a:pt x="514" y="592"/>
                  </a:lnTo>
                  <a:lnTo>
                    <a:pt x="550" y="562"/>
                  </a:lnTo>
                  <a:lnTo>
                    <a:pt x="580" y="526"/>
                  </a:lnTo>
                  <a:lnTo>
                    <a:pt x="602" y="487"/>
                  </a:lnTo>
                  <a:lnTo>
                    <a:pt x="614" y="443"/>
                  </a:lnTo>
                  <a:lnTo>
                    <a:pt x="619" y="397"/>
                  </a:lnTo>
                  <a:lnTo>
                    <a:pt x="614" y="350"/>
                  </a:lnTo>
                  <a:lnTo>
                    <a:pt x="602" y="307"/>
                  </a:lnTo>
                  <a:lnTo>
                    <a:pt x="580" y="266"/>
                  </a:lnTo>
                  <a:lnTo>
                    <a:pt x="551" y="231"/>
                  </a:lnTo>
                  <a:lnTo>
                    <a:pt x="516" y="202"/>
                  </a:lnTo>
                  <a:lnTo>
                    <a:pt x="477" y="180"/>
                  </a:lnTo>
                  <a:lnTo>
                    <a:pt x="434" y="168"/>
                  </a:lnTo>
                  <a:lnTo>
                    <a:pt x="388" y="163"/>
                  </a:lnTo>
                  <a:close/>
                  <a:moveTo>
                    <a:pt x="388" y="0"/>
                  </a:moveTo>
                  <a:lnTo>
                    <a:pt x="451" y="5"/>
                  </a:lnTo>
                  <a:lnTo>
                    <a:pt x="511" y="18"/>
                  </a:lnTo>
                  <a:lnTo>
                    <a:pt x="565" y="42"/>
                  </a:lnTo>
                  <a:lnTo>
                    <a:pt x="616" y="74"/>
                  </a:lnTo>
                  <a:lnTo>
                    <a:pt x="663" y="115"/>
                  </a:lnTo>
                  <a:lnTo>
                    <a:pt x="706" y="163"/>
                  </a:lnTo>
                  <a:lnTo>
                    <a:pt x="736" y="215"/>
                  </a:lnTo>
                  <a:lnTo>
                    <a:pt x="760" y="273"/>
                  </a:lnTo>
                  <a:lnTo>
                    <a:pt x="774" y="334"/>
                  </a:lnTo>
                  <a:lnTo>
                    <a:pt x="779" y="399"/>
                  </a:lnTo>
                  <a:lnTo>
                    <a:pt x="774" y="462"/>
                  </a:lnTo>
                  <a:lnTo>
                    <a:pt x="760" y="521"/>
                  </a:lnTo>
                  <a:lnTo>
                    <a:pt x="738" y="577"/>
                  </a:lnTo>
                  <a:lnTo>
                    <a:pt x="706" y="630"/>
                  </a:lnTo>
                  <a:lnTo>
                    <a:pt x="665" y="677"/>
                  </a:lnTo>
                  <a:lnTo>
                    <a:pt x="618" y="720"/>
                  </a:lnTo>
                  <a:lnTo>
                    <a:pt x="567" y="752"/>
                  </a:lnTo>
                  <a:lnTo>
                    <a:pt x="512" y="776"/>
                  </a:lnTo>
                  <a:lnTo>
                    <a:pt x="453" y="789"/>
                  </a:lnTo>
                  <a:lnTo>
                    <a:pt x="388" y="794"/>
                  </a:lnTo>
                  <a:lnTo>
                    <a:pt x="326" y="789"/>
                  </a:lnTo>
                  <a:lnTo>
                    <a:pt x="266" y="776"/>
                  </a:lnTo>
                  <a:lnTo>
                    <a:pt x="212" y="754"/>
                  </a:lnTo>
                  <a:lnTo>
                    <a:pt x="161" y="721"/>
                  </a:lnTo>
                  <a:lnTo>
                    <a:pt x="114" y="679"/>
                  </a:lnTo>
                  <a:lnTo>
                    <a:pt x="73" y="631"/>
                  </a:lnTo>
                  <a:lnTo>
                    <a:pt x="41" y="579"/>
                  </a:lnTo>
                  <a:lnTo>
                    <a:pt x="17" y="523"/>
                  </a:lnTo>
                  <a:lnTo>
                    <a:pt x="3" y="463"/>
                  </a:lnTo>
                  <a:lnTo>
                    <a:pt x="0" y="399"/>
                  </a:lnTo>
                  <a:lnTo>
                    <a:pt x="3" y="334"/>
                  </a:lnTo>
                  <a:lnTo>
                    <a:pt x="17" y="275"/>
                  </a:lnTo>
                  <a:lnTo>
                    <a:pt x="41" y="217"/>
                  </a:lnTo>
                  <a:lnTo>
                    <a:pt x="71" y="166"/>
                  </a:lnTo>
                  <a:lnTo>
                    <a:pt x="112" y="117"/>
                  </a:lnTo>
                  <a:lnTo>
                    <a:pt x="159" y="74"/>
                  </a:lnTo>
                  <a:lnTo>
                    <a:pt x="210" y="42"/>
                  </a:lnTo>
                  <a:lnTo>
                    <a:pt x="265" y="18"/>
                  </a:lnTo>
                  <a:lnTo>
                    <a:pt x="326" y="5"/>
                  </a:lnTo>
                  <a:lnTo>
                    <a:pt x="3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grpSp>
    </p:spTree>
    <p:extLst>
      <p:ext uri="{BB962C8B-B14F-4D97-AF65-F5344CB8AC3E}">
        <p14:creationId xmlns:p14="http://schemas.microsoft.com/office/powerpoint/2010/main" val="1350872773"/>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 id="2147483817" r:id="rId39"/>
    <p:sldLayoutId id="2147483818" r:id="rId40"/>
  </p:sldLayoutIdLst>
  <p:hf hdr="0"/>
  <p:txStyles>
    <p:titleStyle>
      <a:lvl1pPr algn="l" defTabSz="914400" rtl="0" eaLnBrk="1" latinLnBrk="0" hangingPunct="1">
        <a:spcBef>
          <a:spcPct val="0"/>
        </a:spcBef>
        <a:buNone/>
        <a:defRPr sz="2400" b="0" kern="1200" spc="20" baseline="0">
          <a:solidFill>
            <a:schemeClr val="tx1"/>
          </a:solidFill>
          <a:latin typeface="+mj-lt"/>
          <a:ea typeface="+mj-ea"/>
          <a:cs typeface="+mj-cs"/>
        </a:defRPr>
      </a:lvl1pPr>
    </p:titleStyle>
    <p:bodyStyle>
      <a:lvl1pPr marL="182563" indent="-182563" algn="l" defTabSz="914400" rtl="0" eaLnBrk="1" latinLnBrk="0" hangingPunct="1">
        <a:spcBef>
          <a:spcPts val="700"/>
        </a:spcBef>
        <a:buClr>
          <a:srgbClr val="A2D3F3"/>
        </a:buClr>
        <a:buSzPct val="90000"/>
        <a:buFont typeface="Wingdings 2" panose="05020102010507070707" pitchFamily="18" charset="2"/>
        <a:buChar char=""/>
        <a:defRPr sz="1800" kern="1200" spc="40" baseline="0">
          <a:solidFill>
            <a:schemeClr val="tx1"/>
          </a:solidFill>
          <a:latin typeface="+mn-lt"/>
          <a:ea typeface="+mn-ea"/>
          <a:cs typeface="+mn-cs"/>
        </a:defRPr>
      </a:lvl1pPr>
      <a:lvl2pPr marL="625475" indent="-168275" algn="l" defTabSz="914400" rtl="0" eaLnBrk="1" latinLnBrk="0" hangingPunct="1">
        <a:spcBef>
          <a:spcPct val="20000"/>
        </a:spcBef>
        <a:buClr>
          <a:srgbClr val="A2D3F3"/>
        </a:buClr>
        <a:buSzPct val="90000"/>
        <a:buFont typeface="Wingdings 2" panose="05020102010507070707" pitchFamily="18" charset="2"/>
        <a:buChar char=""/>
        <a:defRPr sz="1800" kern="1200" spc="20" baseline="0">
          <a:solidFill>
            <a:schemeClr val="tx1"/>
          </a:solidFill>
          <a:latin typeface="+mn-lt"/>
          <a:ea typeface="+mn-ea"/>
          <a:cs typeface="+mn-cs"/>
        </a:defRPr>
      </a:lvl2pPr>
      <a:lvl3pPr marL="1074738" indent="-160338" algn="l" defTabSz="914400" rtl="0" eaLnBrk="1" latinLnBrk="0" hangingPunct="1">
        <a:spcBef>
          <a:spcPct val="20000"/>
        </a:spcBef>
        <a:buClr>
          <a:srgbClr val="A2D3F3"/>
        </a:buClr>
        <a:buSzPct val="90000"/>
        <a:buFont typeface="Wingdings 2" panose="05020102010507070707" pitchFamily="18" charset="2"/>
        <a:buChar char=""/>
        <a:defRPr sz="1600" kern="1200" spc="20" baseline="0">
          <a:solidFill>
            <a:schemeClr val="tx1"/>
          </a:solidFill>
          <a:latin typeface="+mn-lt"/>
          <a:ea typeface="+mn-ea"/>
          <a:cs typeface="+mn-cs"/>
        </a:defRPr>
      </a:lvl3pPr>
      <a:lvl4pPr marL="1524000" indent="-152400" algn="l" defTabSz="914400" rtl="0" eaLnBrk="1" latinLnBrk="0" hangingPunct="1">
        <a:spcBef>
          <a:spcPct val="20000"/>
        </a:spcBef>
        <a:buClr>
          <a:srgbClr val="A2D3F3"/>
        </a:buClr>
        <a:buSzPct val="90000"/>
        <a:buFont typeface="Wingdings 2" panose="05020102010507070707" pitchFamily="18" charset="2"/>
        <a:buChar char=""/>
        <a:defRPr sz="1400" kern="1200" spc="20" baseline="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spc="2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9600" y="730560"/>
            <a:ext cx="10972800" cy="565200"/>
          </a:xfrm>
          <a:prstGeom prst="rect">
            <a:avLst/>
          </a:prstGeom>
        </p:spPr>
        <p:txBody>
          <a:bodyPr vert="horz" lIns="91440" tIns="45720" rIns="91440" bIns="45720" rtlCol="0" anchor="t" anchorCtr="0">
            <a:normAutofit/>
          </a:bodyPr>
          <a:lstStyle/>
          <a:p>
            <a:r>
              <a:rPr lang="en-US" dirty="0"/>
              <a:t>This is the title of the subject on this page</a:t>
            </a:r>
            <a:endParaRPr lang="nl-BE" dirty="0"/>
          </a:p>
        </p:txBody>
      </p:sp>
      <p:sp>
        <p:nvSpPr>
          <p:cNvPr id="3" name="Tijdelijke aanduiding voor tekst 2"/>
          <p:cNvSpPr>
            <a:spLocks noGrp="1"/>
          </p:cNvSpPr>
          <p:nvPr>
            <p:ph type="body" idx="1"/>
          </p:nvPr>
        </p:nvSpPr>
        <p:spPr>
          <a:xfrm>
            <a:off x="609600" y="1623061"/>
            <a:ext cx="10972800" cy="4525963"/>
          </a:xfrm>
          <a:prstGeom prst="rect">
            <a:avLst/>
          </a:prstGeom>
        </p:spPr>
        <p:txBody>
          <a:bodyPr vert="horz" lIns="486000" tIns="45720" rIns="91440" bIns="45720" rtlCol="0">
            <a:normAutofit/>
          </a:bodyPr>
          <a:lstStyle/>
          <a:p>
            <a:pPr lvl="0"/>
            <a:r>
              <a:rPr lang="en-US" dirty="0"/>
              <a:t>this could be a bulletpoint</a:t>
            </a:r>
            <a:endParaRPr lang="nl-NL" dirty="0"/>
          </a:p>
          <a:p>
            <a:pPr lvl="0"/>
            <a:r>
              <a:rPr lang="en-US" dirty="0"/>
              <a:t>this could be another bulletpoint</a:t>
            </a:r>
            <a:endParaRPr lang="nl-NL" dirty="0"/>
          </a:p>
          <a:p>
            <a:pPr lvl="0"/>
            <a:r>
              <a:rPr lang="en-US" dirty="0"/>
              <a:t>this could be the third bulletpoint</a:t>
            </a:r>
            <a:endParaRPr lang="nl-NL" dirty="0"/>
          </a:p>
          <a:p>
            <a:pPr lvl="0"/>
            <a:r>
              <a:rPr lang="en-US" dirty="0"/>
              <a:t>this bulletpoint needs some bodycopy</a:t>
            </a:r>
            <a:endParaRPr lang="nl-BE" dirty="0"/>
          </a:p>
        </p:txBody>
      </p:sp>
      <p:sp>
        <p:nvSpPr>
          <p:cNvPr id="4" name="Tijdelijke aanduiding voor datum 3"/>
          <p:cNvSpPr>
            <a:spLocks noGrp="1"/>
          </p:cNvSpPr>
          <p:nvPr>
            <p:ph type="dt" sz="half" idx="2"/>
          </p:nvPr>
        </p:nvSpPr>
        <p:spPr>
          <a:xfrm>
            <a:off x="1199456" y="6400801"/>
            <a:ext cx="917211" cy="276224"/>
          </a:xfrm>
          <a:prstGeom prst="rect">
            <a:avLst/>
          </a:prstGeom>
        </p:spPr>
        <p:txBody>
          <a:bodyPr vert="horz" lIns="72000" tIns="45720" rIns="72000" bIns="45720" rtlCol="0" anchor="b" anchorCtr="0"/>
          <a:lstStyle>
            <a:lvl1pPr algn="r">
              <a:defRPr sz="700">
                <a:solidFill>
                  <a:schemeClr val="tx1">
                    <a:tint val="75000"/>
                  </a:schemeClr>
                </a:solidFill>
              </a:defRPr>
            </a:lvl1pPr>
          </a:lstStyle>
          <a:p>
            <a:endParaRPr lang="nl-BE" dirty="0"/>
          </a:p>
        </p:txBody>
      </p:sp>
      <p:sp>
        <p:nvSpPr>
          <p:cNvPr id="5" name="Tijdelijke aanduiding voor voettekst 4"/>
          <p:cNvSpPr>
            <a:spLocks noGrp="1"/>
          </p:cNvSpPr>
          <p:nvPr>
            <p:ph type="ftr" sz="quarter" idx="3"/>
          </p:nvPr>
        </p:nvSpPr>
        <p:spPr>
          <a:xfrm>
            <a:off x="2116667" y="6400801"/>
            <a:ext cx="8313605" cy="276224"/>
          </a:xfrm>
          <a:prstGeom prst="rect">
            <a:avLst/>
          </a:prstGeom>
        </p:spPr>
        <p:txBody>
          <a:bodyPr vert="horz" lIns="0" tIns="45720" rIns="0" bIns="45720" rtlCol="0" anchor="b" anchorCtr="0"/>
          <a:lstStyle>
            <a:lvl1pPr marL="88900" indent="-88900" algn="l">
              <a:buClr>
                <a:schemeClr val="accent2"/>
              </a:buClr>
              <a:buFont typeface="Arial" panose="020B0604020202020204" pitchFamily="34" charset="0"/>
              <a:buChar char="•"/>
              <a:defRPr sz="700">
                <a:solidFill>
                  <a:schemeClr val="tx1">
                    <a:tint val="75000"/>
                  </a:schemeClr>
                </a:solidFill>
              </a:defRPr>
            </a:lvl1pPr>
          </a:lstStyle>
          <a:p>
            <a:endParaRPr lang="nl-BE" dirty="0"/>
          </a:p>
        </p:txBody>
      </p:sp>
      <p:sp>
        <p:nvSpPr>
          <p:cNvPr id="6" name="Tijdelijke aanduiding voor dianummer 5"/>
          <p:cNvSpPr>
            <a:spLocks noGrp="1"/>
          </p:cNvSpPr>
          <p:nvPr>
            <p:ph type="sldNum" sz="quarter" idx="4"/>
          </p:nvPr>
        </p:nvSpPr>
        <p:spPr>
          <a:xfrm>
            <a:off x="609600" y="6400801"/>
            <a:ext cx="589856" cy="276224"/>
          </a:xfrm>
          <a:prstGeom prst="rect">
            <a:avLst/>
          </a:prstGeom>
        </p:spPr>
        <p:txBody>
          <a:bodyPr vert="horz" lIns="91440" tIns="45720" rIns="91440" bIns="45720" rtlCol="0" anchor="b" anchorCtr="0"/>
          <a:lstStyle>
            <a:lvl1pPr algn="l">
              <a:defRPr sz="700">
                <a:solidFill>
                  <a:schemeClr val="tx1">
                    <a:tint val="75000"/>
                  </a:schemeClr>
                </a:solidFill>
              </a:defRPr>
            </a:lvl1pPr>
          </a:lstStyle>
          <a:p>
            <a:fld id="{9BE375CD-4755-4D83-B134-E6AD5007676A}" type="slidenum">
              <a:rPr lang="nl-BE" smtClean="0"/>
              <a:pPr/>
              <a:t>‹nr.›</a:t>
            </a:fld>
            <a:endParaRPr lang="nl-BE" dirty="0"/>
          </a:p>
        </p:txBody>
      </p:sp>
      <p:sp>
        <p:nvSpPr>
          <p:cNvPr id="10" name="Rechthoek 9"/>
          <p:cNvSpPr/>
          <p:nvPr/>
        </p:nvSpPr>
        <p:spPr>
          <a:xfrm>
            <a:off x="0" y="6791326"/>
            <a:ext cx="12192000" cy="66675"/>
          </a:xfrm>
          <a:prstGeom prst="rect">
            <a:avLst/>
          </a:prstGeom>
          <a:solidFill>
            <a:srgbClr val="C6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800"/>
          </a:p>
        </p:txBody>
      </p:sp>
      <p:grpSp>
        <p:nvGrpSpPr>
          <p:cNvPr id="12" name="Group 7"/>
          <p:cNvGrpSpPr>
            <a:grpSpLocks noChangeAspect="1"/>
          </p:cNvGrpSpPr>
          <p:nvPr/>
        </p:nvGrpSpPr>
        <p:grpSpPr bwMode="auto">
          <a:xfrm>
            <a:off x="11110397" y="6416042"/>
            <a:ext cx="554553" cy="258577"/>
            <a:chOff x="4371" y="191"/>
            <a:chExt cx="5592" cy="2723"/>
          </a:xfrm>
          <a:solidFill>
            <a:srgbClr val="C62B37"/>
          </a:solidFill>
        </p:grpSpPr>
        <p:sp>
          <p:nvSpPr>
            <p:cNvPr id="13" name="Freeform 9"/>
            <p:cNvSpPr>
              <a:spLocks/>
            </p:cNvSpPr>
            <p:nvPr/>
          </p:nvSpPr>
          <p:spPr bwMode="auto">
            <a:xfrm>
              <a:off x="4649" y="1284"/>
              <a:ext cx="1811" cy="920"/>
            </a:xfrm>
            <a:custGeom>
              <a:avLst/>
              <a:gdLst>
                <a:gd name="T0" fmla="*/ 68 w 1811"/>
                <a:gd name="T1" fmla="*/ 0 h 920"/>
                <a:gd name="T2" fmla="*/ 611 w 1811"/>
                <a:gd name="T3" fmla="*/ 58 h 920"/>
                <a:gd name="T4" fmla="*/ 581 w 1811"/>
                <a:gd name="T5" fmla="*/ 189 h 920"/>
                <a:gd name="T6" fmla="*/ 582 w 1811"/>
                <a:gd name="T7" fmla="*/ 330 h 920"/>
                <a:gd name="T8" fmla="*/ 616 w 1811"/>
                <a:gd name="T9" fmla="*/ 454 h 920"/>
                <a:gd name="T10" fmla="*/ 686 w 1811"/>
                <a:gd name="T11" fmla="*/ 564 h 920"/>
                <a:gd name="T12" fmla="*/ 786 w 1811"/>
                <a:gd name="T13" fmla="*/ 657 h 920"/>
                <a:gd name="T14" fmla="*/ 903 w 1811"/>
                <a:gd name="T15" fmla="*/ 722 h 920"/>
                <a:gd name="T16" fmla="*/ 1032 w 1811"/>
                <a:gd name="T17" fmla="*/ 754 h 920"/>
                <a:gd name="T18" fmla="*/ 1641 w 1811"/>
                <a:gd name="T19" fmla="*/ 757 h 920"/>
                <a:gd name="T20" fmla="*/ 1657 w 1811"/>
                <a:gd name="T21" fmla="*/ 776 h 920"/>
                <a:gd name="T22" fmla="*/ 1672 w 1811"/>
                <a:gd name="T23" fmla="*/ 795 h 920"/>
                <a:gd name="T24" fmla="*/ 1689 w 1811"/>
                <a:gd name="T25" fmla="*/ 813 h 920"/>
                <a:gd name="T26" fmla="*/ 1758 w 1811"/>
                <a:gd name="T27" fmla="*/ 880 h 920"/>
                <a:gd name="T28" fmla="*/ 1102 w 1811"/>
                <a:gd name="T29" fmla="*/ 920 h 920"/>
                <a:gd name="T30" fmla="*/ 951 w 1811"/>
                <a:gd name="T31" fmla="*/ 905 h 920"/>
                <a:gd name="T32" fmla="*/ 811 w 1811"/>
                <a:gd name="T33" fmla="*/ 858 h 920"/>
                <a:gd name="T34" fmla="*/ 682 w 1811"/>
                <a:gd name="T35" fmla="*/ 780 h 920"/>
                <a:gd name="T36" fmla="*/ 569 w 1811"/>
                <a:gd name="T37" fmla="*/ 671 h 920"/>
                <a:gd name="T38" fmla="*/ 486 w 1811"/>
                <a:gd name="T39" fmla="*/ 549 h 920"/>
                <a:gd name="T40" fmla="*/ 435 w 1811"/>
                <a:gd name="T41" fmla="*/ 413 h 920"/>
                <a:gd name="T42" fmla="*/ 418 w 1811"/>
                <a:gd name="T43" fmla="*/ 263 h 920"/>
                <a:gd name="T44" fmla="*/ 426 w 1811"/>
                <a:gd name="T45" fmla="*/ 146 h 920"/>
                <a:gd name="T46" fmla="*/ 153 w 1811"/>
                <a:gd name="T47" fmla="*/ 839 h 920"/>
                <a:gd name="T48" fmla="*/ 150 w 1811"/>
                <a:gd name="T49" fmla="*/ 868 h 920"/>
                <a:gd name="T50" fmla="*/ 122 w 1811"/>
                <a:gd name="T51" fmla="*/ 905 h 920"/>
                <a:gd name="T52" fmla="*/ 77 w 1811"/>
                <a:gd name="T53" fmla="*/ 920 h 920"/>
                <a:gd name="T54" fmla="*/ 33 w 1811"/>
                <a:gd name="T55" fmla="*/ 905 h 920"/>
                <a:gd name="T56" fmla="*/ 5 w 1811"/>
                <a:gd name="T57" fmla="*/ 868 h 920"/>
                <a:gd name="T58" fmla="*/ 2 w 1811"/>
                <a:gd name="T59" fmla="*/ 842 h 920"/>
                <a:gd name="T60" fmla="*/ 0 w 1811"/>
                <a:gd name="T61" fmla="*/ 70 h 920"/>
                <a:gd name="T62" fmla="*/ 2 w 1811"/>
                <a:gd name="T63" fmla="*/ 60 h 920"/>
                <a:gd name="T64" fmla="*/ 9 w 1811"/>
                <a:gd name="T65" fmla="*/ 36 h 920"/>
                <a:gd name="T66" fmla="*/ 27 w 1811"/>
                <a:gd name="T67" fmla="*/ 11 h 920"/>
                <a:gd name="T68" fmla="*/ 68 w 1811"/>
                <a:gd name="T69" fmla="*/ 0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1" h="920">
                  <a:moveTo>
                    <a:pt x="68" y="0"/>
                  </a:moveTo>
                  <a:lnTo>
                    <a:pt x="68" y="0"/>
                  </a:lnTo>
                  <a:lnTo>
                    <a:pt x="637" y="0"/>
                  </a:lnTo>
                  <a:lnTo>
                    <a:pt x="611" y="58"/>
                  </a:lnTo>
                  <a:lnTo>
                    <a:pt x="593" y="121"/>
                  </a:lnTo>
                  <a:lnTo>
                    <a:pt x="581" y="189"/>
                  </a:lnTo>
                  <a:lnTo>
                    <a:pt x="577" y="263"/>
                  </a:lnTo>
                  <a:lnTo>
                    <a:pt x="582" y="330"/>
                  </a:lnTo>
                  <a:lnTo>
                    <a:pt x="594" y="392"/>
                  </a:lnTo>
                  <a:lnTo>
                    <a:pt x="616" y="454"/>
                  </a:lnTo>
                  <a:lnTo>
                    <a:pt x="647" y="510"/>
                  </a:lnTo>
                  <a:lnTo>
                    <a:pt x="686" y="564"/>
                  </a:lnTo>
                  <a:lnTo>
                    <a:pt x="733" y="613"/>
                  </a:lnTo>
                  <a:lnTo>
                    <a:pt x="786" y="657"/>
                  </a:lnTo>
                  <a:lnTo>
                    <a:pt x="844" y="693"/>
                  </a:lnTo>
                  <a:lnTo>
                    <a:pt x="903" y="722"/>
                  </a:lnTo>
                  <a:lnTo>
                    <a:pt x="966" y="742"/>
                  </a:lnTo>
                  <a:lnTo>
                    <a:pt x="1032" y="754"/>
                  </a:lnTo>
                  <a:lnTo>
                    <a:pt x="1102" y="757"/>
                  </a:lnTo>
                  <a:lnTo>
                    <a:pt x="1641" y="757"/>
                  </a:lnTo>
                  <a:lnTo>
                    <a:pt x="1641" y="757"/>
                  </a:lnTo>
                  <a:lnTo>
                    <a:pt x="1657" y="776"/>
                  </a:lnTo>
                  <a:lnTo>
                    <a:pt x="1658" y="778"/>
                  </a:lnTo>
                  <a:lnTo>
                    <a:pt x="1672" y="795"/>
                  </a:lnTo>
                  <a:lnTo>
                    <a:pt x="1677" y="802"/>
                  </a:lnTo>
                  <a:lnTo>
                    <a:pt x="1689" y="813"/>
                  </a:lnTo>
                  <a:lnTo>
                    <a:pt x="1707" y="832"/>
                  </a:lnTo>
                  <a:lnTo>
                    <a:pt x="1758" y="880"/>
                  </a:lnTo>
                  <a:lnTo>
                    <a:pt x="1811" y="920"/>
                  </a:lnTo>
                  <a:lnTo>
                    <a:pt x="1102" y="920"/>
                  </a:lnTo>
                  <a:lnTo>
                    <a:pt x="1025" y="917"/>
                  </a:lnTo>
                  <a:lnTo>
                    <a:pt x="951" y="905"/>
                  </a:lnTo>
                  <a:lnTo>
                    <a:pt x="879" y="885"/>
                  </a:lnTo>
                  <a:lnTo>
                    <a:pt x="811" y="858"/>
                  </a:lnTo>
                  <a:lnTo>
                    <a:pt x="745" y="822"/>
                  </a:lnTo>
                  <a:lnTo>
                    <a:pt x="682" y="780"/>
                  </a:lnTo>
                  <a:lnTo>
                    <a:pt x="623" y="729"/>
                  </a:lnTo>
                  <a:lnTo>
                    <a:pt x="569" y="671"/>
                  </a:lnTo>
                  <a:lnTo>
                    <a:pt x="523" y="611"/>
                  </a:lnTo>
                  <a:lnTo>
                    <a:pt x="486" y="549"/>
                  </a:lnTo>
                  <a:lnTo>
                    <a:pt x="457" y="482"/>
                  </a:lnTo>
                  <a:lnTo>
                    <a:pt x="435" y="413"/>
                  </a:lnTo>
                  <a:lnTo>
                    <a:pt x="423" y="340"/>
                  </a:lnTo>
                  <a:lnTo>
                    <a:pt x="418" y="263"/>
                  </a:lnTo>
                  <a:lnTo>
                    <a:pt x="421" y="204"/>
                  </a:lnTo>
                  <a:lnTo>
                    <a:pt x="426" y="146"/>
                  </a:lnTo>
                  <a:lnTo>
                    <a:pt x="153" y="146"/>
                  </a:lnTo>
                  <a:lnTo>
                    <a:pt x="153" y="839"/>
                  </a:lnTo>
                  <a:lnTo>
                    <a:pt x="153" y="844"/>
                  </a:lnTo>
                  <a:lnTo>
                    <a:pt x="150" y="868"/>
                  </a:lnTo>
                  <a:lnTo>
                    <a:pt x="138" y="890"/>
                  </a:lnTo>
                  <a:lnTo>
                    <a:pt x="122" y="905"/>
                  </a:lnTo>
                  <a:lnTo>
                    <a:pt x="100" y="917"/>
                  </a:lnTo>
                  <a:lnTo>
                    <a:pt x="77" y="920"/>
                  </a:lnTo>
                  <a:lnTo>
                    <a:pt x="53" y="917"/>
                  </a:lnTo>
                  <a:lnTo>
                    <a:pt x="33" y="905"/>
                  </a:lnTo>
                  <a:lnTo>
                    <a:pt x="16" y="890"/>
                  </a:lnTo>
                  <a:lnTo>
                    <a:pt x="5" y="868"/>
                  </a:lnTo>
                  <a:lnTo>
                    <a:pt x="0" y="844"/>
                  </a:lnTo>
                  <a:lnTo>
                    <a:pt x="2" y="842"/>
                  </a:lnTo>
                  <a:lnTo>
                    <a:pt x="0" y="842"/>
                  </a:lnTo>
                  <a:lnTo>
                    <a:pt x="0" y="70"/>
                  </a:lnTo>
                  <a:lnTo>
                    <a:pt x="0" y="68"/>
                  </a:lnTo>
                  <a:lnTo>
                    <a:pt x="2" y="60"/>
                  </a:lnTo>
                  <a:lnTo>
                    <a:pt x="4" y="48"/>
                  </a:lnTo>
                  <a:lnTo>
                    <a:pt x="9" y="36"/>
                  </a:lnTo>
                  <a:lnTo>
                    <a:pt x="16" y="22"/>
                  </a:lnTo>
                  <a:lnTo>
                    <a:pt x="27" y="11"/>
                  </a:lnTo>
                  <a:lnTo>
                    <a:pt x="44" y="4"/>
                  </a:lnTo>
                  <a:lnTo>
                    <a:pt x="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4" name="Freeform 10"/>
            <p:cNvSpPr>
              <a:spLocks noEditPoints="1"/>
            </p:cNvSpPr>
            <p:nvPr/>
          </p:nvSpPr>
          <p:spPr bwMode="auto">
            <a:xfrm>
              <a:off x="6528" y="1152"/>
              <a:ext cx="784" cy="789"/>
            </a:xfrm>
            <a:custGeom>
              <a:avLst/>
              <a:gdLst>
                <a:gd name="T0" fmla="*/ 341 w 784"/>
                <a:gd name="T1" fmla="*/ 166 h 789"/>
                <a:gd name="T2" fmla="*/ 259 w 784"/>
                <a:gd name="T3" fmla="*/ 200 h 789"/>
                <a:gd name="T4" fmla="*/ 195 w 784"/>
                <a:gd name="T5" fmla="*/ 266 h 789"/>
                <a:gd name="T6" fmla="*/ 163 w 784"/>
                <a:gd name="T7" fmla="*/ 351 h 789"/>
                <a:gd name="T8" fmla="*/ 163 w 784"/>
                <a:gd name="T9" fmla="*/ 445 h 789"/>
                <a:gd name="T10" fmla="*/ 197 w 784"/>
                <a:gd name="T11" fmla="*/ 526 h 789"/>
                <a:gd name="T12" fmla="*/ 261 w 784"/>
                <a:gd name="T13" fmla="*/ 591 h 789"/>
                <a:gd name="T14" fmla="*/ 343 w 784"/>
                <a:gd name="T15" fmla="*/ 623 h 789"/>
                <a:gd name="T16" fmla="*/ 436 w 784"/>
                <a:gd name="T17" fmla="*/ 623 h 789"/>
                <a:gd name="T18" fmla="*/ 519 w 784"/>
                <a:gd name="T19" fmla="*/ 591 h 789"/>
                <a:gd name="T20" fmla="*/ 585 w 784"/>
                <a:gd name="T21" fmla="*/ 526 h 789"/>
                <a:gd name="T22" fmla="*/ 621 w 784"/>
                <a:gd name="T23" fmla="*/ 445 h 789"/>
                <a:gd name="T24" fmla="*/ 621 w 784"/>
                <a:gd name="T25" fmla="*/ 351 h 789"/>
                <a:gd name="T26" fmla="*/ 587 w 784"/>
                <a:gd name="T27" fmla="*/ 266 h 789"/>
                <a:gd name="T28" fmla="*/ 521 w 784"/>
                <a:gd name="T29" fmla="*/ 200 h 789"/>
                <a:gd name="T30" fmla="*/ 436 w 784"/>
                <a:gd name="T31" fmla="*/ 166 h 789"/>
                <a:gd name="T32" fmla="*/ 388 w 784"/>
                <a:gd name="T33" fmla="*/ 0 h 789"/>
                <a:gd name="T34" fmla="*/ 512 w 784"/>
                <a:gd name="T35" fmla="*/ 19 h 789"/>
                <a:gd name="T36" fmla="*/ 621 w 784"/>
                <a:gd name="T37" fmla="*/ 75 h 789"/>
                <a:gd name="T38" fmla="*/ 711 w 784"/>
                <a:gd name="T39" fmla="*/ 166 h 789"/>
                <a:gd name="T40" fmla="*/ 765 w 784"/>
                <a:gd name="T41" fmla="*/ 275 h 789"/>
                <a:gd name="T42" fmla="*/ 784 w 784"/>
                <a:gd name="T43" fmla="*/ 399 h 789"/>
                <a:gd name="T44" fmla="*/ 765 w 784"/>
                <a:gd name="T45" fmla="*/ 519 h 789"/>
                <a:gd name="T46" fmla="*/ 709 w 784"/>
                <a:gd name="T47" fmla="*/ 626 h 789"/>
                <a:gd name="T48" fmla="*/ 619 w 784"/>
                <a:gd name="T49" fmla="*/ 716 h 789"/>
                <a:gd name="T50" fmla="*/ 512 w 784"/>
                <a:gd name="T51" fmla="*/ 772 h 789"/>
                <a:gd name="T52" fmla="*/ 388 w 784"/>
                <a:gd name="T53" fmla="*/ 789 h 789"/>
                <a:gd name="T54" fmla="*/ 266 w 784"/>
                <a:gd name="T55" fmla="*/ 772 h 789"/>
                <a:gd name="T56" fmla="*/ 159 w 784"/>
                <a:gd name="T57" fmla="*/ 718 h 789"/>
                <a:gd name="T58" fmla="*/ 73 w 784"/>
                <a:gd name="T59" fmla="*/ 630 h 789"/>
                <a:gd name="T60" fmla="*/ 19 w 784"/>
                <a:gd name="T61" fmla="*/ 523 h 789"/>
                <a:gd name="T62" fmla="*/ 0 w 784"/>
                <a:gd name="T63" fmla="*/ 399 h 789"/>
                <a:gd name="T64" fmla="*/ 19 w 784"/>
                <a:gd name="T65" fmla="*/ 275 h 789"/>
                <a:gd name="T66" fmla="*/ 73 w 784"/>
                <a:gd name="T67" fmla="*/ 166 h 789"/>
                <a:gd name="T68" fmla="*/ 163 w 784"/>
                <a:gd name="T69" fmla="*/ 75 h 789"/>
                <a:gd name="T70" fmla="*/ 268 w 784"/>
                <a:gd name="T71" fmla="*/ 19 h 789"/>
                <a:gd name="T72" fmla="*/ 388 w 784"/>
                <a:gd name="T73"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84" h="789">
                  <a:moveTo>
                    <a:pt x="388" y="161"/>
                  </a:moveTo>
                  <a:lnTo>
                    <a:pt x="341" y="166"/>
                  </a:lnTo>
                  <a:lnTo>
                    <a:pt x="299" y="178"/>
                  </a:lnTo>
                  <a:lnTo>
                    <a:pt x="259" y="200"/>
                  </a:lnTo>
                  <a:lnTo>
                    <a:pt x="224" y="229"/>
                  </a:lnTo>
                  <a:lnTo>
                    <a:pt x="195" y="266"/>
                  </a:lnTo>
                  <a:lnTo>
                    <a:pt x="175" y="305"/>
                  </a:lnTo>
                  <a:lnTo>
                    <a:pt x="163" y="351"/>
                  </a:lnTo>
                  <a:lnTo>
                    <a:pt x="159" y="399"/>
                  </a:lnTo>
                  <a:lnTo>
                    <a:pt x="163" y="445"/>
                  </a:lnTo>
                  <a:lnTo>
                    <a:pt x="175" y="487"/>
                  </a:lnTo>
                  <a:lnTo>
                    <a:pt x="197" y="526"/>
                  </a:lnTo>
                  <a:lnTo>
                    <a:pt x="226" y="562"/>
                  </a:lnTo>
                  <a:lnTo>
                    <a:pt x="261" y="591"/>
                  </a:lnTo>
                  <a:lnTo>
                    <a:pt x="300" y="611"/>
                  </a:lnTo>
                  <a:lnTo>
                    <a:pt x="343" y="623"/>
                  </a:lnTo>
                  <a:lnTo>
                    <a:pt x="388" y="628"/>
                  </a:lnTo>
                  <a:lnTo>
                    <a:pt x="436" y="623"/>
                  </a:lnTo>
                  <a:lnTo>
                    <a:pt x="478" y="611"/>
                  </a:lnTo>
                  <a:lnTo>
                    <a:pt x="519" y="591"/>
                  </a:lnTo>
                  <a:lnTo>
                    <a:pt x="555" y="562"/>
                  </a:lnTo>
                  <a:lnTo>
                    <a:pt x="585" y="526"/>
                  </a:lnTo>
                  <a:lnTo>
                    <a:pt x="607" y="487"/>
                  </a:lnTo>
                  <a:lnTo>
                    <a:pt x="621" y="445"/>
                  </a:lnTo>
                  <a:lnTo>
                    <a:pt x="624" y="399"/>
                  </a:lnTo>
                  <a:lnTo>
                    <a:pt x="621" y="351"/>
                  </a:lnTo>
                  <a:lnTo>
                    <a:pt x="607" y="305"/>
                  </a:lnTo>
                  <a:lnTo>
                    <a:pt x="587" y="266"/>
                  </a:lnTo>
                  <a:lnTo>
                    <a:pt x="556" y="229"/>
                  </a:lnTo>
                  <a:lnTo>
                    <a:pt x="521" y="200"/>
                  </a:lnTo>
                  <a:lnTo>
                    <a:pt x="480" y="178"/>
                  </a:lnTo>
                  <a:lnTo>
                    <a:pt x="436" y="166"/>
                  </a:lnTo>
                  <a:lnTo>
                    <a:pt x="388" y="161"/>
                  </a:lnTo>
                  <a:close/>
                  <a:moveTo>
                    <a:pt x="388" y="0"/>
                  </a:moveTo>
                  <a:lnTo>
                    <a:pt x="453" y="5"/>
                  </a:lnTo>
                  <a:lnTo>
                    <a:pt x="512" y="19"/>
                  </a:lnTo>
                  <a:lnTo>
                    <a:pt x="570" y="42"/>
                  </a:lnTo>
                  <a:lnTo>
                    <a:pt x="621" y="75"/>
                  </a:lnTo>
                  <a:lnTo>
                    <a:pt x="668" y="117"/>
                  </a:lnTo>
                  <a:lnTo>
                    <a:pt x="711" y="166"/>
                  </a:lnTo>
                  <a:lnTo>
                    <a:pt x="743" y="219"/>
                  </a:lnTo>
                  <a:lnTo>
                    <a:pt x="765" y="275"/>
                  </a:lnTo>
                  <a:lnTo>
                    <a:pt x="779" y="334"/>
                  </a:lnTo>
                  <a:lnTo>
                    <a:pt x="784" y="399"/>
                  </a:lnTo>
                  <a:lnTo>
                    <a:pt x="779" y="462"/>
                  </a:lnTo>
                  <a:lnTo>
                    <a:pt x="765" y="519"/>
                  </a:lnTo>
                  <a:lnTo>
                    <a:pt x="741" y="575"/>
                  </a:lnTo>
                  <a:lnTo>
                    <a:pt x="709" y="626"/>
                  </a:lnTo>
                  <a:lnTo>
                    <a:pt x="668" y="674"/>
                  </a:lnTo>
                  <a:lnTo>
                    <a:pt x="619" y="716"/>
                  </a:lnTo>
                  <a:lnTo>
                    <a:pt x="567" y="749"/>
                  </a:lnTo>
                  <a:lnTo>
                    <a:pt x="512" y="772"/>
                  </a:lnTo>
                  <a:lnTo>
                    <a:pt x="451" y="786"/>
                  </a:lnTo>
                  <a:lnTo>
                    <a:pt x="388" y="789"/>
                  </a:lnTo>
                  <a:lnTo>
                    <a:pt x="326" y="786"/>
                  </a:lnTo>
                  <a:lnTo>
                    <a:pt x="266" y="772"/>
                  </a:lnTo>
                  <a:lnTo>
                    <a:pt x="212" y="750"/>
                  </a:lnTo>
                  <a:lnTo>
                    <a:pt x="159" y="718"/>
                  </a:lnTo>
                  <a:lnTo>
                    <a:pt x="114" y="677"/>
                  </a:lnTo>
                  <a:lnTo>
                    <a:pt x="73" y="630"/>
                  </a:lnTo>
                  <a:lnTo>
                    <a:pt x="41" y="579"/>
                  </a:lnTo>
                  <a:lnTo>
                    <a:pt x="19" y="523"/>
                  </a:lnTo>
                  <a:lnTo>
                    <a:pt x="5" y="463"/>
                  </a:lnTo>
                  <a:lnTo>
                    <a:pt x="0" y="399"/>
                  </a:lnTo>
                  <a:lnTo>
                    <a:pt x="5" y="334"/>
                  </a:lnTo>
                  <a:lnTo>
                    <a:pt x="19" y="275"/>
                  </a:lnTo>
                  <a:lnTo>
                    <a:pt x="41" y="219"/>
                  </a:lnTo>
                  <a:lnTo>
                    <a:pt x="73" y="166"/>
                  </a:lnTo>
                  <a:lnTo>
                    <a:pt x="114" y="117"/>
                  </a:lnTo>
                  <a:lnTo>
                    <a:pt x="163" y="75"/>
                  </a:lnTo>
                  <a:lnTo>
                    <a:pt x="214" y="42"/>
                  </a:lnTo>
                  <a:lnTo>
                    <a:pt x="268" y="19"/>
                  </a:lnTo>
                  <a:lnTo>
                    <a:pt x="327" y="5"/>
                  </a:lnTo>
                  <a:lnTo>
                    <a:pt x="3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5" name="Freeform 11"/>
            <p:cNvSpPr>
              <a:spLocks/>
            </p:cNvSpPr>
            <p:nvPr/>
          </p:nvSpPr>
          <p:spPr bwMode="auto">
            <a:xfrm>
              <a:off x="4371" y="191"/>
              <a:ext cx="5327" cy="2450"/>
            </a:xfrm>
            <a:custGeom>
              <a:avLst/>
              <a:gdLst>
                <a:gd name="T0" fmla="*/ 2282 w 5327"/>
                <a:gd name="T1" fmla="*/ 127 h 2450"/>
                <a:gd name="T2" fmla="*/ 2342 w 5327"/>
                <a:gd name="T3" fmla="*/ 739 h 2450"/>
                <a:gd name="T4" fmla="*/ 2773 w 5327"/>
                <a:gd name="T5" fmla="*/ 737 h 2450"/>
                <a:gd name="T6" fmla="*/ 3136 w 5327"/>
                <a:gd name="T7" fmla="*/ 1061 h 2450"/>
                <a:gd name="T8" fmla="*/ 3448 w 5327"/>
                <a:gd name="T9" fmla="*/ 749 h 2450"/>
                <a:gd name="T10" fmla="*/ 3968 w 5327"/>
                <a:gd name="T11" fmla="*/ 720 h 2450"/>
                <a:gd name="T12" fmla="*/ 4337 w 5327"/>
                <a:gd name="T13" fmla="*/ 1017 h 2450"/>
                <a:gd name="T14" fmla="*/ 4422 w 5327"/>
                <a:gd name="T15" fmla="*/ 1353 h 2450"/>
                <a:gd name="T16" fmla="*/ 4617 w 5327"/>
                <a:gd name="T17" fmla="*/ 1767 h 2450"/>
                <a:gd name="T18" fmla="*/ 5060 w 5327"/>
                <a:gd name="T19" fmla="*/ 1852 h 2450"/>
                <a:gd name="T20" fmla="*/ 5322 w 5327"/>
                <a:gd name="T21" fmla="*/ 2129 h 2450"/>
                <a:gd name="T22" fmla="*/ 5089 w 5327"/>
                <a:gd name="T23" fmla="*/ 2433 h 2450"/>
                <a:gd name="T24" fmla="*/ 4826 w 5327"/>
                <a:gd name="T25" fmla="*/ 2419 h 2450"/>
                <a:gd name="T26" fmla="*/ 4813 w 5327"/>
                <a:gd name="T27" fmla="*/ 2283 h 2450"/>
                <a:gd name="T28" fmla="*/ 4886 w 5327"/>
                <a:gd name="T29" fmla="*/ 2273 h 2450"/>
                <a:gd name="T30" fmla="*/ 5062 w 5327"/>
                <a:gd name="T31" fmla="*/ 2278 h 2450"/>
                <a:gd name="T32" fmla="*/ 5179 w 5327"/>
                <a:gd name="T33" fmla="*/ 2007 h 2450"/>
                <a:gd name="T34" fmla="*/ 4852 w 5327"/>
                <a:gd name="T35" fmla="*/ 2003 h 2450"/>
                <a:gd name="T36" fmla="*/ 4417 w 5327"/>
                <a:gd name="T37" fmla="*/ 1755 h 2450"/>
                <a:gd name="T38" fmla="*/ 4271 w 5327"/>
                <a:gd name="T39" fmla="*/ 1312 h 2450"/>
                <a:gd name="T40" fmla="*/ 4096 w 5327"/>
                <a:gd name="T41" fmla="*/ 961 h 2450"/>
                <a:gd name="T42" fmla="*/ 3679 w 5327"/>
                <a:gd name="T43" fmla="*/ 847 h 2450"/>
                <a:gd name="T44" fmla="*/ 3312 w 5327"/>
                <a:gd name="T45" fmla="*/ 1064 h 2450"/>
                <a:gd name="T46" fmla="*/ 3255 w 5327"/>
                <a:gd name="T47" fmla="*/ 1485 h 2450"/>
                <a:gd name="T48" fmla="*/ 3562 w 5327"/>
                <a:gd name="T49" fmla="*/ 1815 h 2450"/>
                <a:gd name="T50" fmla="*/ 4424 w 5327"/>
                <a:gd name="T51" fmla="*/ 1973 h 2450"/>
                <a:gd name="T52" fmla="*/ 3406 w 5327"/>
                <a:gd name="T53" fmla="*/ 1915 h 2450"/>
                <a:gd name="T54" fmla="*/ 3066 w 5327"/>
                <a:gd name="T55" fmla="*/ 1767 h 2450"/>
                <a:gd name="T56" fmla="*/ 2627 w 5327"/>
                <a:gd name="T57" fmla="*/ 2010 h 2450"/>
                <a:gd name="T58" fmla="*/ 2140 w 5327"/>
                <a:gd name="T59" fmla="*/ 1878 h 2450"/>
                <a:gd name="T60" fmla="*/ 1896 w 5327"/>
                <a:gd name="T61" fmla="*/ 1446 h 2450"/>
                <a:gd name="T62" fmla="*/ 1794 w 5327"/>
                <a:gd name="T63" fmla="*/ 1047 h 2450"/>
                <a:gd name="T64" fmla="*/ 1436 w 5327"/>
                <a:gd name="T65" fmla="*/ 847 h 2450"/>
                <a:gd name="T66" fmla="*/ 348 w 5327"/>
                <a:gd name="T67" fmla="*/ 947 h 2450"/>
                <a:gd name="T68" fmla="*/ 280 w 5327"/>
                <a:gd name="T69" fmla="*/ 888 h 2450"/>
                <a:gd name="T70" fmla="*/ 319 w 5327"/>
                <a:gd name="T71" fmla="*/ 465 h 2450"/>
                <a:gd name="T72" fmla="*/ 555 w 5327"/>
                <a:gd name="T73" fmla="*/ 333 h 2450"/>
                <a:gd name="T74" fmla="*/ 1081 w 5327"/>
                <a:gd name="T75" fmla="*/ 268 h 2450"/>
                <a:gd name="T76" fmla="*/ 531 w 5327"/>
                <a:gd name="T77" fmla="*/ 197 h 2450"/>
                <a:gd name="T78" fmla="*/ 251 w 5327"/>
                <a:gd name="T79" fmla="*/ 324 h 2450"/>
                <a:gd name="T80" fmla="*/ 151 w 5327"/>
                <a:gd name="T81" fmla="*/ 1940 h 2450"/>
                <a:gd name="T82" fmla="*/ 32 w 5327"/>
                <a:gd name="T83" fmla="*/ 2000 h 2450"/>
                <a:gd name="T84" fmla="*/ 10 w 5327"/>
                <a:gd name="T85" fmla="*/ 484 h 2450"/>
                <a:gd name="T86" fmla="*/ 243 w 5327"/>
                <a:gd name="T87" fmla="*/ 136 h 2450"/>
                <a:gd name="T88" fmla="*/ 1032 w 5327"/>
                <a:gd name="T89" fmla="*/ 44 h 2450"/>
                <a:gd name="T90" fmla="*/ 1224 w 5327"/>
                <a:gd name="T91" fmla="*/ 214 h 2450"/>
                <a:gd name="T92" fmla="*/ 1108 w 5327"/>
                <a:gd name="T93" fmla="*/ 452 h 2450"/>
                <a:gd name="T94" fmla="*/ 572 w 5327"/>
                <a:gd name="T95" fmla="*/ 474 h 2450"/>
                <a:gd name="T96" fmla="*/ 416 w 5327"/>
                <a:gd name="T97" fmla="*/ 635 h 2450"/>
                <a:gd name="T98" fmla="*/ 1290 w 5327"/>
                <a:gd name="T99" fmla="*/ 693 h 2450"/>
                <a:gd name="T100" fmla="*/ 1768 w 5327"/>
                <a:gd name="T101" fmla="*/ 808 h 2450"/>
                <a:gd name="T102" fmla="*/ 2028 w 5327"/>
                <a:gd name="T103" fmla="*/ 1226 h 2450"/>
                <a:gd name="T104" fmla="*/ 2147 w 5327"/>
                <a:gd name="T105" fmla="*/ 1660 h 2450"/>
                <a:gd name="T106" fmla="*/ 2554 w 5327"/>
                <a:gd name="T107" fmla="*/ 1852 h 2450"/>
                <a:gd name="T108" fmla="*/ 2954 w 5327"/>
                <a:gd name="T109" fmla="*/ 1662 h 2450"/>
                <a:gd name="T110" fmla="*/ 3041 w 5327"/>
                <a:gd name="T111" fmla="*/ 1226 h 2450"/>
                <a:gd name="T112" fmla="*/ 2751 w 5327"/>
                <a:gd name="T113" fmla="*/ 874 h 2450"/>
                <a:gd name="T114" fmla="*/ 2277 w 5327"/>
                <a:gd name="T115" fmla="*/ 918 h 2450"/>
                <a:gd name="T116" fmla="*/ 2136 w 5327"/>
                <a:gd name="T117" fmla="*/ 165 h 2450"/>
                <a:gd name="T118" fmla="*/ 2021 w 5327"/>
                <a:gd name="T119" fmla="*/ 195 h 2450"/>
                <a:gd name="T120" fmla="*/ 1896 w 5327"/>
                <a:gd name="T121" fmla="*/ 769 h 2450"/>
                <a:gd name="T122" fmla="*/ 1906 w 5327"/>
                <a:gd name="T123" fmla="*/ 93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27" h="2450">
                  <a:moveTo>
                    <a:pt x="2087" y="0"/>
                  </a:moveTo>
                  <a:lnTo>
                    <a:pt x="2130" y="3"/>
                  </a:lnTo>
                  <a:lnTo>
                    <a:pt x="2170" y="15"/>
                  </a:lnTo>
                  <a:lnTo>
                    <a:pt x="2206" y="36"/>
                  </a:lnTo>
                  <a:lnTo>
                    <a:pt x="2237" y="61"/>
                  </a:lnTo>
                  <a:lnTo>
                    <a:pt x="2264" y="92"/>
                  </a:lnTo>
                  <a:lnTo>
                    <a:pt x="2282" y="127"/>
                  </a:lnTo>
                  <a:lnTo>
                    <a:pt x="2296" y="168"/>
                  </a:lnTo>
                  <a:lnTo>
                    <a:pt x="2299" y="212"/>
                  </a:lnTo>
                  <a:lnTo>
                    <a:pt x="2299" y="212"/>
                  </a:lnTo>
                  <a:lnTo>
                    <a:pt x="2301" y="222"/>
                  </a:lnTo>
                  <a:lnTo>
                    <a:pt x="2301" y="233"/>
                  </a:lnTo>
                  <a:lnTo>
                    <a:pt x="2301" y="756"/>
                  </a:lnTo>
                  <a:lnTo>
                    <a:pt x="2342" y="739"/>
                  </a:lnTo>
                  <a:lnTo>
                    <a:pt x="2374" y="727"/>
                  </a:lnTo>
                  <a:lnTo>
                    <a:pt x="2433" y="711"/>
                  </a:lnTo>
                  <a:lnTo>
                    <a:pt x="2495" y="703"/>
                  </a:lnTo>
                  <a:lnTo>
                    <a:pt x="2556" y="699"/>
                  </a:lnTo>
                  <a:lnTo>
                    <a:pt x="2632" y="705"/>
                  </a:lnTo>
                  <a:lnTo>
                    <a:pt x="2703" y="716"/>
                  </a:lnTo>
                  <a:lnTo>
                    <a:pt x="2773" y="737"/>
                  </a:lnTo>
                  <a:lnTo>
                    <a:pt x="2837" y="764"/>
                  </a:lnTo>
                  <a:lnTo>
                    <a:pt x="2900" y="800"/>
                  </a:lnTo>
                  <a:lnTo>
                    <a:pt x="2960" y="844"/>
                  </a:lnTo>
                  <a:lnTo>
                    <a:pt x="3016" y="896"/>
                  </a:lnTo>
                  <a:lnTo>
                    <a:pt x="3063" y="949"/>
                  </a:lnTo>
                  <a:lnTo>
                    <a:pt x="3102" y="1003"/>
                  </a:lnTo>
                  <a:lnTo>
                    <a:pt x="3136" y="1061"/>
                  </a:lnTo>
                  <a:lnTo>
                    <a:pt x="3161" y="1008"/>
                  </a:lnTo>
                  <a:lnTo>
                    <a:pt x="3192" y="959"/>
                  </a:lnTo>
                  <a:lnTo>
                    <a:pt x="3228" y="913"/>
                  </a:lnTo>
                  <a:lnTo>
                    <a:pt x="3267" y="871"/>
                  </a:lnTo>
                  <a:lnTo>
                    <a:pt x="3324" y="822"/>
                  </a:lnTo>
                  <a:lnTo>
                    <a:pt x="3384" y="783"/>
                  </a:lnTo>
                  <a:lnTo>
                    <a:pt x="3448" y="749"/>
                  </a:lnTo>
                  <a:lnTo>
                    <a:pt x="3518" y="723"/>
                  </a:lnTo>
                  <a:lnTo>
                    <a:pt x="3591" y="705"/>
                  </a:lnTo>
                  <a:lnTo>
                    <a:pt x="3667" y="693"/>
                  </a:lnTo>
                  <a:lnTo>
                    <a:pt x="3749" y="689"/>
                  </a:lnTo>
                  <a:lnTo>
                    <a:pt x="3825" y="693"/>
                  </a:lnTo>
                  <a:lnTo>
                    <a:pt x="3898" y="703"/>
                  </a:lnTo>
                  <a:lnTo>
                    <a:pt x="3968" y="720"/>
                  </a:lnTo>
                  <a:lnTo>
                    <a:pt x="4032" y="742"/>
                  </a:lnTo>
                  <a:lnTo>
                    <a:pt x="4093" y="772"/>
                  </a:lnTo>
                  <a:lnTo>
                    <a:pt x="4151" y="808"/>
                  </a:lnTo>
                  <a:lnTo>
                    <a:pt x="4203" y="852"/>
                  </a:lnTo>
                  <a:lnTo>
                    <a:pt x="4253" y="902"/>
                  </a:lnTo>
                  <a:lnTo>
                    <a:pt x="4298" y="958"/>
                  </a:lnTo>
                  <a:lnTo>
                    <a:pt x="4337" y="1017"/>
                  </a:lnTo>
                  <a:lnTo>
                    <a:pt x="4368" y="1078"/>
                  </a:lnTo>
                  <a:lnTo>
                    <a:pt x="4393" y="1141"/>
                  </a:lnTo>
                  <a:lnTo>
                    <a:pt x="4410" y="1207"/>
                  </a:lnTo>
                  <a:lnTo>
                    <a:pt x="4421" y="1277"/>
                  </a:lnTo>
                  <a:lnTo>
                    <a:pt x="4424" y="1348"/>
                  </a:lnTo>
                  <a:lnTo>
                    <a:pt x="4422" y="1350"/>
                  </a:lnTo>
                  <a:lnTo>
                    <a:pt x="4422" y="1353"/>
                  </a:lnTo>
                  <a:lnTo>
                    <a:pt x="4427" y="1423"/>
                  </a:lnTo>
                  <a:lnTo>
                    <a:pt x="4439" y="1489"/>
                  </a:lnTo>
                  <a:lnTo>
                    <a:pt x="4460" y="1552"/>
                  </a:lnTo>
                  <a:lnTo>
                    <a:pt x="4487" y="1611"/>
                  </a:lnTo>
                  <a:lnTo>
                    <a:pt x="4524" y="1667"/>
                  </a:lnTo>
                  <a:lnTo>
                    <a:pt x="4568" y="1721"/>
                  </a:lnTo>
                  <a:lnTo>
                    <a:pt x="4617" y="1767"/>
                  </a:lnTo>
                  <a:lnTo>
                    <a:pt x="4672" y="1806"/>
                  </a:lnTo>
                  <a:lnTo>
                    <a:pt x="4729" y="1835"/>
                  </a:lnTo>
                  <a:lnTo>
                    <a:pt x="4791" y="1857"/>
                  </a:lnTo>
                  <a:lnTo>
                    <a:pt x="4857" y="1869"/>
                  </a:lnTo>
                  <a:lnTo>
                    <a:pt x="4926" y="1874"/>
                  </a:lnTo>
                  <a:lnTo>
                    <a:pt x="4992" y="1869"/>
                  </a:lnTo>
                  <a:lnTo>
                    <a:pt x="5060" y="1852"/>
                  </a:lnTo>
                  <a:lnTo>
                    <a:pt x="5132" y="1827"/>
                  </a:lnTo>
                  <a:lnTo>
                    <a:pt x="5205" y="1789"/>
                  </a:lnTo>
                  <a:lnTo>
                    <a:pt x="5240" y="1767"/>
                  </a:lnTo>
                  <a:lnTo>
                    <a:pt x="5281" y="1738"/>
                  </a:lnTo>
                  <a:lnTo>
                    <a:pt x="5327" y="1703"/>
                  </a:lnTo>
                  <a:lnTo>
                    <a:pt x="5327" y="2068"/>
                  </a:lnTo>
                  <a:lnTo>
                    <a:pt x="5322" y="2129"/>
                  </a:lnTo>
                  <a:lnTo>
                    <a:pt x="5310" y="2185"/>
                  </a:lnTo>
                  <a:lnTo>
                    <a:pt x="5289" y="2237"/>
                  </a:lnTo>
                  <a:lnTo>
                    <a:pt x="5261" y="2288"/>
                  </a:lnTo>
                  <a:lnTo>
                    <a:pt x="5223" y="2336"/>
                  </a:lnTo>
                  <a:lnTo>
                    <a:pt x="5181" y="2377"/>
                  </a:lnTo>
                  <a:lnTo>
                    <a:pt x="5137" y="2409"/>
                  </a:lnTo>
                  <a:lnTo>
                    <a:pt x="5089" y="2433"/>
                  </a:lnTo>
                  <a:lnTo>
                    <a:pt x="5042" y="2446"/>
                  </a:lnTo>
                  <a:lnTo>
                    <a:pt x="4991" y="2450"/>
                  </a:lnTo>
                  <a:lnTo>
                    <a:pt x="4935" y="2448"/>
                  </a:lnTo>
                  <a:lnTo>
                    <a:pt x="4886" y="2440"/>
                  </a:lnTo>
                  <a:lnTo>
                    <a:pt x="4841" y="2426"/>
                  </a:lnTo>
                  <a:lnTo>
                    <a:pt x="4833" y="2423"/>
                  </a:lnTo>
                  <a:lnTo>
                    <a:pt x="4826" y="2419"/>
                  </a:lnTo>
                  <a:lnTo>
                    <a:pt x="4808" y="2407"/>
                  </a:lnTo>
                  <a:lnTo>
                    <a:pt x="4794" y="2390"/>
                  </a:lnTo>
                  <a:lnTo>
                    <a:pt x="4784" y="2370"/>
                  </a:lnTo>
                  <a:lnTo>
                    <a:pt x="4780" y="2348"/>
                  </a:lnTo>
                  <a:lnTo>
                    <a:pt x="4785" y="2322"/>
                  </a:lnTo>
                  <a:lnTo>
                    <a:pt x="4796" y="2300"/>
                  </a:lnTo>
                  <a:lnTo>
                    <a:pt x="4813" y="2283"/>
                  </a:lnTo>
                  <a:lnTo>
                    <a:pt x="4835" y="2273"/>
                  </a:lnTo>
                  <a:lnTo>
                    <a:pt x="4860" y="2268"/>
                  </a:lnTo>
                  <a:lnTo>
                    <a:pt x="4867" y="2268"/>
                  </a:lnTo>
                  <a:lnTo>
                    <a:pt x="4875" y="2270"/>
                  </a:lnTo>
                  <a:lnTo>
                    <a:pt x="4875" y="2270"/>
                  </a:lnTo>
                  <a:lnTo>
                    <a:pt x="4875" y="2270"/>
                  </a:lnTo>
                  <a:lnTo>
                    <a:pt x="4886" y="2273"/>
                  </a:lnTo>
                  <a:lnTo>
                    <a:pt x="4903" y="2277"/>
                  </a:lnTo>
                  <a:lnTo>
                    <a:pt x="4925" y="2282"/>
                  </a:lnTo>
                  <a:lnTo>
                    <a:pt x="4952" y="2285"/>
                  </a:lnTo>
                  <a:lnTo>
                    <a:pt x="4981" y="2288"/>
                  </a:lnTo>
                  <a:lnTo>
                    <a:pt x="5009" y="2288"/>
                  </a:lnTo>
                  <a:lnTo>
                    <a:pt x="5038" y="2287"/>
                  </a:lnTo>
                  <a:lnTo>
                    <a:pt x="5062" y="2278"/>
                  </a:lnTo>
                  <a:lnTo>
                    <a:pt x="5093" y="2260"/>
                  </a:lnTo>
                  <a:lnTo>
                    <a:pt x="5118" y="2236"/>
                  </a:lnTo>
                  <a:lnTo>
                    <a:pt x="5140" y="2205"/>
                  </a:lnTo>
                  <a:lnTo>
                    <a:pt x="5157" y="2166"/>
                  </a:lnTo>
                  <a:lnTo>
                    <a:pt x="5169" y="2120"/>
                  </a:lnTo>
                  <a:lnTo>
                    <a:pt x="5176" y="2068"/>
                  </a:lnTo>
                  <a:lnTo>
                    <a:pt x="5179" y="2007"/>
                  </a:lnTo>
                  <a:lnTo>
                    <a:pt x="5179" y="1952"/>
                  </a:lnTo>
                  <a:lnTo>
                    <a:pt x="5140" y="1968"/>
                  </a:lnTo>
                  <a:lnTo>
                    <a:pt x="5110" y="1978"/>
                  </a:lnTo>
                  <a:lnTo>
                    <a:pt x="5047" y="1995"/>
                  </a:lnTo>
                  <a:lnTo>
                    <a:pt x="4986" y="2005"/>
                  </a:lnTo>
                  <a:lnTo>
                    <a:pt x="4926" y="2007"/>
                  </a:lnTo>
                  <a:lnTo>
                    <a:pt x="4852" y="2003"/>
                  </a:lnTo>
                  <a:lnTo>
                    <a:pt x="4780" y="1991"/>
                  </a:lnTo>
                  <a:lnTo>
                    <a:pt x="4711" y="1971"/>
                  </a:lnTo>
                  <a:lnTo>
                    <a:pt x="4646" y="1944"/>
                  </a:lnTo>
                  <a:lnTo>
                    <a:pt x="4584" y="1906"/>
                  </a:lnTo>
                  <a:lnTo>
                    <a:pt x="4522" y="1862"/>
                  </a:lnTo>
                  <a:lnTo>
                    <a:pt x="4466" y="1810"/>
                  </a:lnTo>
                  <a:lnTo>
                    <a:pt x="4417" y="1755"/>
                  </a:lnTo>
                  <a:lnTo>
                    <a:pt x="4375" y="1698"/>
                  </a:lnTo>
                  <a:lnTo>
                    <a:pt x="4339" y="1638"/>
                  </a:lnTo>
                  <a:lnTo>
                    <a:pt x="4312" y="1577"/>
                  </a:lnTo>
                  <a:lnTo>
                    <a:pt x="4292" y="1511"/>
                  </a:lnTo>
                  <a:lnTo>
                    <a:pt x="4280" y="1443"/>
                  </a:lnTo>
                  <a:lnTo>
                    <a:pt x="4273" y="1370"/>
                  </a:lnTo>
                  <a:lnTo>
                    <a:pt x="4271" y="1312"/>
                  </a:lnTo>
                  <a:lnTo>
                    <a:pt x="4263" y="1256"/>
                  </a:lnTo>
                  <a:lnTo>
                    <a:pt x="4249" y="1200"/>
                  </a:lnTo>
                  <a:lnTo>
                    <a:pt x="4229" y="1146"/>
                  </a:lnTo>
                  <a:lnTo>
                    <a:pt x="4205" y="1095"/>
                  </a:lnTo>
                  <a:lnTo>
                    <a:pt x="4175" y="1047"/>
                  </a:lnTo>
                  <a:lnTo>
                    <a:pt x="4141" y="1003"/>
                  </a:lnTo>
                  <a:lnTo>
                    <a:pt x="4096" y="961"/>
                  </a:lnTo>
                  <a:lnTo>
                    <a:pt x="4049" y="925"/>
                  </a:lnTo>
                  <a:lnTo>
                    <a:pt x="3998" y="896"/>
                  </a:lnTo>
                  <a:lnTo>
                    <a:pt x="3942" y="873"/>
                  </a:lnTo>
                  <a:lnTo>
                    <a:pt x="3881" y="856"/>
                  </a:lnTo>
                  <a:lnTo>
                    <a:pt x="3818" y="847"/>
                  </a:lnTo>
                  <a:lnTo>
                    <a:pt x="3749" y="844"/>
                  </a:lnTo>
                  <a:lnTo>
                    <a:pt x="3679" y="847"/>
                  </a:lnTo>
                  <a:lnTo>
                    <a:pt x="3613" y="859"/>
                  </a:lnTo>
                  <a:lnTo>
                    <a:pt x="3550" y="878"/>
                  </a:lnTo>
                  <a:lnTo>
                    <a:pt x="3491" y="903"/>
                  </a:lnTo>
                  <a:lnTo>
                    <a:pt x="3436" y="937"/>
                  </a:lnTo>
                  <a:lnTo>
                    <a:pt x="3385" y="978"/>
                  </a:lnTo>
                  <a:lnTo>
                    <a:pt x="3345" y="1019"/>
                  </a:lnTo>
                  <a:lnTo>
                    <a:pt x="3312" y="1064"/>
                  </a:lnTo>
                  <a:lnTo>
                    <a:pt x="3285" y="1114"/>
                  </a:lnTo>
                  <a:lnTo>
                    <a:pt x="3265" y="1168"/>
                  </a:lnTo>
                  <a:lnTo>
                    <a:pt x="3250" y="1226"/>
                  </a:lnTo>
                  <a:lnTo>
                    <a:pt x="3240" y="1289"/>
                  </a:lnTo>
                  <a:lnTo>
                    <a:pt x="3238" y="1356"/>
                  </a:lnTo>
                  <a:lnTo>
                    <a:pt x="3241" y="1423"/>
                  </a:lnTo>
                  <a:lnTo>
                    <a:pt x="3255" y="1485"/>
                  </a:lnTo>
                  <a:lnTo>
                    <a:pt x="3275" y="1547"/>
                  </a:lnTo>
                  <a:lnTo>
                    <a:pt x="3306" y="1603"/>
                  </a:lnTo>
                  <a:lnTo>
                    <a:pt x="3345" y="1657"/>
                  </a:lnTo>
                  <a:lnTo>
                    <a:pt x="3392" y="1706"/>
                  </a:lnTo>
                  <a:lnTo>
                    <a:pt x="3447" y="1750"/>
                  </a:lnTo>
                  <a:lnTo>
                    <a:pt x="3503" y="1786"/>
                  </a:lnTo>
                  <a:lnTo>
                    <a:pt x="3562" y="1815"/>
                  </a:lnTo>
                  <a:lnTo>
                    <a:pt x="3625" y="1835"/>
                  </a:lnTo>
                  <a:lnTo>
                    <a:pt x="3691" y="1847"/>
                  </a:lnTo>
                  <a:lnTo>
                    <a:pt x="3760" y="1850"/>
                  </a:lnTo>
                  <a:lnTo>
                    <a:pt x="4307" y="1850"/>
                  </a:lnTo>
                  <a:lnTo>
                    <a:pt x="4339" y="1889"/>
                  </a:lnTo>
                  <a:lnTo>
                    <a:pt x="4375" y="1925"/>
                  </a:lnTo>
                  <a:lnTo>
                    <a:pt x="4424" y="1973"/>
                  </a:lnTo>
                  <a:lnTo>
                    <a:pt x="4477" y="2013"/>
                  </a:lnTo>
                  <a:lnTo>
                    <a:pt x="3760" y="2013"/>
                  </a:lnTo>
                  <a:lnTo>
                    <a:pt x="3684" y="2010"/>
                  </a:lnTo>
                  <a:lnTo>
                    <a:pt x="3611" y="1998"/>
                  </a:lnTo>
                  <a:lnTo>
                    <a:pt x="3540" y="1978"/>
                  </a:lnTo>
                  <a:lnTo>
                    <a:pt x="3470" y="1951"/>
                  </a:lnTo>
                  <a:lnTo>
                    <a:pt x="3406" y="1915"/>
                  </a:lnTo>
                  <a:lnTo>
                    <a:pt x="3343" y="1873"/>
                  </a:lnTo>
                  <a:lnTo>
                    <a:pt x="3284" y="1822"/>
                  </a:lnTo>
                  <a:lnTo>
                    <a:pt x="3229" y="1766"/>
                  </a:lnTo>
                  <a:lnTo>
                    <a:pt x="3184" y="1706"/>
                  </a:lnTo>
                  <a:lnTo>
                    <a:pt x="3146" y="1643"/>
                  </a:lnTo>
                  <a:lnTo>
                    <a:pt x="3111" y="1708"/>
                  </a:lnTo>
                  <a:lnTo>
                    <a:pt x="3066" y="1767"/>
                  </a:lnTo>
                  <a:lnTo>
                    <a:pt x="3016" y="1825"/>
                  </a:lnTo>
                  <a:lnTo>
                    <a:pt x="2958" y="1876"/>
                  </a:lnTo>
                  <a:lnTo>
                    <a:pt x="2898" y="1918"/>
                  </a:lnTo>
                  <a:lnTo>
                    <a:pt x="2836" y="1952"/>
                  </a:lnTo>
                  <a:lnTo>
                    <a:pt x="2769" y="1979"/>
                  </a:lnTo>
                  <a:lnTo>
                    <a:pt x="2700" y="2000"/>
                  </a:lnTo>
                  <a:lnTo>
                    <a:pt x="2627" y="2010"/>
                  </a:lnTo>
                  <a:lnTo>
                    <a:pt x="2551" y="2015"/>
                  </a:lnTo>
                  <a:lnTo>
                    <a:pt x="2472" y="2010"/>
                  </a:lnTo>
                  <a:lnTo>
                    <a:pt x="2400" y="2000"/>
                  </a:lnTo>
                  <a:lnTo>
                    <a:pt x="2330" y="1979"/>
                  </a:lnTo>
                  <a:lnTo>
                    <a:pt x="2262" y="1954"/>
                  </a:lnTo>
                  <a:lnTo>
                    <a:pt x="2199" y="1918"/>
                  </a:lnTo>
                  <a:lnTo>
                    <a:pt x="2140" y="1878"/>
                  </a:lnTo>
                  <a:lnTo>
                    <a:pt x="2082" y="1828"/>
                  </a:lnTo>
                  <a:lnTo>
                    <a:pt x="2033" y="1772"/>
                  </a:lnTo>
                  <a:lnTo>
                    <a:pt x="1989" y="1715"/>
                  </a:lnTo>
                  <a:lnTo>
                    <a:pt x="1955" y="1654"/>
                  </a:lnTo>
                  <a:lnTo>
                    <a:pt x="1926" y="1587"/>
                  </a:lnTo>
                  <a:lnTo>
                    <a:pt x="1907" y="1519"/>
                  </a:lnTo>
                  <a:lnTo>
                    <a:pt x="1896" y="1446"/>
                  </a:lnTo>
                  <a:lnTo>
                    <a:pt x="1890" y="1370"/>
                  </a:lnTo>
                  <a:lnTo>
                    <a:pt x="1889" y="1312"/>
                  </a:lnTo>
                  <a:lnTo>
                    <a:pt x="1880" y="1256"/>
                  </a:lnTo>
                  <a:lnTo>
                    <a:pt x="1867" y="1200"/>
                  </a:lnTo>
                  <a:lnTo>
                    <a:pt x="1848" y="1146"/>
                  </a:lnTo>
                  <a:lnTo>
                    <a:pt x="1823" y="1095"/>
                  </a:lnTo>
                  <a:lnTo>
                    <a:pt x="1794" y="1047"/>
                  </a:lnTo>
                  <a:lnTo>
                    <a:pt x="1758" y="1003"/>
                  </a:lnTo>
                  <a:lnTo>
                    <a:pt x="1716" y="961"/>
                  </a:lnTo>
                  <a:lnTo>
                    <a:pt x="1668" y="925"/>
                  </a:lnTo>
                  <a:lnTo>
                    <a:pt x="1616" y="896"/>
                  </a:lnTo>
                  <a:lnTo>
                    <a:pt x="1560" y="873"/>
                  </a:lnTo>
                  <a:lnTo>
                    <a:pt x="1500" y="856"/>
                  </a:lnTo>
                  <a:lnTo>
                    <a:pt x="1436" y="847"/>
                  </a:lnTo>
                  <a:lnTo>
                    <a:pt x="1368" y="844"/>
                  </a:lnTo>
                  <a:lnTo>
                    <a:pt x="1295" y="847"/>
                  </a:lnTo>
                  <a:lnTo>
                    <a:pt x="1224" y="859"/>
                  </a:lnTo>
                  <a:lnTo>
                    <a:pt x="1159" y="881"/>
                  </a:lnTo>
                  <a:lnTo>
                    <a:pt x="1098" y="910"/>
                  </a:lnTo>
                  <a:lnTo>
                    <a:pt x="1040" y="947"/>
                  </a:lnTo>
                  <a:lnTo>
                    <a:pt x="348" y="947"/>
                  </a:lnTo>
                  <a:lnTo>
                    <a:pt x="346" y="947"/>
                  </a:lnTo>
                  <a:lnTo>
                    <a:pt x="322" y="944"/>
                  </a:lnTo>
                  <a:lnTo>
                    <a:pt x="305" y="935"/>
                  </a:lnTo>
                  <a:lnTo>
                    <a:pt x="294" y="925"/>
                  </a:lnTo>
                  <a:lnTo>
                    <a:pt x="287" y="912"/>
                  </a:lnTo>
                  <a:lnTo>
                    <a:pt x="282" y="898"/>
                  </a:lnTo>
                  <a:lnTo>
                    <a:pt x="280" y="888"/>
                  </a:lnTo>
                  <a:lnTo>
                    <a:pt x="278" y="879"/>
                  </a:lnTo>
                  <a:lnTo>
                    <a:pt x="278" y="876"/>
                  </a:lnTo>
                  <a:lnTo>
                    <a:pt x="278" y="621"/>
                  </a:lnTo>
                  <a:lnTo>
                    <a:pt x="282" y="582"/>
                  </a:lnTo>
                  <a:lnTo>
                    <a:pt x="288" y="543"/>
                  </a:lnTo>
                  <a:lnTo>
                    <a:pt x="302" y="504"/>
                  </a:lnTo>
                  <a:lnTo>
                    <a:pt x="319" y="465"/>
                  </a:lnTo>
                  <a:lnTo>
                    <a:pt x="343" y="430"/>
                  </a:lnTo>
                  <a:lnTo>
                    <a:pt x="370" y="399"/>
                  </a:lnTo>
                  <a:lnTo>
                    <a:pt x="402" y="374"/>
                  </a:lnTo>
                  <a:lnTo>
                    <a:pt x="436" y="355"/>
                  </a:lnTo>
                  <a:lnTo>
                    <a:pt x="473" y="343"/>
                  </a:lnTo>
                  <a:lnTo>
                    <a:pt x="512" y="336"/>
                  </a:lnTo>
                  <a:lnTo>
                    <a:pt x="555" y="333"/>
                  </a:lnTo>
                  <a:lnTo>
                    <a:pt x="599" y="331"/>
                  </a:lnTo>
                  <a:lnTo>
                    <a:pt x="1018" y="331"/>
                  </a:lnTo>
                  <a:lnTo>
                    <a:pt x="1039" y="328"/>
                  </a:lnTo>
                  <a:lnTo>
                    <a:pt x="1056" y="319"/>
                  </a:lnTo>
                  <a:lnTo>
                    <a:pt x="1069" y="304"/>
                  </a:lnTo>
                  <a:lnTo>
                    <a:pt x="1078" y="287"/>
                  </a:lnTo>
                  <a:lnTo>
                    <a:pt x="1081" y="268"/>
                  </a:lnTo>
                  <a:lnTo>
                    <a:pt x="1079" y="250"/>
                  </a:lnTo>
                  <a:lnTo>
                    <a:pt x="1071" y="228"/>
                  </a:lnTo>
                  <a:lnTo>
                    <a:pt x="1059" y="211"/>
                  </a:lnTo>
                  <a:lnTo>
                    <a:pt x="1044" y="200"/>
                  </a:lnTo>
                  <a:lnTo>
                    <a:pt x="1027" y="195"/>
                  </a:lnTo>
                  <a:lnTo>
                    <a:pt x="570" y="195"/>
                  </a:lnTo>
                  <a:lnTo>
                    <a:pt x="531" y="197"/>
                  </a:lnTo>
                  <a:lnTo>
                    <a:pt x="490" y="200"/>
                  </a:lnTo>
                  <a:lnTo>
                    <a:pt x="450" y="205"/>
                  </a:lnTo>
                  <a:lnTo>
                    <a:pt x="407" y="217"/>
                  </a:lnTo>
                  <a:lnTo>
                    <a:pt x="367" y="233"/>
                  </a:lnTo>
                  <a:lnTo>
                    <a:pt x="326" y="256"/>
                  </a:lnTo>
                  <a:lnTo>
                    <a:pt x="287" y="287"/>
                  </a:lnTo>
                  <a:lnTo>
                    <a:pt x="251" y="324"/>
                  </a:lnTo>
                  <a:lnTo>
                    <a:pt x="214" y="375"/>
                  </a:lnTo>
                  <a:lnTo>
                    <a:pt x="187" y="430"/>
                  </a:lnTo>
                  <a:lnTo>
                    <a:pt x="166" y="486"/>
                  </a:lnTo>
                  <a:lnTo>
                    <a:pt x="156" y="547"/>
                  </a:lnTo>
                  <a:lnTo>
                    <a:pt x="151" y="610"/>
                  </a:lnTo>
                  <a:lnTo>
                    <a:pt x="151" y="1940"/>
                  </a:lnTo>
                  <a:lnTo>
                    <a:pt x="151" y="1940"/>
                  </a:lnTo>
                  <a:lnTo>
                    <a:pt x="148" y="1964"/>
                  </a:lnTo>
                  <a:lnTo>
                    <a:pt x="136" y="1983"/>
                  </a:lnTo>
                  <a:lnTo>
                    <a:pt x="119" y="2000"/>
                  </a:lnTo>
                  <a:lnTo>
                    <a:pt x="98" y="2010"/>
                  </a:lnTo>
                  <a:lnTo>
                    <a:pt x="76" y="2013"/>
                  </a:lnTo>
                  <a:lnTo>
                    <a:pt x="53" y="2010"/>
                  </a:lnTo>
                  <a:lnTo>
                    <a:pt x="32" y="2000"/>
                  </a:lnTo>
                  <a:lnTo>
                    <a:pt x="15" y="1983"/>
                  </a:lnTo>
                  <a:lnTo>
                    <a:pt x="5" y="1964"/>
                  </a:lnTo>
                  <a:lnTo>
                    <a:pt x="0" y="1940"/>
                  </a:lnTo>
                  <a:lnTo>
                    <a:pt x="0" y="1940"/>
                  </a:lnTo>
                  <a:lnTo>
                    <a:pt x="0" y="611"/>
                  </a:lnTo>
                  <a:lnTo>
                    <a:pt x="3" y="545"/>
                  </a:lnTo>
                  <a:lnTo>
                    <a:pt x="10" y="484"/>
                  </a:lnTo>
                  <a:lnTo>
                    <a:pt x="24" y="426"/>
                  </a:lnTo>
                  <a:lnTo>
                    <a:pt x="44" y="374"/>
                  </a:lnTo>
                  <a:lnTo>
                    <a:pt x="70" y="321"/>
                  </a:lnTo>
                  <a:lnTo>
                    <a:pt x="104" y="272"/>
                  </a:lnTo>
                  <a:lnTo>
                    <a:pt x="143" y="222"/>
                  </a:lnTo>
                  <a:lnTo>
                    <a:pt x="190" y="177"/>
                  </a:lnTo>
                  <a:lnTo>
                    <a:pt x="243" y="136"/>
                  </a:lnTo>
                  <a:lnTo>
                    <a:pt x="299" y="104"/>
                  </a:lnTo>
                  <a:lnTo>
                    <a:pt x="361" y="78"/>
                  </a:lnTo>
                  <a:lnTo>
                    <a:pt x="426" y="60"/>
                  </a:lnTo>
                  <a:lnTo>
                    <a:pt x="496" y="48"/>
                  </a:lnTo>
                  <a:lnTo>
                    <a:pt x="570" y="44"/>
                  </a:lnTo>
                  <a:lnTo>
                    <a:pt x="1023" y="44"/>
                  </a:lnTo>
                  <a:lnTo>
                    <a:pt x="1032" y="44"/>
                  </a:lnTo>
                  <a:lnTo>
                    <a:pt x="1050" y="46"/>
                  </a:lnTo>
                  <a:lnTo>
                    <a:pt x="1093" y="58"/>
                  </a:lnTo>
                  <a:lnTo>
                    <a:pt x="1130" y="76"/>
                  </a:lnTo>
                  <a:lnTo>
                    <a:pt x="1162" y="104"/>
                  </a:lnTo>
                  <a:lnTo>
                    <a:pt x="1190" y="136"/>
                  </a:lnTo>
                  <a:lnTo>
                    <a:pt x="1210" y="173"/>
                  </a:lnTo>
                  <a:lnTo>
                    <a:pt x="1224" y="214"/>
                  </a:lnTo>
                  <a:lnTo>
                    <a:pt x="1229" y="258"/>
                  </a:lnTo>
                  <a:lnTo>
                    <a:pt x="1224" y="299"/>
                  </a:lnTo>
                  <a:lnTo>
                    <a:pt x="1213" y="338"/>
                  </a:lnTo>
                  <a:lnTo>
                    <a:pt x="1195" y="374"/>
                  </a:lnTo>
                  <a:lnTo>
                    <a:pt x="1171" y="404"/>
                  </a:lnTo>
                  <a:lnTo>
                    <a:pt x="1142" y="430"/>
                  </a:lnTo>
                  <a:lnTo>
                    <a:pt x="1108" y="452"/>
                  </a:lnTo>
                  <a:lnTo>
                    <a:pt x="1081" y="460"/>
                  </a:lnTo>
                  <a:lnTo>
                    <a:pt x="1056" y="467"/>
                  </a:lnTo>
                  <a:lnTo>
                    <a:pt x="1037" y="470"/>
                  </a:lnTo>
                  <a:lnTo>
                    <a:pt x="1022" y="472"/>
                  </a:lnTo>
                  <a:lnTo>
                    <a:pt x="1016" y="472"/>
                  </a:lnTo>
                  <a:lnTo>
                    <a:pt x="623" y="472"/>
                  </a:lnTo>
                  <a:lnTo>
                    <a:pt x="572" y="474"/>
                  </a:lnTo>
                  <a:lnTo>
                    <a:pt x="529" y="481"/>
                  </a:lnTo>
                  <a:lnTo>
                    <a:pt x="494" y="491"/>
                  </a:lnTo>
                  <a:lnTo>
                    <a:pt x="467" y="506"/>
                  </a:lnTo>
                  <a:lnTo>
                    <a:pt x="445" y="528"/>
                  </a:lnTo>
                  <a:lnTo>
                    <a:pt x="429" y="557"/>
                  </a:lnTo>
                  <a:lnTo>
                    <a:pt x="419" y="593"/>
                  </a:lnTo>
                  <a:lnTo>
                    <a:pt x="416" y="635"/>
                  </a:lnTo>
                  <a:lnTo>
                    <a:pt x="416" y="815"/>
                  </a:lnTo>
                  <a:lnTo>
                    <a:pt x="954" y="815"/>
                  </a:lnTo>
                  <a:lnTo>
                    <a:pt x="1013" y="778"/>
                  </a:lnTo>
                  <a:lnTo>
                    <a:pt x="1076" y="745"/>
                  </a:lnTo>
                  <a:lnTo>
                    <a:pt x="1142" y="722"/>
                  </a:lnTo>
                  <a:lnTo>
                    <a:pt x="1213" y="705"/>
                  </a:lnTo>
                  <a:lnTo>
                    <a:pt x="1290" y="693"/>
                  </a:lnTo>
                  <a:lnTo>
                    <a:pt x="1368" y="689"/>
                  </a:lnTo>
                  <a:lnTo>
                    <a:pt x="1444" y="693"/>
                  </a:lnTo>
                  <a:lnTo>
                    <a:pt x="1517" y="703"/>
                  </a:lnTo>
                  <a:lnTo>
                    <a:pt x="1585" y="720"/>
                  </a:lnTo>
                  <a:lnTo>
                    <a:pt x="1649" y="742"/>
                  </a:lnTo>
                  <a:lnTo>
                    <a:pt x="1711" y="772"/>
                  </a:lnTo>
                  <a:lnTo>
                    <a:pt x="1768" y="808"/>
                  </a:lnTo>
                  <a:lnTo>
                    <a:pt x="1823" y="852"/>
                  </a:lnTo>
                  <a:lnTo>
                    <a:pt x="1872" y="902"/>
                  </a:lnTo>
                  <a:lnTo>
                    <a:pt x="1918" y="959"/>
                  </a:lnTo>
                  <a:lnTo>
                    <a:pt x="1957" y="1020"/>
                  </a:lnTo>
                  <a:lnTo>
                    <a:pt x="1987" y="1087"/>
                  </a:lnTo>
                  <a:lnTo>
                    <a:pt x="2011" y="1154"/>
                  </a:lnTo>
                  <a:lnTo>
                    <a:pt x="2028" y="1226"/>
                  </a:lnTo>
                  <a:lnTo>
                    <a:pt x="2038" y="1297"/>
                  </a:lnTo>
                  <a:lnTo>
                    <a:pt x="2041" y="1370"/>
                  </a:lnTo>
                  <a:lnTo>
                    <a:pt x="2047" y="1435"/>
                  </a:lnTo>
                  <a:lnTo>
                    <a:pt x="2060" y="1496"/>
                  </a:lnTo>
                  <a:lnTo>
                    <a:pt x="2080" y="1555"/>
                  </a:lnTo>
                  <a:lnTo>
                    <a:pt x="2111" y="1609"/>
                  </a:lnTo>
                  <a:lnTo>
                    <a:pt x="2147" y="1660"/>
                  </a:lnTo>
                  <a:lnTo>
                    <a:pt x="2192" y="1710"/>
                  </a:lnTo>
                  <a:lnTo>
                    <a:pt x="2245" y="1754"/>
                  </a:lnTo>
                  <a:lnTo>
                    <a:pt x="2301" y="1789"/>
                  </a:lnTo>
                  <a:lnTo>
                    <a:pt x="2359" y="1816"/>
                  </a:lnTo>
                  <a:lnTo>
                    <a:pt x="2420" y="1837"/>
                  </a:lnTo>
                  <a:lnTo>
                    <a:pt x="2484" y="1849"/>
                  </a:lnTo>
                  <a:lnTo>
                    <a:pt x="2554" y="1852"/>
                  </a:lnTo>
                  <a:lnTo>
                    <a:pt x="2620" y="1849"/>
                  </a:lnTo>
                  <a:lnTo>
                    <a:pt x="2685" y="1837"/>
                  </a:lnTo>
                  <a:lnTo>
                    <a:pt x="2746" y="1816"/>
                  </a:lnTo>
                  <a:lnTo>
                    <a:pt x="2803" y="1789"/>
                  </a:lnTo>
                  <a:lnTo>
                    <a:pt x="2858" y="1754"/>
                  </a:lnTo>
                  <a:lnTo>
                    <a:pt x="2909" y="1711"/>
                  </a:lnTo>
                  <a:lnTo>
                    <a:pt x="2954" y="1662"/>
                  </a:lnTo>
                  <a:lnTo>
                    <a:pt x="2992" y="1609"/>
                  </a:lnTo>
                  <a:lnTo>
                    <a:pt x="3021" y="1553"/>
                  </a:lnTo>
                  <a:lnTo>
                    <a:pt x="3041" y="1494"/>
                  </a:lnTo>
                  <a:lnTo>
                    <a:pt x="3053" y="1429"/>
                  </a:lnTo>
                  <a:lnTo>
                    <a:pt x="3056" y="1363"/>
                  </a:lnTo>
                  <a:lnTo>
                    <a:pt x="3053" y="1292"/>
                  </a:lnTo>
                  <a:lnTo>
                    <a:pt x="3041" y="1226"/>
                  </a:lnTo>
                  <a:lnTo>
                    <a:pt x="3021" y="1163"/>
                  </a:lnTo>
                  <a:lnTo>
                    <a:pt x="2992" y="1102"/>
                  </a:lnTo>
                  <a:lnTo>
                    <a:pt x="2956" y="1046"/>
                  </a:lnTo>
                  <a:lnTo>
                    <a:pt x="2912" y="991"/>
                  </a:lnTo>
                  <a:lnTo>
                    <a:pt x="2861" y="944"/>
                  </a:lnTo>
                  <a:lnTo>
                    <a:pt x="2808" y="905"/>
                  </a:lnTo>
                  <a:lnTo>
                    <a:pt x="2751" y="874"/>
                  </a:lnTo>
                  <a:lnTo>
                    <a:pt x="2690" y="854"/>
                  </a:lnTo>
                  <a:lnTo>
                    <a:pt x="2625" y="840"/>
                  </a:lnTo>
                  <a:lnTo>
                    <a:pt x="2556" y="835"/>
                  </a:lnTo>
                  <a:lnTo>
                    <a:pt x="2489" y="840"/>
                  </a:lnTo>
                  <a:lnTo>
                    <a:pt x="2420" y="857"/>
                  </a:lnTo>
                  <a:lnTo>
                    <a:pt x="2350" y="883"/>
                  </a:lnTo>
                  <a:lnTo>
                    <a:pt x="2277" y="918"/>
                  </a:lnTo>
                  <a:lnTo>
                    <a:pt x="2243" y="939"/>
                  </a:lnTo>
                  <a:lnTo>
                    <a:pt x="2203" y="968"/>
                  </a:lnTo>
                  <a:lnTo>
                    <a:pt x="2157" y="1003"/>
                  </a:lnTo>
                  <a:lnTo>
                    <a:pt x="2157" y="212"/>
                  </a:lnTo>
                  <a:lnTo>
                    <a:pt x="2153" y="192"/>
                  </a:lnTo>
                  <a:lnTo>
                    <a:pt x="2147" y="177"/>
                  </a:lnTo>
                  <a:lnTo>
                    <a:pt x="2136" y="165"/>
                  </a:lnTo>
                  <a:lnTo>
                    <a:pt x="2121" y="156"/>
                  </a:lnTo>
                  <a:lnTo>
                    <a:pt x="2106" y="153"/>
                  </a:lnTo>
                  <a:lnTo>
                    <a:pt x="2087" y="151"/>
                  </a:lnTo>
                  <a:lnTo>
                    <a:pt x="2065" y="155"/>
                  </a:lnTo>
                  <a:lnTo>
                    <a:pt x="2047" y="163"/>
                  </a:lnTo>
                  <a:lnTo>
                    <a:pt x="2031" y="178"/>
                  </a:lnTo>
                  <a:lnTo>
                    <a:pt x="2021" y="195"/>
                  </a:lnTo>
                  <a:lnTo>
                    <a:pt x="2018" y="212"/>
                  </a:lnTo>
                  <a:lnTo>
                    <a:pt x="2016" y="216"/>
                  </a:lnTo>
                  <a:lnTo>
                    <a:pt x="2016" y="915"/>
                  </a:lnTo>
                  <a:lnTo>
                    <a:pt x="1991" y="874"/>
                  </a:lnTo>
                  <a:lnTo>
                    <a:pt x="1960" y="837"/>
                  </a:lnTo>
                  <a:lnTo>
                    <a:pt x="1928" y="801"/>
                  </a:lnTo>
                  <a:lnTo>
                    <a:pt x="1896" y="769"/>
                  </a:lnTo>
                  <a:lnTo>
                    <a:pt x="1867" y="744"/>
                  </a:lnTo>
                  <a:lnTo>
                    <a:pt x="1867" y="216"/>
                  </a:lnTo>
                  <a:lnTo>
                    <a:pt x="1867" y="212"/>
                  </a:lnTo>
                  <a:lnTo>
                    <a:pt x="1867" y="212"/>
                  </a:lnTo>
                  <a:lnTo>
                    <a:pt x="1870" y="168"/>
                  </a:lnTo>
                  <a:lnTo>
                    <a:pt x="1884" y="129"/>
                  </a:lnTo>
                  <a:lnTo>
                    <a:pt x="1906" y="93"/>
                  </a:lnTo>
                  <a:lnTo>
                    <a:pt x="1933" y="61"/>
                  </a:lnTo>
                  <a:lnTo>
                    <a:pt x="1967" y="36"/>
                  </a:lnTo>
                  <a:lnTo>
                    <a:pt x="2004" y="15"/>
                  </a:lnTo>
                  <a:lnTo>
                    <a:pt x="2045" y="3"/>
                  </a:lnTo>
                  <a:lnTo>
                    <a:pt x="20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6" name="Freeform 12"/>
            <p:cNvSpPr>
              <a:spLocks noEditPoints="1"/>
            </p:cNvSpPr>
            <p:nvPr/>
          </p:nvSpPr>
          <p:spPr bwMode="auto">
            <a:xfrm>
              <a:off x="5354" y="1162"/>
              <a:ext cx="860" cy="761"/>
            </a:xfrm>
            <a:custGeom>
              <a:avLst/>
              <a:gdLst>
                <a:gd name="T0" fmla="*/ 344 w 860"/>
                <a:gd name="T1" fmla="*/ 151 h 761"/>
                <a:gd name="T2" fmla="*/ 264 w 860"/>
                <a:gd name="T3" fmla="*/ 185 h 761"/>
                <a:gd name="T4" fmla="*/ 205 w 860"/>
                <a:gd name="T5" fmla="*/ 245 h 761"/>
                <a:gd name="T6" fmla="*/ 169 w 860"/>
                <a:gd name="T7" fmla="*/ 324 h 761"/>
                <a:gd name="T8" fmla="*/ 593 w 860"/>
                <a:gd name="T9" fmla="*/ 282 h 761"/>
                <a:gd name="T10" fmla="*/ 544 w 860"/>
                <a:gd name="T11" fmla="*/ 211 h 761"/>
                <a:gd name="T12" fmla="*/ 475 w 860"/>
                <a:gd name="T13" fmla="*/ 165 h 761"/>
                <a:gd name="T14" fmla="*/ 388 w 860"/>
                <a:gd name="T15" fmla="*/ 146 h 761"/>
                <a:gd name="T16" fmla="*/ 449 w 860"/>
                <a:gd name="T17" fmla="*/ 3 h 761"/>
                <a:gd name="T18" fmla="*/ 548 w 860"/>
                <a:gd name="T19" fmla="*/ 29 h 761"/>
                <a:gd name="T20" fmla="*/ 631 w 860"/>
                <a:gd name="T21" fmla="*/ 82 h 761"/>
                <a:gd name="T22" fmla="*/ 697 w 860"/>
                <a:gd name="T23" fmla="*/ 161 h 761"/>
                <a:gd name="T24" fmla="*/ 755 w 860"/>
                <a:gd name="T25" fmla="*/ 280 h 761"/>
                <a:gd name="T26" fmla="*/ 773 w 860"/>
                <a:gd name="T27" fmla="*/ 399 h 761"/>
                <a:gd name="T28" fmla="*/ 760 w 860"/>
                <a:gd name="T29" fmla="*/ 452 h 761"/>
                <a:gd name="T30" fmla="*/ 722 w 860"/>
                <a:gd name="T31" fmla="*/ 477 h 761"/>
                <a:gd name="T32" fmla="*/ 195 w 860"/>
                <a:gd name="T33" fmla="*/ 481 h 761"/>
                <a:gd name="T34" fmla="*/ 247 w 860"/>
                <a:gd name="T35" fmla="*/ 543 h 761"/>
                <a:gd name="T36" fmla="*/ 319 w 860"/>
                <a:gd name="T37" fmla="*/ 586 h 761"/>
                <a:gd name="T38" fmla="*/ 405 w 860"/>
                <a:gd name="T39" fmla="*/ 599 h 761"/>
                <a:gd name="T40" fmla="*/ 814 w 860"/>
                <a:gd name="T41" fmla="*/ 655 h 761"/>
                <a:gd name="T42" fmla="*/ 860 w 860"/>
                <a:gd name="T43" fmla="*/ 761 h 761"/>
                <a:gd name="T44" fmla="*/ 341 w 860"/>
                <a:gd name="T45" fmla="*/ 757 h 761"/>
                <a:gd name="T46" fmla="*/ 222 w 860"/>
                <a:gd name="T47" fmla="*/ 720 h 761"/>
                <a:gd name="T48" fmla="*/ 118 w 860"/>
                <a:gd name="T49" fmla="*/ 645 h 761"/>
                <a:gd name="T50" fmla="*/ 52 w 860"/>
                <a:gd name="T51" fmla="*/ 562 h 761"/>
                <a:gd name="T52" fmla="*/ 13 w 860"/>
                <a:gd name="T53" fmla="*/ 467 h 761"/>
                <a:gd name="T54" fmla="*/ 0 w 860"/>
                <a:gd name="T55" fmla="*/ 357 h 761"/>
                <a:gd name="T56" fmla="*/ 13 w 860"/>
                <a:gd name="T57" fmla="*/ 258 h 761"/>
                <a:gd name="T58" fmla="*/ 52 w 860"/>
                <a:gd name="T59" fmla="*/ 172 h 761"/>
                <a:gd name="T60" fmla="*/ 117 w 860"/>
                <a:gd name="T61" fmla="*/ 99 h 761"/>
                <a:gd name="T62" fmla="*/ 218 w 860"/>
                <a:gd name="T63" fmla="*/ 36 h 761"/>
                <a:gd name="T64" fmla="*/ 332 w 860"/>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0" h="761">
                  <a:moveTo>
                    <a:pt x="388" y="146"/>
                  </a:moveTo>
                  <a:lnTo>
                    <a:pt x="344" y="151"/>
                  </a:lnTo>
                  <a:lnTo>
                    <a:pt x="303" y="165"/>
                  </a:lnTo>
                  <a:lnTo>
                    <a:pt x="264" y="185"/>
                  </a:lnTo>
                  <a:lnTo>
                    <a:pt x="232" y="211"/>
                  </a:lnTo>
                  <a:lnTo>
                    <a:pt x="205" y="245"/>
                  </a:lnTo>
                  <a:lnTo>
                    <a:pt x="183" y="282"/>
                  </a:lnTo>
                  <a:lnTo>
                    <a:pt x="169" y="324"/>
                  </a:lnTo>
                  <a:lnTo>
                    <a:pt x="609" y="324"/>
                  </a:lnTo>
                  <a:lnTo>
                    <a:pt x="593" y="282"/>
                  </a:lnTo>
                  <a:lnTo>
                    <a:pt x="571" y="245"/>
                  </a:lnTo>
                  <a:lnTo>
                    <a:pt x="544" y="211"/>
                  </a:lnTo>
                  <a:lnTo>
                    <a:pt x="512" y="185"/>
                  </a:lnTo>
                  <a:lnTo>
                    <a:pt x="475" y="165"/>
                  </a:lnTo>
                  <a:lnTo>
                    <a:pt x="432" y="151"/>
                  </a:lnTo>
                  <a:lnTo>
                    <a:pt x="388" y="146"/>
                  </a:lnTo>
                  <a:close/>
                  <a:moveTo>
                    <a:pt x="393" y="0"/>
                  </a:moveTo>
                  <a:lnTo>
                    <a:pt x="449" y="3"/>
                  </a:lnTo>
                  <a:lnTo>
                    <a:pt x="500" y="14"/>
                  </a:lnTo>
                  <a:lnTo>
                    <a:pt x="548" y="29"/>
                  </a:lnTo>
                  <a:lnTo>
                    <a:pt x="590" y="53"/>
                  </a:lnTo>
                  <a:lnTo>
                    <a:pt x="631" y="82"/>
                  </a:lnTo>
                  <a:lnTo>
                    <a:pt x="666" y="119"/>
                  </a:lnTo>
                  <a:lnTo>
                    <a:pt x="697" y="161"/>
                  </a:lnTo>
                  <a:lnTo>
                    <a:pt x="731" y="221"/>
                  </a:lnTo>
                  <a:lnTo>
                    <a:pt x="755" y="280"/>
                  </a:lnTo>
                  <a:lnTo>
                    <a:pt x="768" y="340"/>
                  </a:lnTo>
                  <a:lnTo>
                    <a:pt x="773" y="399"/>
                  </a:lnTo>
                  <a:lnTo>
                    <a:pt x="770" y="428"/>
                  </a:lnTo>
                  <a:lnTo>
                    <a:pt x="760" y="452"/>
                  </a:lnTo>
                  <a:lnTo>
                    <a:pt x="745" y="467"/>
                  </a:lnTo>
                  <a:lnTo>
                    <a:pt x="722" y="477"/>
                  </a:lnTo>
                  <a:lnTo>
                    <a:pt x="695" y="481"/>
                  </a:lnTo>
                  <a:lnTo>
                    <a:pt x="195" y="481"/>
                  </a:lnTo>
                  <a:lnTo>
                    <a:pt x="218" y="514"/>
                  </a:lnTo>
                  <a:lnTo>
                    <a:pt x="247" y="543"/>
                  </a:lnTo>
                  <a:lnTo>
                    <a:pt x="281" y="567"/>
                  </a:lnTo>
                  <a:lnTo>
                    <a:pt x="319" y="586"/>
                  </a:lnTo>
                  <a:lnTo>
                    <a:pt x="361" y="596"/>
                  </a:lnTo>
                  <a:lnTo>
                    <a:pt x="405" y="599"/>
                  </a:lnTo>
                  <a:lnTo>
                    <a:pt x="799" y="599"/>
                  </a:lnTo>
                  <a:lnTo>
                    <a:pt x="814" y="655"/>
                  </a:lnTo>
                  <a:lnTo>
                    <a:pt x="834" y="710"/>
                  </a:lnTo>
                  <a:lnTo>
                    <a:pt x="860" y="761"/>
                  </a:lnTo>
                  <a:lnTo>
                    <a:pt x="405" y="761"/>
                  </a:lnTo>
                  <a:lnTo>
                    <a:pt x="341" y="757"/>
                  </a:lnTo>
                  <a:lnTo>
                    <a:pt x="280" y="744"/>
                  </a:lnTo>
                  <a:lnTo>
                    <a:pt x="222" y="720"/>
                  </a:lnTo>
                  <a:lnTo>
                    <a:pt x="168" y="688"/>
                  </a:lnTo>
                  <a:lnTo>
                    <a:pt x="118" y="645"/>
                  </a:lnTo>
                  <a:lnTo>
                    <a:pt x="83" y="606"/>
                  </a:lnTo>
                  <a:lnTo>
                    <a:pt x="52" y="562"/>
                  </a:lnTo>
                  <a:lnTo>
                    <a:pt x="30" y="516"/>
                  </a:lnTo>
                  <a:lnTo>
                    <a:pt x="13" y="467"/>
                  </a:lnTo>
                  <a:lnTo>
                    <a:pt x="3" y="414"/>
                  </a:lnTo>
                  <a:lnTo>
                    <a:pt x="0" y="357"/>
                  </a:lnTo>
                  <a:lnTo>
                    <a:pt x="3" y="306"/>
                  </a:lnTo>
                  <a:lnTo>
                    <a:pt x="13" y="258"/>
                  </a:lnTo>
                  <a:lnTo>
                    <a:pt x="30" y="214"/>
                  </a:lnTo>
                  <a:lnTo>
                    <a:pt x="52" y="172"/>
                  </a:lnTo>
                  <a:lnTo>
                    <a:pt x="81" y="134"/>
                  </a:lnTo>
                  <a:lnTo>
                    <a:pt x="117" y="99"/>
                  </a:lnTo>
                  <a:lnTo>
                    <a:pt x="166" y="63"/>
                  </a:lnTo>
                  <a:lnTo>
                    <a:pt x="218" y="36"/>
                  </a:lnTo>
                  <a:lnTo>
                    <a:pt x="273" y="15"/>
                  </a:lnTo>
                  <a:lnTo>
                    <a:pt x="332" y="3"/>
                  </a:lnTo>
                  <a:lnTo>
                    <a:pt x="39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7" name="Freeform 13"/>
            <p:cNvSpPr>
              <a:spLocks/>
            </p:cNvSpPr>
            <p:nvPr/>
          </p:nvSpPr>
          <p:spPr bwMode="auto">
            <a:xfrm>
              <a:off x="8809" y="880"/>
              <a:ext cx="1154" cy="2034"/>
            </a:xfrm>
            <a:custGeom>
              <a:avLst/>
              <a:gdLst>
                <a:gd name="T0" fmla="*/ 571 w 1154"/>
                <a:gd name="T1" fmla="*/ 5 h 2034"/>
                <a:gd name="T2" fmla="*/ 716 w 1154"/>
                <a:gd name="T3" fmla="*/ 36 h 2034"/>
                <a:gd name="T4" fmla="*/ 846 w 1154"/>
                <a:gd name="T5" fmla="*/ 97 h 2034"/>
                <a:gd name="T6" fmla="*/ 963 w 1154"/>
                <a:gd name="T7" fmla="*/ 189 h 2034"/>
                <a:gd name="T8" fmla="*/ 1057 w 1154"/>
                <a:gd name="T9" fmla="*/ 304 h 2034"/>
                <a:gd name="T10" fmla="*/ 1120 w 1154"/>
                <a:gd name="T11" fmla="*/ 433 h 2034"/>
                <a:gd name="T12" fmla="*/ 1150 w 1154"/>
                <a:gd name="T13" fmla="*/ 577 h 2034"/>
                <a:gd name="T14" fmla="*/ 1154 w 1154"/>
                <a:gd name="T15" fmla="*/ 1431 h 2034"/>
                <a:gd name="T16" fmla="*/ 1138 w 1154"/>
                <a:gd name="T17" fmla="*/ 1576 h 2034"/>
                <a:gd name="T18" fmla="*/ 1091 w 1154"/>
                <a:gd name="T19" fmla="*/ 1705 h 2034"/>
                <a:gd name="T20" fmla="*/ 1011 w 1154"/>
                <a:gd name="T21" fmla="*/ 1820 h 2034"/>
                <a:gd name="T22" fmla="*/ 897 w 1154"/>
                <a:gd name="T23" fmla="*/ 1920 h 2034"/>
                <a:gd name="T24" fmla="*/ 762 w 1154"/>
                <a:gd name="T25" fmla="*/ 1993 h 2034"/>
                <a:gd name="T26" fmla="*/ 610 w 1154"/>
                <a:gd name="T27" fmla="*/ 2029 h 2034"/>
                <a:gd name="T28" fmla="*/ 463 w 1154"/>
                <a:gd name="T29" fmla="*/ 2031 h 2034"/>
                <a:gd name="T30" fmla="*/ 339 w 1154"/>
                <a:gd name="T31" fmla="*/ 2010 h 2034"/>
                <a:gd name="T32" fmla="*/ 246 w 1154"/>
                <a:gd name="T33" fmla="*/ 1976 h 2034"/>
                <a:gd name="T34" fmla="*/ 193 w 1154"/>
                <a:gd name="T35" fmla="*/ 1941 h 2034"/>
                <a:gd name="T36" fmla="*/ 191 w 1154"/>
                <a:gd name="T37" fmla="*/ 1939 h 2034"/>
                <a:gd name="T38" fmla="*/ 186 w 1154"/>
                <a:gd name="T39" fmla="*/ 1932 h 2034"/>
                <a:gd name="T40" fmla="*/ 173 w 1154"/>
                <a:gd name="T41" fmla="*/ 1908 h 2034"/>
                <a:gd name="T42" fmla="*/ 171 w 1154"/>
                <a:gd name="T43" fmla="*/ 1883 h 2034"/>
                <a:gd name="T44" fmla="*/ 173 w 1154"/>
                <a:gd name="T45" fmla="*/ 1868 h 2034"/>
                <a:gd name="T46" fmla="*/ 186 w 1154"/>
                <a:gd name="T47" fmla="*/ 1842 h 2034"/>
                <a:gd name="T48" fmla="*/ 222 w 1154"/>
                <a:gd name="T49" fmla="*/ 1820 h 2034"/>
                <a:gd name="T50" fmla="*/ 273 w 1154"/>
                <a:gd name="T51" fmla="*/ 1825 h 2034"/>
                <a:gd name="T52" fmla="*/ 273 w 1154"/>
                <a:gd name="T53" fmla="*/ 1825 h 2034"/>
                <a:gd name="T54" fmla="*/ 288 w 1154"/>
                <a:gd name="T55" fmla="*/ 1830 h 2034"/>
                <a:gd name="T56" fmla="*/ 307 w 1154"/>
                <a:gd name="T57" fmla="*/ 1840 h 2034"/>
                <a:gd name="T58" fmla="*/ 398 w 1154"/>
                <a:gd name="T59" fmla="*/ 1874 h 2034"/>
                <a:gd name="T60" fmla="*/ 405 w 1154"/>
                <a:gd name="T61" fmla="*/ 1876 h 2034"/>
                <a:gd name="T62" fmla="*/ 427 w 1154"/>
                <a:gd name="T63" fmla="*/ 1881 h 2034"/>
                <a:gd name="T64" fmla="*/ 521 w 1154"/>
                <a:gd name="T65" fmla="*/ 1886 h 2034"/>
                <a:gd name="T66" fmla="*/ 646 w 1154"/>
                <a:gd name="T67" fmla="*/ 1871 h 2034"/>
                <a:gd name="T68" fmla="*/ 760 w 1154"/>
                <a:gd name="T69" fmla="*/ 1827 h 2034"/>
                <a:gd name="T70" fmla="*/ 860 w 1154"/>
                <a:gd name="T71" fmla="*/ 1754 h 2034"/>
                <a:gd name="T72" fmla="*/ 940 w 1154"/>
                <a:gd name="T73" fmla="*/ 1661 h 2034"/>
                <a:gd name="T74" fmla="*/ 987 w 1154"/>
                <a:gd name="T75" fmla="*/ 1552 h 2034"/>
                <a:gd name="T76" fmla="*/ 1004 w 1154"/>
                <a:gd name="T77" fmla="*/ 1431 h 2034"/>
                <a:gd name="T78" fmla="*/ 999 w 1154"/>
                <a:gd name="T79" fmla="*/ 594 h 2034"/>
                <a:gd name="T80" fmla="*/ 965 w 1154"/>
                <a:gd name="T81" fmla="*/ 467 h 2034"/>
                <a:gd name="T82" fmla="*/ 899 w 1154"/>
                <a:gd name="T83" fmla="*/ 355 h 2034"/>
                <a:gd name="T84" fmla="*/ 799 w 1154"/>
                <a:gd name="T85" fmla="*/ 262 h 2034"/>
                <a:gd name="T86" fmla="*/ 685 w 1154"/>
                <a:gd name="T87" fmla="*/ 199 h 2034"/>
                <a:gd name="T88" fmla="*/ 560 w 1154"/>
                <a:gd name="T89" fmla="*/ 167 h 2034"/>
                <a:gd name="T90" fmla="*/ 424 w 1154"/>
                <a:gd name="T91" fmla="*/ 167 h 2034"/>
                <a:gd name="T92" fmla="*/ 298 w 1154"/>
                <a:gd name="T93" fmla="*/ 199 h 2034"/>
                <a:gd name="T94" fmla="*/ 185 w 1154"/>
                <a:gd name="T95" fmla="*/ 265 h 2034"/>
                <a:gd name="T96" fmla="*/ 108 w 1154"/>
                <a:gd name="T97" fmla="*/ 338 h 2034"/>
                <a:gd name="T98" fmla="*/ 45 w 1154"/>
                <a:gd name="T99" fmla="*/ 297 h 2034"/>
                <a:gd name="T100" fmla="*/ 6 w 1154"/>
                <a:gd name="T101" fmla="*/ 214 h 2034"/>
                <a:gd name="T102" fmla="*/ 17 w 1154"/>
                <a:gd name="T103" fmla="*/ 202 h 2034"/>
                <a:gd name="T104" fmla="*/ 22 w 1154"/>
                <a:gd name="T105" fmla="*/ 196 h 2034"/>
                <a:gd name="T106" fmla="*/ 28 w 1154"/>
                <a:gd name="T107" fmla="*/ 189 h 2034"/>
                <a:gd name="T108" fmla="*/ 146 w 1154"/>
                <a:gd name="T109" fmla="*/ 97 h 2034"/>
                <a:gd name="T110" fmla="*/ 276 w 1154"/>
                <a:gd name="T111" fmla="*/ 36 h 2034"/>
                <a:gd name="T112" fmla="*/ 419 w 1154"/>
                <a:gd name="T113" fmla="*/ 5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54" h="2034">
                  <a:moveTo>
                    <a:pt x="495" y="0"/>
                  </a:moveTo>
                  <a:lnTo>
                    <a:pt x="571" y="5"/>
                  </a:lnTo>
                  <a:lnTo>
                    <a:pt x="646" y="16"/>
                  </a:lnTo>
                  <a:lnTo>
                    <a:pt x="716" y="36"/>
                  </a:lnTo>
                  <a:lnTo>
                    <a:pt x="784" y="63"/>
                  </a:lnTo>
                  <a:lnTo>
                    <a:pt x="846" y="97"/>
                  </a:lnTo>
                  <a:lnTo>
                    <a:pt x="907" y="140"/>
                  </a:lnTo>
                  <a:lnTo>
                    <a:pt x="963" y="189"/>
                  </a:lnTo>
                  <a:lnTo>
                    <a:pt x="1014" y="245"/>
                  </a:lnTo>
                  <a:lnTo>
                    <a:pt x="1057" y="304"/>
                  </a:lnTo>
                  <a:lnTo>
                    <a:pt x="1092" y="367"/>
                  </a:lnTo>
                  <a:lnTo>
                    <a:pt x="1120" y="433"/>
                  </a:lnTo>
                  <a:lnTo>
                    <a:pt x="1138" y="504"/>
                  </a:lnTo>
                  <a:lnTo>
                    <a:pt x="1150" y="577"/>
                  </a:lnTo>
                  <a:lnTo>
                    <a:pt x="1154" y="656"/>
                  </a:lnTo>
                  <a:lnTo>
                    <a:pt x="1154" y="1431"/>
                  </a:lnTo>
                  <a:lnTo>
                    <a:pt x="1150" y="1506"/>
                  </a:lnTo>
                  <a:lnTo>
                    <a:pt x="1138" y="1576"/>
                  </a:lnTo>
                  <a:lnTo>
                    <a:pt x="1118" y="1642"/>
                  </a:lnTo>
                  <a:lnTo>
                    <a:pt x="1091" y="1705"/>
                  </a:lnTo>
                  <a:lnTo>
                    <a:pt x="1055" y="1764"/>
                  </a:lnTo>
                  <a:lnTo>
                    <a:pt x="1011" y="1820"/>
                  </a:lnTo>
                  <a:lnTo>
                    <a:pt x="960" y="1871"/>
                  </a:lnTo>
                  <a:lnTo>
                    <a:pt x="897" y="1920"/>
                  </a:lnTo>
                  <a:lnTo>
                    <a:pt x="831" y="1961"/>
                  </a:lnTo>
                  <a:lnTo>
                    <a:pt x="762" y="1993"/>
                  </a:lnTo>
                  <a:lnTo>
                    <a:pt x="687" y="2015"/>
                  </a:lnTo>
                  <a:lnTo>
                    <a:pt x="610" y="2029"/>
                  </a:lnTo>
                  <a:lnTo>
                    <a:pt x="529" y="2034"/>
                  </a:lnTo>
                  <a:lnTo>
                    <a:pt x="463" y="2031"/>
                  </a:lnTo>
                  <a:lnTo>
                    <a:pt x="398" y="2024"/>
                  </a:lnTo>
                  <a:lnTo>
                    <a:pt x="339" y="2010"/>
                  </a:lnTo>
                  <a:lnTo>
                    <a:pt x="281" y="1992"/>
                  </a:lnTo>
                  <a:lnTo>
                    <a:pt x="246" y="1976"/>
                  </a:lnTo>
                  <a:lnTo>
                    <a:pt x="215" y="1959"/>
                  </a:lnTo>
                  <a:lnTo>
                    <a:pt x="193" y="1941"/>
                  </a:lnTo>
                  <a:lnTo>
                    <a:pt x="191" y="1939"/>
                  </a:lnTo>
                  <a:lnTo>
                    <a:pt x="191" y="1939"/>
                  </a:lnTo>
                  <a:lnTo>
                    <a:pt x="186" y="1932"/>
                  </a:lnTo>
                  <a:lnTo>
                    <a:pt x="186" y="1932"/>
                  </a:lnTo>
                  <a:lnTo>
                    <a:pt x="183" y="1927"/>
                  </a:lnTo>
                  <a:lnTo>
                    <a:pt x="173" y="1908"/>
                  </a:lnTo>
                  <a:lnTo>
                    <a:pt x="169" y="1888"/>
                  </a:lnTo>
                  <a:lnTo>
                    <a:pt x="171" y="1883"/>
                  </a:lnTo>
                  <a:lnTo>
                    <a:pt x="171" y="1876"/>
                  </a:lnTo>
                  <a:lnTo>
                    <a:pt x="173" y="1868"/>
                  </a:lnTo>
                  <a:lnTo>
                    <a:pt x="176" y="1861"/>
                  </a:lnTo>
                  <a:lnTo>
                    <a:pt x="186" y="1842"/>
                  </a:lnTo>
                  <a:lnTo>
                    <a:pt x="202" y="1829"/>
                  </a:lnTo>
                  <a:lnTo>
                    <a:pt x="222" y="1820"/>
                  </a:lnTo>
                  <a:lnTo>
                    <a:pt x="244" y="1818"/>
                  </a:lnTo>
                  <a:lnTo>
                    <a:pt x="273" y="1825"/>
                  </a:lnTo>
                  <a:lnTo>
                    <a:pt x="273" y="1825"/>
                  </a:lnTo>
                  <a:lnTo>
                    <a:pt x="273" y="1825"/>
                  </a:lnTo>
                  <a:lnTo>
                    <a:pt x="274" y="1825"/>
                  </a:lnTo>
                  <a:lnTo>
                    <a:pt x="288" y="1830"/>
                  </a:lnTo>
                  <a:lnTo>
                    <a:pt x="303" y="1839"/>
                  </a:lnTo>
                  <a:lnTo>
                    <a:pt x="307" y="1840"/>
                  </a:lnTo>
                  <a:lnTo>
                    <a:pt x="353" y="1863"/>
                  </a:lnTo>
                  <a:lnTo>
                    <a:pt x="398" y="1874"/>
                  </a:lnTo>
                  <a:lnTo>
                    <a:pt x="400" y="1876"/>
                  </a:lnTo>
                  <a:lnTo>
                    <a:pt x="405" y="1876"/>
                  </a:lnTo>
                  <a:lnTo>
                    <a:pt x="417" y="1880"/>
                  </a:lnTo>
                  <a:lnTo>
                    <a:pt x="427" y="1881"/>
                  </a:lnTo>
                  <a:lnTo>
                    <a:pt x="471" y="1885"/>
                  </a:lnTo>
                  <a:lnTo>
                    <a:pt x="521" y="1886"/>
                  </a:lnTo>
                  <a:lnTo>
                    <a:pt x="585" y="1883"/>
                  </a:lnTo>
                  <a:lnTo>
                    <a:pt x="646" y="1871"/>
                  </a:lnTo>
                  <a:lnTo>
                    <a:pt x="704" y="1852"/>
                  </a:lnTo>
                  <a:lnTo>
                    <a:pt x="760" y="1827"/>
                  </a:lnTo>
                  <a:lnTo>
                    <a:pt x="811" y="1795"/>
                  </a:lnTo>
                  <a:lnTo>
                    <a:pt x="860" y="1754"/>
                  </a:lnTo>
                  <a:lnTo>
                    <a:pt x="904" y="1708"/>
                  </a:lnTo>
                  <a:lnTo>
                    <a:pt x="940" y="1661"/>
                  </a:lnTo>
                  <a:lnTo>
                    <a:pt x="969" y="1608"/>
                  </a:lnTo>
                  <a:lnTo>
                    <a:pt x="987" y="1552"/>
                  </a:lnTo>
                  <a:lnTo>
                    <a:pt x="999" y="1494"/>
                  </a:lnTo>
                  <a:lnTo>
                    <a:pt x="1004" y="1431"/>
                  </a:lnTo>
                  <a:lnTo>
                    <a:pt x="1004" y="662"/>
                  </a:lnTo>
                  <a:lnTo>
                    <a:pt x="999" y="594"/>
                  </a:lnTo>
                  <a:lnTo>
                    <a:pt x="987" y="528"/>
                  </a:lnTo>
                  <a:lnTo>
                    <a:pt x="965" y="467"/>
                  </a:lnTo>
                  <a:lnTo>
                    <a:pt x="936" y="409"/>
                  </a:lnTo>
                  <a:lnTo>
                    <a:pt x="899" y="355"/>
                  </a:lnTo>
                  <a:lnTo>
                    <a:pt x="851" y="306"/>
                  </a:lnTo>
                  <a:lnTo>
                    <a:pt x="799" y="262"/>
                  </a:lnTo>
                  <a:lnTo>
                    <a:pt x="745" y="226"/>
                  </a:lnTo>
                  <a:lnTo>
                    <a:pt x="685" y="199"/>
                  </a:lnTo>
                  <a:lnTo>
                    <a:pt x="624" y="179"/>
                  </a:lnTo>
                  <a:lnTo>
                    <a:pt x="560" y="167"/>
                  </a:lnTo>
                  <a:lnTo>
                    <a:pt x="492" y="163"/>
                  </a:lnTo>
                  <a:lnTo>
                    <a:pt x="424" y="167"/>
                  </a:lnTo>
                  <a:lnTo>
                    <a:pt x="359" y="179"/>
                  </a:lnTo>
                  <a:lnTo>
                    <a:pt x="298" y="199"/>
                  </a:lnTo>
                  <a:lnTo>
                    <a:pt x="241" y="228"/>
                  </a:lnTo>
                  <a:lnTo>
                    <a:pt x="185" y="265"/>
                  </a:lnTo>
                  <a:lnTo>
                    <a:pt x="134" y="309"/>
                  </a:lnTo>
                  <a:lnTo>
                    <a:pt x="108" y="338"/>
                  </a:lnTo>
                  <a:lnTo>
                    <a:pt x="83" y="377"/>
                  </a:lnTo>
                  <a:lnTo>
                    <a:pt x="45" y="297"/>
                  </a:lnTo>
                  <a:lnTo>
                    <a:pt x="0" y="221"/>
                  </a:lnTo>
                  <a:lnTo>
                    <a:pt x="6" y="214"/>
                  </a:lnTo>
                  <a:lnTo>
                    <a:pt x="11" y="207"/>
                  </a:lnTo>
                  <a:lnTo>
                    <a:pt x="17" y="202"/>
                  </a:lnTo>
                  <a:lnTo>
                    <a:pt x="20" y="199"/>
                  </a:lnTo>
                  <a:lnTo>
                    <a:pt x="22" y="196"/>
                  </a:lnTo>
                  <a:lnTo>
                    <a:pt x="22" y="196"/>
                  </a:lnTo>
                  <a:lnTo>
                    <a:pt x="28" y="189"/>
                  </a:lnTo>
                  <a:lnTo>
                    <a:pt x="84" y="140"/>
                  </a:lnTo>
                  <a:lnTo>
                    <a:pt x="146" y="97"/>
                  </a:lnTo>
                  <a:lnTo>
                    <a:pt x="208" y="63"/>
                  </a:lnTo>
                  <a:lnTo>
                    <a:pt x="276" y="36"/>
                  </a:lnTo>
                  <a:lnTo>
                    <a:pt x="346" y="16"/>
                  </a:lnTo>
                  <a:lnTo>
                    <a:pt x="419" y="5"/>
                  </a:lnTo>
                  <a:lnTo>
                    <a:pt x="4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8" name="Freeform 14"/>
            <p:cNvSpPr>
              <a:spLocks noEditPoints="1"/>
            </p:cNvSpPr>
            <p:nvPr/>
          </p:nvSpPr>
          <p:spPr bwMode="auto">
            <a:xfrm>
              <a:off x="7736" y="1162"/>
              <a:ext cx="866" cy="761"/>
            </a:xfrm>
            <a:custGeom>
              <a:avLst/>
              <a:gdLst>
                <a:gd name="T0" fmla="*/ 346 w 866"/>
                <a:gd name="T1" fmla="*/ 151 h 761"/>
                <a:gd name="T2" fmla="*/ 268 w 866"/>
                <a:gd name="T3" fmla="*/ 185 h 761"/>
                <a:gd name="T4" fmla="*/ 207 w 866"/>
                <a:gd name="T5" fmla="*/ 245 h 761"/>
                <a:gd name="T6" fmla="*/ 171 w 866"/>
                <a:gd name="T7" fmla="*/ 324 h 761"/>
                <a:gd name="T8" fmla="*/ 597 w 866"/>
                <a:gd name="T9" fmla="*/ 282 h 761"/>
                <a:gd name="T10" fmla="*/ 548 w 866"/>
                <a:gd name="T11" fmla="*/ 211 h 761"/>
                <a:gd name="T12" fmla="*/ 477 w 866"/>
                <a:gd name="T13" fmla="*/ 165 h 761"/>
                <a:gd name="T14" fmla="*/ 392 w 866"/>
                <a:gd name="T15" fmla="*/ 146 h 761"/>
                <a:gd name="T16" fmla="*/ 448 w 866"/>
                <a:gd name="T17" fmla="*/ 3 h 761"/>
                <a:gd name="T18" fmla="*/ 547 w 866"/>
                <a:gd name="T19" fmla="*/ 29 h 761"/>
                <a:gd name="T20" fmla="*/ 630 w 866"/>
                <a:gd name="T21" fmla="*/ 82 h 761"/>
                <a:gd name="T22" fmla="*/ 698 w 866"/>
                <a:gd name="T23" fmla="*/ 161 h 761"/>
                <a:gd name="T24" fmla="*/ 754 w 866"/>
                <a:gd name="T25" fmla="*/ 280 h 761"/>
                <a:gd name="T26" fmla="*/ 772 w 866"/>
                <a:gd name="T27" fmla="*/ 399 h 761"/>
                <a:gd name="T28" fmla="*/ 760 w 866"/>
                <a:gd name="T29" fmla="*/ 452 h 761"/>
                <a:gd name="T30" fmla="*/ 723 w 866"/>
                <a:gd name="T31" fmla="*/ 477 h 761"/>
                <a:gd name="T32" fmla="*/ 194 w 866"/>
                <a:gd name="T33" fmla="*/ 481 h 761"/>
                <a:gd name="T34" fmla="*/ 246 w 866"/>
                <a:gd name="T35" fmla="*/ 543 h 761"/>
                <a:gd name="T36" fmla="*/ 319 w 866"/>
                <a:gd name="T37" fmla="*/ 586 h 761"/>
                <a:gd name="T38" fmla="*/ 404 w 866"/>
                <a:gd name="T39" fmla="*/ 599 h 761"/>
                <a:gd name="T40" fmla="*/ 821 w 866"/>
                <a:gd name="T41" fmla="*/ 655 h 761"/>
                <a:gd name="T42" fmla="*/ 866 w 866"/>
                <a:gd name="T43" fmla="*/ 761 h 761"/>
                <a:gd name="T44" fmla="*/ 339 w 866"/>
                <a:gd name="T45" fmla="*/ 757 h 761"/>
                <a:gd name="T46" fmla="*/ 221 w 866"/>
                <a:gd name="T47" fmla="*/ 720 h 761"/>
                <a:gd name="T48" fmla="*/ 119 w 866"/>
                <a:gd name="T49" fmla="*/ 645 h 761"/>
                <a:gd name="T50" fmla="*/ 53 w 866"/>
                <a:gd name="T51" fmla="*/ 562 h 761"/>
                <a:gd name="T52" fmla="*/ 12 w 866"/>
                <a:gd name="T53" fmla="*/ 467 h 761"/>
                <a:gd name="T54" fmla="*/ 0 w 866"/>
                <a:gd name="T55" fmla="*/ 357 h 761"/>
                <a:gd name="T56" fmla="*/ 12 w 866"/>
                <a:gd name="T57" fmla="*/ 258 h 761"/>
                <a:gd name="T58" fmla="*/ 51 w 866"/>
                <a:gd name="T59" fmla="*/ 172 h 761"/>
                <a:gd name="T60" fmla="*/ 117 w 866"/>
                <a:gd name="T61" fmla="*/ 99 h 761"/>
                <a:gd name="T62" fmla="*/ 217 w 866"/>
                <a:gd name="T63" fmla="*/ 36 h 761"/>
                <a:gd name="T64" fmla="*/ 331 w 866"/>
                <a:gd name="T65" fmla="*/ 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66" h="761">
                  <a:moveTo>
                    <a:pt x="392" y="146"/>
                  </a:moveTo>
                  <a:lnTo>
                    <a:pt x="346" y="151"/>
                  </a:lnTo>
                  <a:lnTo>
                    <a:pt x="306" y="165"/>
                  </a:lnTo>
                  <a:lnTo>
                    <a:pt x="268" y="185"/>
                  </a:lnTo>
                  <a:lnTo>
                    <a:pt x="234" y="211"/>
                  </a:lnTo>
                  <a:lnTo>
                    <a:pt x="207" y="245"/>
                  </a:lnTo>
                  <a:lnTo>
                    <a:pt x="187" y="282"/>
                  </a:lnTo>
                  <a:lnTo>
                    <a:pt x="171" y="324"/>
                  </a:lnTo>
                  <a:lnTo>
                    <a:pt x="611" y="324"/>
                  </a:lnTo>
                  <a:lnTo>
                    <a:pt x="597" y="282"/>
                  </a:lnTo>
                  <a:lnTo>
                    <a:pt x="575" y="245"/>
                  </a:lnTo>
                  <a:lnTo>
                    <a:pt x="548" y="211"/>
                  </a:lnTo>
                  <a:lnTo>
                    <a:pt x="514" y="185"/>
                  </a:lnTo>
                  <a:lnTo>
                    <a:pt x="477" y="165"/>
                  </a:lnTo>
                  <a:lnTo>
                    <a:pt x="436" y="151"/>
                  </a:lnTo>
                  <a:lnTo>
                    <a:pt x="392" y="146"/>
                  </a:lnTo>
                  <a:close/>
                  <a:moveTo>
                    <a:pt x="394" y="0"/>
                  </a:moveTo>
                  <a:lnTo>
                    <a:pt x="448" y="3"/>
                  </a:lnTo>
                  <a:lnTo>
                    <a:pt x="499" y="14"/>
                  </a:lnTo>
                  <a:lnTo>
                    <a:pt x="547" y="29"/>
                  </a:lnTo>
                  <a:lnTo>
                    <a:pt x="591" y="53"/>
                  </a:lnTo>
                  <a:lnTo>
                    <a:pt x="630" y="82"/>
                  </a:lnTo>
                  <a:lnTo>
                    <a:pt x="665" y="119"/>
                  </a:lnTo>
                  <a:lnTo>
                    <a:pt x="698" y="161"/>
                  </a:lnTo>
                  <a:lnTo>
                    <a:pt x="730" y="221"/>
                  </a:lnTo>
                  <a:lnTo>
                    <a:pt x="754" y="280"/>
                  </a:lnTo>
                  <a:lnTo>
                    <a:pt x="767" y="340"/>
                  </a:lnTo>
                  <a:lnTo>
                    <a:pt x="772" y="399"/>
                  </a:lnTo>
                  <a:lnTo>
                    <a:pt x="769" y="428"/>
                  </a:lnTo>
                  <a:lnTo>
                    <a:pt x="760" y="452"/>
                  </a:lnTo>
                  <a:lnTo>
                    <a:pt x="743" y="467"/>
                  </a:lnTo>
                  <a:lnTo>
                    <a:pt x="723" y="477"/>
                  </a:lnTo>
                  <a:lnTo>
                    <a:pt x="694" y="481"/>
                  </a:lnTo>
                  <a:lnTo>
                    <a:pt x="194" y="481"/>
                  </a:lnTo>
                  <a:lnTo>
                    <a:pt x="217" y="514"/>
                  </a:lnTo>
                  <a:lnTo>
                    <a:pt x="246" y="543"/>
                  </a:lnTo>
                  <a:lnTo>
                    <a:pt x="280" y="567"/>
                  </a:lnTo>
                  <a:lnTo>
                    <a:pt x="319" y="586"/>
                  </a:lnTo>
                  <a:lnTo>
                    <a:pt x="360" y="596"/>
                  </a:lnTo>
                  <a:lnTo>
                    <a:pt x="404" y="599"/>
                  </a:lnTo>
                  <a:lnTo>
                    <a:pt x="804" y="599"/>
                  </a:lnTo>
                  <a:lnTo>
                    <a:pt x="821" y="655"/>
                  </a:lnTo>
                  <a:lnTo>
                    <a:pt x="842" y="710"/>
                  </a:lnTo>
                  <a:lnTo>
                    <a:pt x="866" y="761"/>
                  </a:lnTo>
                  <a:lnTo>
                    <a:pt x="404" y="761"/>
                  </a:lnTo>
                  <a:lnTo>
                    <a:pt x="339" y="757"/>
                  </a:lnTo>
                  <a:lnTo>
                    <a:pt x="278" y="744"/>
                  </a:lnTo>
                  <a:lnTo>
                    <a:pt x="221" y="720"/>
                  </a:lnTo>
                  <a:lnTo>
                    <a:pt x="168" y="688"/>
                  </a:lnTo>
                  <a:lnTo>
                    <a:pt x="119" y="645"/>
                  </a:lnTo>
                  <a:lnTo>
                    <a:pt x="82" y="606"/>
                  </a:lnTo>
                  <a:lnTo>
                    <a:pt x="53" y="562"/>
                  </a:lnTo>
                  <a:lnTo>
                    <a:pt x="29" y="516"/>
                  </a:lnTo>
                  <a:lnTo>
                    <a:pt x="12" y="467"/>
                  </a:lnTo>
                  <a:lnTo>
                    <a:pt x="3" y="414"/>
                  </a:lnTo>
                  <a:lnTo>
                    <a:pt x="0" y="357"/>
                  </a:lnTo>
                  <a:lnTo>
                    <a:pt x="3" y="306"/>
                  </a:lnTo>
                  <a:lnTo>
                    <a:pt x="12" y="258"/>
                  </a:lnTo>
                  <a:lnTo>
                    <a:pt x="29" y="214"/>
                  </a:lnTo>
                  <a:lnTo>
                    <a:pt x="51" y="172"/>
                  </a:lnTo>
                  <a:lnTo>
                    <a:pt x="82" y="134"/>
                  </a:lnTo>
                  <a:lnTo>
                    <a:pt x="117" y="99"/>
                  </a:lnTo>
                  <a:lnTo>
                    <a:pt x="165" y="63"/>
                  </a:lnTo>
                  <a:lnTo>
                    <a:pt x="217" y="36"/>
                  </a:lnTo>
                  <a:lnTo>
                    <a:pt x="272" y="15"/>
                  </a:lnTo>
                  <a:lnTo>
                    <a:pt x="331" y="3"/>
                  </a:lnTo>
                  <a:lnTo>
                    <a:pt x="3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sp>
          <p:nvSpPr>
            <p:cNvPr id="19" name="Freeform 15"/>
            <p:cNvSpPr>
              <a:spLocks noEditPoints="1"/>
            </p:cNvSpPr>
            <p:nvPr/>
          </p:nvSpPr>
          <p:spPr bwMode="auto">
            <a:xfrm>
              <a:off x="8919" y="1164"/>
              <a:ext cx="779" cy="794"/>
            </a:xfrm>
            <a:custGeom>
              <a:avLst/>
              <a:gdLst>
                <a:gd name="T0" fmla="*/ 343 w 779"/>
                <a:gd name="T1" fmla="*/ 168 h 794"/>
                <a:gd name="T2" fmla="*/ 261 w 779"/>
                <a:gd name="T3" fmla="*/ 202 h 794"/>
                <a:gd name="T4" fmla="*/ 197 w 779"/>
                <a:gd name="T5" fmla="*/ 266 h 794"/>
                <a:gd name="T6" fmla="*/ 163 w 779"/>
                <a:gd name="T7" fmla="*/ 350 h 794"/>
                <a:gd name="T8" fmla="*/ 163 w 779"/>
                <a:gd name="T9" fmla="*/ 443 h 794"/>
                <a:gd name="T10" fmla="*/ 195 w 779"/>
                <a:gd name="T11" fmla="*/ 526 h 794"/>
                <a:gd name="T12" fmla="*/ 260 w 779"/>
                <a:gd name="T13" fmla="*/ 592 h 794"/>
                <a:gd name="T14" fmla="*/ 341 w 779"/>
                <a:gd name="T15" fmla="*/ 628 h 794"/>
                <a:gd name="T16" fmla="*/ 433 w 779"/>
                <a:gd name="T17" fmla="*/ 628 h 794"/>
                <a:gd name="T18" fmla="*/ 514 w 779"/>
                <a:gd name="T19" fmla="*/ 592 h 794"/>
                <a:gd name="T20" fmla="*/ 580 w 779"/>
                <a:gd name="T21" fmla="*/ 526 h 794"/>
                <a:gd name="T22" fmla="*/ 614 w 779"/>
                <a:gd name="T23" fmla="*/ 443 h 794"/>
                <a:gd name="T24" fmla="*/ 614 w 779"/>
                <a:gd name="T25" fmla="*/ 350 h 794"/>
                <a:gd name="T26" fmla="*/ 580 w 779"/>
                <a:gd name="T27" fmla="*/ 266 h 794"/>
                <a:gd name="T28" fmla="*/ 516 w 779"/>
                <a:gd name="T29" fmla="*/ 202 h 794"/>
                <a:gd name="T30" fmla="*/ 434 w 779"/>
                <a:gd name="T31" fmla="*/ 168 h 794"/>
                <a:gd name="T32" fmla="*/ 388 w 779"/>
                <a:gd name="T33" fmla="*/ 0 h 794"/>
                <a:gd name="T34" fmla="*/ 511 w 779"/>
                <a:gd name="T35" fmla="*/ 18 h 794"/>
                <a:gd name="T36" fmla="*/ 616 w 779"/>
                <a:gd name="T37" fmla="*/ 74 h 794"/>
                <a:gd name="T38" fmla="*/ 706 w 779"/>
                <a:gd name="T39" fmla="*/ 163 h 794"/>
                <a:gd name="T40" fmla="*/ 760 w 779"/>
                <a:gd name="T41" fmla="*/ 273 h 794"/>
                <a:gd name="T42" fmla="*/ 779 w 779"/>
                <a:gd name="T43" fmla="*/ 399 h 794"/>
                <a:gd name="T44" fmla="*/ 760 w 779"/>
                <a:gd name="T45" fmla="*/ 521 h 794"/>
                <a:gd name="T46" fmla="*/ 706 w 779"/>
                <a:gd name="T47" fmla="*/ 630 h 794"/>
                <a:gd name="T48" fmla="*/ 618 w 779"/>
                <a:gd name="T49" fmla="*/ 720 h 794"/>
                <a:gd name="T50" fmla="*/ 512 w 779"/>
                <a:gd name="T51" fmla="*/ 776 h 794"/>
                <a:gd name="T52" fmla="*/ 388 w 779"/>
                <a:gd name="T53" fmla="*/ 794 h 794"/>
                <a:gd name="T54" fmla="*/ 266 w 779"/>
                <a:gd name="T55" fmla="*/ 776 h 794"/>
                <a:gd name="T56" fmla="*/ 161 w 779"/>
                <a:gd name="T57" fmla="*/ 721 h 794"/>
                <a:gd name="T58" fmla="*/ 73 w 779"/>
                <a:gd name="T59" fmla="*/ 631 h 794"/>
                <a:gd name="T60" fmla="*/ 17 w 779"/>
                <a:gd name="T61" fmla="*/ 523 h 794"/>
                <a:gd name="T62" fmla="*/ 0 w 779"/>
                <a:gd name="T63" fmla="*/ 399 h 794"/>
                <a:gd name="T64" fmla="*/ 17 w 779"/>
                <a:gd name="T65" fmla="*/ 275 h 794"/>
                <a:gd name="T66" fmla="*/ 71 w 779"/>
                <a:gd name="T67" fmla="*/ 166 h 794"/>
                <a:gd name="T68" fmla="*/ 159 w 779"/>
                <a:gd name="T69" fmla="*/ 74 h 794"/>
                <a:gd name="T70" fmla="*/ 265 w 779"/>
                <a:gd name="T71" fmla="*/ 18 h 794"/>
                <a:gd name="T72" fmla="*/ 388 w 779"/>
                <a:gd name="T73"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79" h="794">
                  <a:moveTo>
                    <a:pt x="388" y="163"/>
                  </a:moveTo>
                  <a:lnTo>
                    <a:pt x="343" y="168"/>
                  </a:lnTo>
                  <a:lnTo>
                    <a:pt x="300" y="180"/>
                  </a:lnTo>
                  <a:lnTo>
                    <a:pt x="261" y="202"/>
                  </a:lnTo>
                  <a:lnTo>
                    <a:pt x="226" y="231"/>
                  </a:lnTo>
                  <a:lnTo>
                    <a:pt x="197" y="266"/>
                  </a:lnTo>
                  <a:lnTo>
                    <a:pt x="175" y="307"/>
                  </a:lnTo>
                  <a:lnTo>
                    <a:pt x="163" y="350"/>
                  </a:lnTo>
                  <a:lnTo>
                    <a:pt x="158" y="397"/>
                  </a:lnTo>
                  <a:lnTo>
                    <a:pt x="163" y="443"/>
                  </a:lnTo>
                  <a:lnTo>
                    <a:pt x="175" y="487"/>
                  </a:lnTo>
                  <a:lnTo>
                    <a:pt x="195" y="526"/>
                  </a:lnTo>
                  <a:lnTo>
                    <a:pt x="224" y="562"/>
                  </a:lnTo>
                  <a:lnTo>
                    <a:pt x="260" y="592"/>
                  </a:lnTo>
                  <a:lnTo>
                    <a:pt x="299" y="614"/>
                  </a:lnTo>
                  <a:lnTo>
                    <a:pt x="341" y="628"/>
                  </a:lnTo>
                  <a:lnTo>
                    <a:pt x="388" y="631"/>
                  </a:lnTo>
                  <a:lnTo>
                    <a:pt x="433" y="628"/>
                  </a:lnTo>
                  <a:lnTo>
                    <a:pt x="475" y="614"/>
                  </a:lnTo>
                  <a:lnTo>
                    <a:pt x="514" y="592"/>
                  </a:lnTo>
                  <a:lnTo>
                    <a:pt x="550" y="562"/>
                  </a:lnTo>
                  <a:lnTo>
                    <a:pt x="580" y="526"/>
                  </a:lnTo>
                  <a:lnTo>
                    <a:pt x="602" y="487"/>
                  </a:lnTo>
                  <a:lnTo>
                    <a:pt x="614" y="443"/>
                  </a:lnTo>
                  <a:lnTo>
                    <a:pt x="619" y="397"/>
                  </a:lnTo>
                  <a:lnTo>
                    <a:pt x="614" y="350"/>
                  </a:lnTo>
                  <a:lnTo>
                    <a:pt x="602" y="307"/>
                  </a:lnTo>
                  <a:lnTo>
                    <a:pt x="580" y="266"/>
                  </a:lnTo>
                  <a:lnTo>
                    <a:pt x="551" y="231"/>
                  </a:lnTo>
                  <a:lnTo>
                    <a:pt x="516" y="202"/>
                  </a:lnTo>
                  <a:lnTo>
                    <a:pt x="477" y="180"/>
                  </a:lnTo>
                  <a:lnTo>
                    <a:pt x="434" y="168"/>
                  </a:lnTo>
                  <a:lnTo>
                    <a:pt x="388" y="163"/>
                  </a:lnTo>
                  <a:close/>
                  <a:moveTo>
                    <a:pt x="388" y="0"/>
                  </a:moveTo>
                  <a:lnTo>
                    <a:pt x="451" y="5"/>
                  </a:lnTo>
                  <a:lnTo>
                    <a:pt x="511" y="18"/>
                  </a:lnTo>
                  <a:lnTo>
                    <a:pt x="565" y="42"/>
                  </a:lnTo>
                  <a:lnTo>
                    <a:pt x="616" y="74"/>
                  </a:lnTo>
                  <a:lnTo>
                    <a:pt x="663" y="115"/>
                  </a:lnTo>
                  <a:lnTo>
                    <a:pt x="706" y="163"/>
                  </a:lnTo>
                  <a:lnTo>
                    <a:pt x="736" y="215"/>
                  </a:lnTo>
                  <a:lnTo>
                    <a:pt x="760" y="273"/>
                  </a:lnTo>
                  <a:lnTo>
                    <a:pt x="774" y="334"/>
                  </a:lnTo>
                  <a:lnTo>
                    <a:pt x="779" y="399"/>
                  </a:lnTo>
                  <a:lnTo>
                    <a:pt x="774" y="462"/>
                  </a:lnTo>
                  <a:lnTo>
                    <a:pt x="760" y="521"/>
                  </a:lnTo>
                  <a:lnTo>
                    <a:pt x="738" y="577"/>
                  </a:lnTo>
                  <a:lnTo>
                    <a:pt x="706" y="630"/>
                  </a:lnTo>
                  <a:lnTo>
                    <a:pt x="665" y="677"/>
                  </a:lnTo>
                  <a:lnTo>
                    <a:pt x="618" y="720"/>
                  </a:lnTo>
                  <a:lnTo>
                    <a:pt x="567" y="752"/>
                  </a:lnTo>
                  <a:lnTo>
                    <a:pt x="512" y="776"/>
                  </a:lnTo>
                  <a:lnTo>
                    <a:pt x="453" y="789"/>
                  </a:lnTo>
                  <a:lnTo>
                    <a:pt x="388" y="794"/>
                  </a:lnTo>
                  <a:lnTo>
                    <a:pt x="326" y="789"/>
                  </a:lnTo>
                  <a:lnTo>
                    <a:pt x="266" y="776"/>
                  </a:lnTo>
                  <a:lnTo>
                    <a:pt x="212" y="754"/>
                  </a:lnTo>
                  <a:lnTo>
                    <a:pt x="161" y="721"/>
                  </a:lnTo>
                  <a:lnTo>
                    <a:pt x="114" y="679"/>
                  </a:lnTo>
                  <a:lnTo>
                    <a:pt x="73" y="631"/>
                  </a:lnTo>
                  <a:lnTo>
                    <a:pt x="41" y="579"/>
                  </a:lnTo>
                  <a:lnTo>
                    <a:pt x="17" y="523"/>
                  </a:lnTo>
                  <a:lnTo>
                    <a:pt x="3" y="463"/>
                  </a:lnTo>
                  <a:lnTo>
                    <a:pt x="0" y="399"/>
                  </a:lnTo>
                  <a:lnTo>
                    <a:pt x="3" y="334"/>
                  </a:lnTo>
                  <a:lnTo>
                    <a:pt x="17" y="275"/>
                  </a:lnTo>
                  <a:lnTo>
                    <a:pt x="41" y="217"/>
                  </a:lnTo>
                  <a:lnTo>
                    <a:pt x="71" y="166"/>
                  </a:lnTo>
                  <a:lnTo>
                    <a:pt x="112" y="117"/>
                  </a:lnTo>
                  <a:lnTo>
                    <a:pt x="159" y="74"/>
                  </a:lnTo>
                  <a:lnTo>
                    <a:pt x="210" y="42"/>
                  </a:lnTo>
                  <a:lnTo>
                    <a:pt x="265" y="18"/>
                  </a:lnTo>
                  <a:lnTo>
                    <a:pt x="326" y="5"/>
                  </a:lnTo>
                  <a:lnTo>
                    <a:pt x="3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nl-BE" sz="1800"/>
            </a:p>
          </p:txBody>
        </p:sp>
      </p:grpSp>
    </p:spTree>
    <p:extLst>
      <p:ext uri="{BB962C8B-B14F-4D97-AF65-F5344CB8AC3E}">
        <p14:creationId xmlns:p14="http://schemas.microsoft.com/office/powerpoint/2010/main" val="234809505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Lst>
  <p:hf hdr="0" ftr="0" dt="0"/>
  <p:txStyles>
    <p:titleStyle>
      <a:lvl1pPr algn="l" defTabSz="914400" rtl="0" eaLnBrk="1" latinLnBrk="0" hangingPunct="1">
        <a:spcBef>
          <a:spcPct val="0"/>
        </a:spcBef>
        <a:buNone/>
        <a:defRPr sz="2400" b="0" kern="1200" spc="20" baseline="0">
          <a:solidFill>
            <a:schemeClr val="tx1"/>
          </a:solidFill>
          <a:latin typeface="+mj-lt"/>
          <a:ea typeface="+mj-ea"/>
          <a:cs typeface="+mj-cs"/>
        </a:defRPr>
      </a:lvl1pPr>
    </p:titleStyle>
    <p:bodyStyle>
      <a:lvl1pPr marL="182563" indent="-182563" algn="l" defTabSz="914400" rtl="0" eaLnBrk="1" latinLnBrk="0" hangingPunct="1">
        <a:spcBef>
          <a:spcPts val="700"/>
        </a:spcBef>
        <a:buClr>
          <a:srgbClr val="A2D3F3"/>
        </a:buClr>
        <a:buSzPct val="90000"/>
        <a:buFont typeface="Wingdings 2" panose="05020102010507070707" pitchFamily="18" charset="2"/>
        <a:buChar char=""/>
        <a:defRPr sz="1800" kern="1200" spc="40" baseline="0">
          <a:solidFill>
            <a:schemeClr val="tx1"/>
          </a:solidFill>
          <a:latin typeface="+mn-lt"/>
          <a:ea typeface="+mn-ea"/>
          <a:cs typeface="+mn-cs"/>
        </a:defRPr>
      </a:lvl1pPr>
      <a:lvl2pPr marL="625475" indent="-168275" algn="l" defTabSz="914400" rtl="0" eaLnBrk="1" latinLnBrk="0" hangingPunct="1">
        <a:spcBef>
          <a:spcPct val="20000"/>
        </a:spcBef>
        <a:buClr>
          <a:srgbClr val="A2D3F3"/>
        </a:buClr>
        <a:buSzPct val="90000"/>
        <a:buFont typeface="Wingdings 2" panose="05020102010507070707" pitchFamily="18" charset="2"/>
        <a:buChar char=""/>
        <a:defRPr sz="1800" kern="1200" spc="20" baseline="0">
          <a:solidFill>
            <a:schemeClr val="tx1"/>
          </a:solidFill>
          <a:latin typeface="+mn-lt"/>
          <a:ea typeface="+mn-ea"/>
          <a:cs typeface="+mn-cs"/>
        </a:defRPr>
      </a:lvl2pPr>
      <a:lvl3pPr marL="1074738" indent="-160338" algn="l" defTabSz="914400" rtl="0" eaLnBrk="1" latinLnBrk="0" hangingPunct="1">
        <a:spcBef>
          <a:spcPct val="20000"/>
        </a:spcBef>
        <a:buClr>
          <a:srgbClr val="A2D3F3"/>
        </a:buClr>
        <a:buSzPct val="90000"/>
        <a:buFont typeface="Wingdings 2" panose="05020102010507070707" pitchFamily="18" charset="2"/>
        <a:buChar char=""/>
        <a:defRPr sz="1600" kern="1200" spc="20" baseline="0">
          <a:solidFill>
            <a:schemeClr val="tx1"/>
          </a:solidFill>
          <a:latin typeface="+mn-lt"/>
          <a:ea typeface="+mn-ea"/>
          <a:cs typeface="+mn-cs"/>
        </a:defRPr>
      </a:lvl3pPr>
      <a:lvl4pPr marL="1524000" indent="-152400" algn="l" defTabSz="914400" rtl="0" eaLnBrk="1" latinLnBrk="0" hangingPunct="1">
        <a:spcBef>
          <a:spcPct val="20000"/>
        </a:spcBef>
        <a:buClr>
          <a:srgbClr val="A2D3F3"/>
        </a:buClr>
        <a:buSzPct val="90000"/>
        <a:buFont typeface="Wingdings 2" panose="05020102010507070707" pitchFamily="18" charset="2"/>
        <a:buChar char=""/>
        <a:defRPr sz="1400" kern="1200" spc="20" baseline="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spc="2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2"/>
          <p:cNvSpPr txBox="1">
            <a:spLocks noGrp="1"/>
          </p:cNvSpPr>
          <p:nvPr>
            <p:ph type="body" idx="1"/>
          </p:nvPr>
        </p:nvSpPr>
        <p:spPr>
          <a:xfrm>
            <a:off x="838200" y="1826684"/>
            <a:ext cx="10515600" cy="4349749"/>
          </a:xfrm>
          <a:prstGeom prst="rect">
            <a:avLst/>
          </a:prstGeom>
          <a:noFill/>
          <a:ln>
            <a:noFill/>
          </a:ln>
        </p:spPr>
        <p:txBody>
          <a:bodyPr spcFirstLastPara="1" wrap="square" lIns="91425" tIns="45700" rIns="0" bIns="45700" anchor="t" anchorCtr="0">
            <a:normAutofit/>
          </a:bodyPr>
          <a:lstStyle>
            <a:lvl1pPr marL="457200" marR="0" lvl="0" indent="-285750" algn="l" rtl="0">
              <a:lnSpc>
                <a:spcPct val="100000"/>
              </a:lnSpc>
              <a:spcBef>
                <a:spcPts val="0"/>
              </a:spcBef>
              <a:spcAft>
                <a:spcPts val="0"/>
              </a:spcAft>
              <a:buClr>
                <a:schemeClr val="accent1"/>
              </a:buClr>
              <a:buSzPts val="900"/>
              <a:buFont typeface="Arial"/>
              <a:buChar char="•"/>
              <a:defRPr sz="900" b="0" i="0" u="none" strike="noStrike" cap="none">
                <a:solidFill>
                  <a:schemeClr val="dk1"/>
                </a:solidFill>
                <a:latin typeface="Arial"/>
                <a:ea typeface="Arial"/>
                <a:cs typeface="Arial"/>
                <a:sym typeface="Arial"/>
              </a:defRPr>
            </a:lvl1pPr>
            <a:lvl2pPr marL="914400" marR="0" lvl="1" indent="-285750" algn="l" rtl="0">
              <a:lnSpc>
                <a:spcPct val="100000"/>
              </a:lnSpc>
              <a:spcBef>
                <a:spcPts val="0"/>
              </a:spcBef>
              <a:spcAft>
                <a:spcPts val="0"/>
              </a:spcAft>
              <a:buClr>
                <a:schemeClr val="accent1"/>
              </a:buClr>
              <a:buSzPts val="900"/>
              <a:buFont typeface="Arial"/>
              <a:buChar char="•"/>
              <a:defRPr sz="900" b="0" i="0" u="none" strike="noStrike" cap="none">
                <a:solidFill>
                  <a:schemeClr val="dk1"/>
                </a:solidFill>
                <a:latin typeface="Arial"/>
                <a:ea typeface="Arial"/>
                <a:cs typeface="Arial"/>
                <a:sym typeface="Arial"/>
              </a:defRPr>
            </a:lvl2pPr>
            <a:lvl3pPr marL="1371600" marR="0" lvl="2" indent="-285750" algn="l" rtl="0">
              <a:lnSpc>
                <a:spcPct val="100000"/>
              </a:lnSpc>
              <a:spcBef>
                <a:spcPts val="0"/>
              </a:spcBef>
              <a:spcAft>
                <a:spcPts val="0"/>
              </a:spcAft>
              <a:buClr>
                <a:schemeClr val="accent1"/>
              </a:buClr>
              <a:buSzPts val="900"/>
              <a:buFont typeface="Arial"/>
              <a:buChar char="•"/>
              <a:defRPr sz="900" b="0" i="0" u="none" strike="noStrike" cap="none">
                <a:solidFill>
                  <a:schemeClr val="dk1"/>
                </a:solidFill>
                <a:latin typeface="Arial"/>
                <a:ea typeface="Arial"/>
                <a:cs typeface="Arial"/>
                <a:sym typeface="Arial"/>
              </a:defRPr>
            </a:lvl3pPr>
            <a:lvl4pPr marL="1828800" marR="0" lvl="3" indent="-285750" algn="l" rtl="0">
              <a:lnSpc>
                <a:spcPct val="100000"/>
              </a:lnSpc>
              <a:spcBef>
                <a:spcPts val="0"/>
              </a:spcBef>
              <a:spcAft>
                <a:spcPts val="0"/>
              </a:spcAft>
              <a:buClr>
                <a:schemeClr val="accent1"/>
              </a:buClr>
              <a:buSzPts val="900"/>
              <a:buFont typeface="Arial"/>
              <a:buChar char="•"/>
              <a:defRPr sz="900" b="0" i="0" u="none" strike="noStrike" cap="none">
                <a:solidFill>
                  <a:schemeClr val="dk1"/>
                </a:solidFill>
                <a:latin typeface="Arial"/>
                <a:ea typeface="Arial"/>
                <a:cs typeface="Arial"/>
                <a:sym typeface="Arial"/>
              </a:defRPr>
            </a:lvl4pPr>
            <a:lvl5pPr marL="2286000" marR="0" lvl="4" indent="-285750" algn="l" rtl="0">
              <a:lnSpc>
                <a:spcPct val="100000"/>
              </a:lnSpc>
              <a:spcBef>
                <a:spcPts val="0"/>
              </a:spcBef>
              <a:spcAft>
                <a:spcPts val="0"/>
              </a:spcAft>
              <a:buClr>
                <a:schemeClr val="accent1"/>
              </a:buClr>
              <a:buSzPts val="900"/>
              <a:buFont typeface="Arial"/>
              <a:buChar char="•"/>
              <a:defRPr sz="9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91135976"/>
      </p:ext>
    </p:extLst>
  </p:cSld>
  <p:clrMap bg1="lt1" tx1="dk1" bg2="dk2" tx2="lt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 id="2147483878" r:id="rId31"/>
    <p:sldLayoutId id="2147483879" r:id="rId32"/>
    <p:sldLayoutId id="2147483880" r:id="rId33"/>
    <p:sldLayoutId id="2147483881" r:id="rId34"/>
    <p:sldLayoutId id="2147483882" r:id="rId35"/>
    <p:sldLayoutId id="2147483883" r:id="rId36"/>
    <p:sldLayoutId id="2147483884" r:id="rId37"/>
    <p:sldLayoutId id="2147483885" r:id="rId38"/>
    <p:sldLayoutId id="2147483886" r:id="rId39"/>
  </p:sldLayoutIdLst>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EA4335"/>
          </p15:clr>
        </p15:guide>
        <p15:guide id="2" pos="380">
          <p15:clr>
            <a:srgbClr val="EA4335"/>
          </p15:clr>
        </p15:guide>
        <p15:guide id="3" pos="5380">
          <p15:clr>
            <a:srgbClr val="EA4335"/>
          </p15:clr>
        </p15:guide>
        <p15:guide id="4" pos="2047">
          <p15:clr>
            <a:srgbClr val="EA4335"/>
          </p15:clr>
        </p15:guide>
        <p15:guide id="5" pos="3713">
          <p15:clr>
            <a:srgbClr val="EA4335"/>
          </p15:clr>
        </p15:guide>
        <p15:guide id="6" orient="horz" pos="1620">
          <p15:clr>
            <a:srgbClr val="EA4335"/>
          </p15:clr>
        </p15:guide>
        <p15:guide id="7" orient="horz" pos="340">
          <p15:clr>
            <a:srgbClr val="EA4335"/>
          </p15:clr>
        </p15:guide>
        <p15:guide id="8" orient="horz" pos="2897">
          <p15:clr>
            <a:srgbClr val="EA4335"/>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158.xml"/><Relationship Id="rId5" Type="http://schemas.openxmlformats.org/officeDocument/2006/relationships/image" Target="../media/image93.svg"/><Relationship Id="rId4" Type="http://schemas.openxmlformats.org/officeDocument/2006/relationships/image" Target="../media/image92.png"/></Relationships>
</file>

<file path=ppt/slides/_rels/slide18.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image" Target="../media/image94.png"/><Relationship Id="rId1" Type="http://schemas.openxmlformats.org/officeDocument/2006/relationships/slideLayout" Target="../slideLayouts/slideLayout58.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96.png"/></Relationships>
</file>

<file path=ppt/slides/_rels/slide1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58.xml"/><Relationship Id="rId5" Type="http://schemas.openxmlformats.org/officeDocument/2006/relationships/image" Target="../media/image101.png"/><Relationship Id="rId4" Type="http://schemas.openxmlformats.org/officeDocument/2006/relationships/image" Target="../media/image9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95.png"/><Relationship Id="rId7" Type="http://schemas.openxmlformats.org/officeDocument/2006/relationships/image" Target="../media/image104.png"/><Relationship Id="rId2" Type="http://schemas.openxmlformats.org/officeDocument/2006/relationships/image" Target="../media/image94.png"/><Relationship Id="rId1" Type="http://schemas.openxmlformats.org/officeDocument/2006/relationships/slideLayout" Target="../slideLayouts/slideLayout58.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6.png"/></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8.xml"/><Relationship Id="rId1" Type="http://schemas.openxmlformats.org/officeDocument/2006/relationships/tags" Target="../tags/tag5.xml"/><Relationship Id="rId4" Type="http://schemas.openxmlformats.org/officeDocument/2006/relationships/image" Target="../media/image85.emf"/></Relationships>
</file>

<file path=ppt/slides/_rels/slide23.xml.rels><?xml version="1.0" encoding="UTF-8" standalone="yes"?>
<Relationships xmlns="http://schemas.openxmlformats.org/package/2006/relationships"><Relationship Id="rId8" Type="http://schemas.openxmlformats.org/officeDocument/2006/relationships/image" Target="../media/image118.jpg"/><Relationship Id="rId3" Type="http://schemas.openxmlformats.org/officeDocument/2006/relationships/image" Target="../media/image113.jpeg"/><Relationship Id="rId7" Type="http://schemas.openxmlformats.org/officeDocument/2006/relationships/image" Target="../media/image117.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116.jpeg"/><Relationship Id="rId5" Type="http://schemas.openxmlformats.org/officeDocument/2006/relationships/image" Target="../media/image115.jpg"/><Relationship Id="rId4" Type="http://schemas.openxmlformats.org/officeDocument/2006/relationships/image" Target="../media/image114.jpeg"/></Relationships>
</file>

<file path=ppt/slides/_rels/slide24.xml.rels><?xml version="1.0" encoding="UTF-8" standalone="yes"?>
<Relationships xmlns="http://schemas.openxmlformats.org/package/2006/relationships"><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tags" Target="../tags/tag31.xml"/><Relationship Id="rId39" Type="http://schemas.openxmlformats.org/officeDocument/2006/relationships/tags" Target="../tags/tag44.xml"/><Relationship Id="rId21" Type="http://schemas.openxmlformats.org/officeDocument/2006/relationships/tags" Target="../tags/tag26.xml"/><Relationship Id="rId34" Type="http://schemas.openxmlformats.org/officeDocument/2006/relationships/tags" Target="../tags/tag39.xml"/><Relationship Id="rId42" Type="http://schemas.openxmlformats.org/officeDocument/2006/relationships/tags" Target="../tags/tag47.xml"/><Relationship Id="rId47" Type="http://schemas.openxmlformats.org/officeDocument/2006/relationships/tags" Target="../tags/tag52.xml"/><Relationship Id="rId50" Type="http://schemas.openxmlformats.org/officeDocument/2006/relationships/tags" Target="../tags/tag55.xml"/><Relationship Id="rId55" Type="http://schemas.openxmlformats.org/officeDocument/2006/relationships/tags" Target="../tags/tag60.xml"/><Relationship Id="rId63" Type="http://schemas.openxmlformats.org/officeDocument/2006/relationships/tags" Target="../tags/tag68.xml"/><Relationship Id="rId68" Type="http://schemas.openxmlformats.org/officeDocument/2006/relationships/tags" Target="../tags/tag73.xml"/><Relationship Id="rId76" Type="http://schemas.openxmlformats.org/officeDocument/2006/relationships/tags" Target="../tags/tag81.xml"/><Relationship Id="rId84" Type="http://schemas.openxmlformats.org/officeDocument/2006/relationships/tags" Target="../tags/tag89.xml"/><Relationship Id="rId89" Type="http://schemas.openxmlformats.org/officeDocument/2006/relationships/image" Target="../media/image119.emf"/><Relationship Id="rId7" Type="http://schemas.openxmlformats.org/officeDocument/2006/relationships/tags" Target="../tags/tag12.xml"/><Relationship Id="rId71" Type="http://schemas.openxmlformats.org/officeDocument/2006/relationships/tags" Target="../tags/tag76.xml"/><Relationship Id="rId92" Type="http://schemas.openxmlformats.org/officeDocument/2006/relationships/chart" Target="../charts/chart6.xml"/><Relationship Id="rId2" Type="http://schemas.openxmlformats.org/officeDocument/2006/relationships/tags" Target="../tags/tag7.xml"/><Relationship Id="rId16" Type="http://schemas.openxmlformats.org/officeDocument/2006/relationships/tags" Target="../tags/tag21.xml"/><Relationship Id="rId29" Type="http://schemas.openxmlformats.org/officeDocument/2006/relationships/tags" Target="../tags/tag34.xml"/><Relationship Id="rId11" Type="http://schemas.openxmlformats.org/officeDocument/2006/relationships/tags" Target="../tags/tag16.xml"/><Relationship Id="rId24" Type="http://schemas.openxmlformats.org/officeDocument/2006/relationships/tags" Target="../tags/tag29.xml"/><Relationship Id="rId32" Type="http://schemas.openxmlformats.org/officeDocument/2006/relationships/tags" Target="../tags/tag37.xml"/><Relationship Id="rId37" Type="http://schemas.openxmlformats.org/officeDocument/2006/relationships/tags" Target="../tags/tag42.xml"/><Relationship Id="rId40" Type="http://schemas.openxmlformats.org/officeDocument/2006/relationships/tags" Target="../tags/tag45.xml"/><Relationship Id="rId45" Type="http://schemas.openxmlformats.org/officeDocument/2006/relationships/tags" Target="../tags/tag50.xml"/><Relationship Id="rId53" Type="http://schemas.openxmlformats.org/officeDocument/2006/relationships/tags" Target="../tags/tag58.xml"/><Relationship Id="rId58" Type="http://schemas.openxmlformats.org/officeDocument/2006/relationships/tags" Target="../tags/tag63.xml"/><Relationship Id="rId66" Type="http://schemas.openxmlformats.org/officeDocument/2006/relationships/tags" Target="../tags/tag71.xml"/><Relationship Id="rId74" Type="http://schemas.openxmlformats.org/officeDocument/2006/relationships/tags" Target="../tags/tag79.xml"/><Relationship Id="rId79" Type="http://schemas.openxmlformats.org/officeDocument/2006/relationships/tags" Target="../tags/tag84.xml"/><Relationship Id="rId87" Type="http://schemas.openxmlformats.org/officeDocument/2006/relationships/notesSlide" Target="../notesSlides/notesSlide4.xml"/><Relationship Id="rId5" Type="http://schemas.openxmlformats.org/officeDocument/2006/relationships/tags" Target="../tags/tag10.xml"/><Relationship Id="rId61" Type="http://schemas.openxmlformats.org/officeDocument/2006/relationships/tags" Target="../tags/tag66.xml"/><Relationship Id="rId82" Type="http://schemas.openxmlformats.org/officeDocument/2006/relationships/tags" Target="../tags/tag87.xml"/><Relationship Id="rId90" Type="http://schemas.openxmlformats.org/officeDocument/2006/relationships/chart" Target="../charts/chart4.xml"/><Relationship Id="rId19" Type="http://schemas.openxmlformats.org/officeDocument/2006/relationships/tags" Target="../tags/tag2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tags" Target="../tags/tag32.xml"/><Relationship Id="rId30" Type="http://schemas.openxmlformats.org/officeDocument/2006/relationships/tags" Target="../tags/tag35.xml"/><Relationship Id="rId35" Type="http://schemas.openxmlformats.org/officeDocument/2006/relationships/tags" Target="../tags/tag40.xml"/><Relationship Id="rId43" Type="http://schemas.openxmlformats.org/officeDocument/2006/relationships/tags" Target="../tags/tag48.xml"/><Relationship Id="rId48" Type="http://schemas.openxmlformats.org/officeDocument/2006/relationships/tags" Target="../tags/tag53.xml"/><Relationship Id="rId56" Type="http://schemas.openxmlformats.org/officeDocument/2006/relationships/tags" Target="../tags/tag61.xml"/><Relationship Id="rId64" Type="http://schemas.openxmlformats.org/officeDocument/2006/relationships/tags" Target="../tags/tag69.xml"/><Relationship Id="rId69" Type="http://schemas.openxmlformats.org/officeDocument/2006/relationships/tags" Target="../tags/tag74.xml"/><Relationship Id="rId77" Type="http://schemas.openxmlformats.org/officeDocument/2006/relationships/tags" Target="../tags/tag82.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80" Type="http://schemas.openxmlformats.org/officeDocument/2006/relationships/tags" Target="../tags/tag85.xml"/><Relationship Id="rId85" Type="http://schemas.openxmlformats.org/officeDocument/2006/relationships/tags" Target="../tags/tag90.xml"/><Relationship Id="rId3" Type="http://schemas.openxmlformats.org/officeDocument/2006/relationships/tags" Target="../tags/tag8.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tags" Target="../tags/tag30.xml"/><Relationship Id="rId33" Type="http://schemas.openxmlformats.org/officeDocument/2006/relationships/tags" Target="../tags/tag38.xml"/><Relationship Id="rId38" Type="http://schemas.openxmlformats.org/officeDocument/2006/relationships/tags" Target="../tags/tag43.xml"/><Relationship Id="rId46" Type="http://schemas.openxmlformats.org/officeDocument/2006/relationships/tags" Target="../tags/tag51.xml"/><Relationship Id="rId59" Type="http://schemas.openxmlformats.org/officeDocument/2006/relationships/tags" Target="../tags/tag64.xml"/><Relationship Id="rId67" Type="http://schemas.openxmlformats.org/officeDocument/2006/relationships/tags" Target="../tags/tag72.xml"/><Relationship Id="rId20" Type="http://schemas.openxmlformats.org/officeDocument/2006/relationships/tags" Target="../tags/tag25.xml"/><Relationship Id="rId41" Type="http://schemas.openxmlformats.org/officeDocument/2006/relationships/tags" Target="../tags/tag46.xml"/><Relationship Id="rId54" Type="http://schemas.openxmlformats.org/officeDocument/2006/relationships/tags" Target="../tags/tag59.xml"/><Relationship Id="rId62" Type="http://schemas.openxmlformats.org/officeDocument/2006/relationships/tags" Target="../tags/tag67.xml"/><Relationship Id="rId70" Type="http://schemas.openxmlformats.org/officeDocument/2006/relationships/tags" Target="../tags/tag75.xml"/><Relationship Id="rId75" Type="http://schemas.openxmlformats.org/officeDocument/2006/relationships/tags" Target="../tags/tag80.xml"/><Relationship Id="rId83" Type="http://schemas.openxmlformats.org/officeDocument/2006/relationships/tags" Target="../tags/tag88.xml"/><Relationship Id="rId88" Type="http://schemas.openxmlformats.org/officeDocument/2006/relationships/oleObject" Target="../embeddings/oleObject5.bin"/><Relationship Id="rId91" Type="http://schemas.openxmlformats.org/officeDocument/2006/relationships/chart" Target="../charts/chart5.xml"/><Relationship Id="rId1" Type="http://schemas.openxmlformats.org/officeDocument/2006/relationships/tags" Target="../tags/tag6.xml"/><Relationship Id="rId6" Type="http://schemas.openxmlformats.org/officeDocument/2006/relationships/tags" Target="../tags/tag11.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tags" Target="../tags/tag33.xml"/><Relationship Id="rId36" Type="http://schemas.openxmlformats.org/officeDocument/2006/relationships/tags" Target="../tags/tag41.xml"/><Relationship Id="rId49" Type="http://schemas.openxmlformats.org/officeDocument/2006/relationships/tags" Target="../tags/tag54.xml"/><Relationship Id="rId57" Type="http://schemas.openxmlformats.org/officeDocument/2006/relationships/tags" Target="../tags/tag62.xml"/><Relationship Id="rId10" Type="http://schemas.openxmlformats.org/officeDocument/2006/relationships/tags" Target="../tags/tag15.xml"/><Relationship Id="rId31" Type="http://schemas.openxmlformats.org/officeDocument/2006/relationships/tags" Target="../tags/tag36.xml"/><Relationship Id="rId44" Type="http://schemas.openxmlformats.org/officeDocument/2006/relationships/tags" Target="../tags/tag49.xml"/><Relationship Id="rId52" Type="http://schemas.openxmlformats.org/officeDocument/2006/relationships/tags" Target="../tags/tag57.xml"/><Relationship Id="rId60" Type="http://schemas.openxmlformats.org/officeDocument/2006/relationships/tags" Target="../tags/tag65.xml"/><Relationship Id="rId65" Type="http://schemas.openxmlformats.org/officeDocument/2006/relationships/tags" Target="../tags/tag70.xml"/><Relationship Id="rId73" Type="http://schemas.openxmlformats.org/officeDocument/2006/relationships/tags" Target="../tags/tag78.xml"/><Relationship Id="rId78" Type="http://schemas.openxmlformats.org/officeDocument/2006/relationships/tags" Target="../tags/tag83.xml"/><Relationship Id="rId81" Type="http://schemas.openxmlformats.org/officeDocument/2006/relationships/tags" Target="../tags/tag86.xml"/><Relationship Id="rId86" Type="http://schemas.openxmlformats.org/officeDocument/2006/relationships/slideLayout" Target="../slideLayouts/slideLayout27.xml"/><Relationship Id="rId4" Type="http://schemas.openxmlformats.org/officeDocument/2006/relationships/tags" Target="../tags/tag9.xml"/><Relationship Id="rId9" Type="http://schemas.openxmlformats.org/officeDocument/2006/relationships/tags" Target="../tags/tag14.xml"/></Relationships>
</file>

<file path=ppt/slides/_rels/slide25.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image" Target="../media/image120.emf"/><Relationship Id="rId3" Type="http://schemas.openxmlformats.org/officeDocument/2006/relationships/tags" Target="../tags/tag93.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oleObject" Target="../embeddings/oleObject6.bin"/><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tags" Target="../tags/tag110.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notesSlide" Target="../notesSlides/notesSlide5.xml"/><Relationship Id="rId5" Type="http://schemas.openxmlformats.org/officeDocument/2006/relationships/tags" Target="../tags/tag95.xml"/><Relationship Id="rId15" Type="http://schemas.openxmlformats.org/officeDocument/2006/relationships/tags" Target="../tags/tag105.xml"/><Relationship Id="rId23" Type="http://schemas.openxmlformats.org/officeDocument/2006/relationships/slideLayout" Target="../slideLayouts/slideLayout27.xml"/><Relationship Id="rId10" Type="http://schemas.openxmlformats.org/officeDocument/2006/relationships/tags" Target="../tags/tag100.xml"/><Relationship Id="rId19" Type="http://schemas.openxmlformats.org/officeDocument/2006/relationships/tags" Target="../tags/tag109.xml"/><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chart" Target="../charts/chart7.xml"/></Relationships>
</file>

<file path=ppt/slides/_rels/slide26.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chart" Target="../charts/chart8.xml"/><Relationship Id="rId1" Type="http://schemas.openxmlformats.org/officeDocument/2006/relationships/slideLayout" Target="../slideLayouts/slideLayout85.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85.xml"/></Relationships>
</file>

<file path=ppt/slides/_rels/slide28.xml.rels><?xml version="1.0" encoding="UTF-8" standalone="yes"?>
<Relationships xmlns="http://schemas.openxmlformats.org/package/2006/relationships"><Relationship Id="rId2" Type="http://schemas.openxmlformats.org/officeDocument/2006/relationships/image" Target="../media/image122.emf"/><Relationship Id="rId1" Type="http://schemas.openxmlformats.org/officeDocument/2006/relationships/slideLayout" Target="../slideLayouts/slideLayout85.xml"/></Relationships>
</file>

<file path=ppt/slides/_rels/slide29.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8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24.png"/><Relationship Id="rId1" Type="http://schemas.openxmlformats.org/officeDocument/2006/relationships/slideLayout" Target="../slideLayouts/slideLayout13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126.svg"/><Relationship Id="rId13" Type="http://schemas.openxmlformats.org/officeDocument/2006/relationships/image" Target="../media/image131.png"/><Relationship Id="rId3" Type="http://schemas.openxmlformats.org/officeDocument/2006/relationships/diagramLayout" Target="../diagrams/layout3.xml"/><Relationship Id="rId7" Type="http://schemas.openxmlformats.org/officeDocument/2006/relationships/image" Target="../media/image125.png"/><Relationship Id="rId12" Type="http://schemas.openxmlformats.org/officeDocument/2006/relationships/image" Target="../media/image130.svg"/><Relationship Id="rId2" Type="http://schemas.openxmlformats.org/officeDocument/2006/relationships/diagramData" Target="../diagrams/data3.xml"/><Relationship Id="rId1" Type="http://schemas.openxmlformats.org/officeDocument/2006/relationships/slideLayout" Target="../slideLayouts/slideLayout136.xml"/><Relationship Id="rId6" Type="http://schemas.microsoft.com/office/2007/relationships/diagramDrawing" Target="../diagrams/drawing3.xml"/><Relationship Id="rId11" Type="http://schemas.openxmlformats.org/officeDocument/2006/relationships/image" Target="../media/image129.png"/><Relationship Id="rId5" Type="http://schemas.openxmlformats.org/officeDocument/2006/relationships/diagramColors" Target="../diagrams/colors3.xml"/><Relationship Id="rId10" Type="http://schemas.openxmlformats.org/officeDocument/2006/relationships/image" Target="../media/image128.svg"/><Relationship Id="rId4" Type="http://schemas.openxmlformats.org/officeDocument/2006/relationships/diagramQuickStyle" Target="../diagrams/quickStyle3.xml"/><Relationship Id="rId9" Type="http://schemas.openxmlformats.org/officeDocument/2006/relationships/image" Target="../media/image127.png"/><Relationship Id="rId14" Type="http://schemas.openxmlformats.org/officeDocument/2006/relationships/image" Target="../media/image132.svg"/></Relationships>
</file>

<file path=ppt/slides/_rels/slide32.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43.emf"/><Relationship Id="rId5" Type="http://schemas.openxmlformats.org/officeDocument/2006/relationships/oleObject" Target="../embeddings/oleObject7.bin"/><Relationship Id="rId4"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4.xml"/><Relationship Id="rId4" Type="http://schemas.openxmlformats.org/officeDocument/2006/relationships/image" Target="../media/image85.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62B3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52752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FA9A5-85C1-F560-BCB6-BBEDB23D68D4}"/>
              </a:ext>
            </a:extLst>
          </p:cNvPr>
          <p:cNvSpPr>
            <a:spLocks noGrp="1"/>
          </p:cNvSpPr>
          <p:nvPr>
            <p:ph type="title"/>
          </p:nvPr>
        </p:nvSpPr>
        <p:spPr>
          <a:xfrm>
            <a:off x="551384" y="447960"/>
            <a:ext cx="10972800" cy="565200"/>
          </a:xfrm>
        </p:spPr>
        <p:txBody>
          <a:bodyPr/>
          <a:lstStyle/>
          <a:p>
            <a:r>
              <a:rPr lang="en-GB" dirty="0"/>
              <a:t>EU reduction target reached – 15% for B</a:t>
            </a:r>
            <a:endParaRPr lang="en-BE" dirty="0"/>
          </a:p>
        </p:txBody>
      </p:sp>
      <p:pic>
        <p:nvPicPr>
          <p:cNvPr id="9" name="Content Placeholder 8">
            <a:extLst>
              <a:ext uri="{FF2B5EF4-FFF2-40B4-BE49-F238E27FC236}">
                <a16:creationId xmlns:a16="http://schemas.microsoft.com/office/drawing/2014/main" id="{8DDFA141-4684-5B07-4246-B6730B85902F}"/>
              </a:ext>
            </a:extLst>
          </p:cNvPr>
          <p:cNvPicPr>
            <a:picLocks noGrp="1" noChangeAspect="1"/>
          </p:cNvPicPr>
          <p:nvPr>
            <p:ph idx="1"/>
          </p:nvPr>
        </p:nvPicPr>
        <p:blipFill>
          <a:blip r:embed="rId2"/>
          <a:stretch>
            <a:fillRect/>
          </a:stretch>
        </p:blipFill>
        <p:spPr>
          <a:xfrm>
            <a:off x="86976" y="950745"/>
            <a:ext cx="6828088" cy="3534767"/>
          </a:xfrm>
        </p:spPr>
      </p:pic>
      <p:sp>
        <p:nvSpPr>
          <p:cNvPr id="4" name="Date Placeholder 3">
            <a:extLst>
              <a:ext uri="{FF2B5EF4-FFF2-40B4-BE49-F238E27FC236}">
                <a16:creationId xmlns:a16="http://schemas.microsoft.com/office/drawing/2014/main" id="{36E50835-AD84-307D-ADC4-8A06287E20B9}"/>
              </a:ext>
            </a:extLst>
          </p:cNvPr>
          <p:cNvSpPr>
            <a:spLocks noGrp="1"/>
          </p:cNvSpPr>
          <p:nvPr>
            <p:ph type="dt" sz="half" idx="10"/>
          </p:nvPr>
        </p:nvSpPr>
        <p:spPr/>
        <p:txBody>
          <a:bodyPr/>
          <a:lstStyle/>
          <a:p>
            <a:fld id="{A5BF5FAA-1273-48C9-A418-A52A86AE5014}" type="datetime1">
              <a:rPr lang="nl-BE" smtClean="0"/>
              <a:t>30/05/2023</a:t>
            </a:fld>
            <a:endParaRPr lang="nl-BE" dirty="0"/>
          </a:p>
        </p:txBody>
      </p:sp>
      <p:sp>
        <p:nvSpPr>
          <p:cNvPr id="5" name="Footer Placeholder 4">
            <a:extLst>
              <a:ext uri="{FF2B5EF4-FFF2-40B4-BE49-F238E27FC236}">
                <a16:creationId xmlns:a16="http://schemas.microsoft.com/office/drawing/2014/main" id="{FD0FD8EE-6D37-5141-24F6-7475EA4DC4CF}"/>
              </a:ext>
            </a:extLst>
          </p:cNvPr>
          <p:cNvSpPr>
            <a:spLocks noGrp="1"/>
          </p:cNvSpPr>
          <p:nvPr>
            <p:ph type="ftr" sz="quarter" idx="11"/>
          </p:nvPr>
        </p:nvSpPr>
        <p:spPr/>
        <p:txBody>
          <a:bodyPr/>
          <a:lstStyle/>
          <a:p>
            <a:endParaRPr lang="nl-BE" dirty="0"/>
          </a:p>
        </p:txBody>
      </p:sp>
      <p:sp>
        <p:nvSpPr>
          <p:cNvPr id="6" name="Slide Number Placeholder 5">
            <a:extLst>
              <a:ext uri="{FF2B5EF4-FFF2-40B4-BE49-F238E27FC236}">
                <a16:creationId xmlns:a16="http://schemas.microsoft.com/office/drawing/2014/main" id="{2AE6E214-DD30-58DD-D5C1-A7BCC5442ED0}"/>
              </a:ext>
            </a:extLst>
          </p:cNvPr>
          <p:cNvSpPr>
            <a:spLocks noGrp="1"/>
          </p:cNvSpPr>
          <p:nvPr>
            <p:ph type="sldNum" sz="quarter" idx="12"/>
          </p:nvPr>
        </p:nvSpPr>
        <p:spPr/>
        <p:txBody>
          <a:bodyPr/>
          <a:lstStyle/>
          <a:p>
            <a:fld id="{9BE375CD-4755-4D83-B134-E6AD5007676A}" type="slidenum">
              <a:rPr lang="nl-BE" smtClean="0"/>
              <a:t>10</a:t>
            </a:fld>
            <a:endParaRPr lang="nl-BE"/>
          </a:p>
        </p:txBody>
      </p:sp>
      <p:pic>
        <p:nvPicPr>
          <p:cNvPr id="11" name="Picture 10">
            <a:extLst>
              <a:ext uri="{FF2B5EF4-FFF2-40B4-BE49-F238E27FC236}">
                <a16:creationId xmlns:a16="http://schemas.microsoft.com/office/drawing/2014/main" id="{B013D73E-C5F3-5F30-F5CD-A8F30C605CE4}"/>
              </a:ext>
            </a:extLst>
          </p:cNvPr>
          <p:cNvPicPr>
            <a:picLocks noChangeAspect="1"/>
          </p:cNvPicPr>
          <p:nvPr/>
        </p:nvPicPr>
        <p:blipFill>
          <a:blip r:embed="rId3"/>
          <a:stretch>
            <a:fillRect/>
          </a:stretch>
        </p:blipFill>
        <p:spPr>
          <a:xfrm>
            <a:off x="6096000" y="3768628"/>
            <a:ext cx="6183757" cy="3087468"/>
          </a:xfrm>
          <a:prstGeom prst="rect">
            <a:avLst/>
          </a:prstGeom>
        </p:spPr>
      </p:pic>
      <p:sp>
        <p:nvSpPr>
          <p:cNvPr id="12" name="TextBox 11">
            <a:extLst>
              <a:ext uri="{FF2B5EF4-FFF2-40B4-BE49-F238E27FC236}">
                <a16:creationId xmlns:a16="http://schemas.microsoft.com/office/drawing/2014/main" id="{42C8F1F9-9CC6-EB6E-D110-07F5D5B89D8E}"/>
              </a:ext>
            </a:extLst>
          </p:cNvPr>
          <p:cNvSpPr txBox="1"/>
          <p:nvPr/>
        </p:nvSpPr>
        <p:spPr>
          <a:xfrm>
            <a:off x="609600" y="4941168"/>
            <a:ext cx="3595856" cy="1200329"/>
          </a:xfrm>
          <a:prstGeom prst="rect">
            <a:avLst/>
          </a:prstGeom>
          <a:noFill/>
        </p:spPr>
        <p:txBody>
          <a:bodyPr wrap="none" rtlCol="0">
            <a:spAutoFit/>
          </a:bodyPr>
          <a:lstStyle/>
          <a:p>
            <a:r>
              <a:rPr lang="en-GB" dirty="0"/>
              <a:t>Belgium </a:t>
            </a:r>
          </a:p>
          <a:p>
            <a:r>
              <a:rPr lang="en-GB" dirty="0"/>
              <a:t>-14,5% </a:t>
            </a:r>
          </a:p>
          <a:p>
            <a:r>
              <a:rPr lang="en-GB" dirty="0"/>
              <a:t>+ Increased volume in storage</a:t>
            </a:r>
          </a:p>
          <a:p>
            <a:r>
              <a:rPr lang="en-GB" dirty="0"/>
              <a:t>= -15%</a:t>
            </a:r>
          </a:p>
        </p:txBody>
      </p:sp>
    </p:spTree>
    <p:extLst>
      <p:ext uri="{BB962C8B-B14F-4D97-AF65-F5344CB8AC3E}">
        <p14:creationId xmlns:p14="http://schemas.microsoft.com/office/powerpoint/2010/main" val="34014421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10A414-7875-7F8D-DE70-9FC7A60622FA}"/>
              </a:ext>
            </a:extLst>
          </p:cNvPr>
          <p:cNvSpPr>
            <a:spLocks noGrp="1"/>
          </p:cNvSpPr>
          <p:nvPr>
            <p:ph type="title"/>
          </p:nvPr>
        </p:nvSpPr>
        <p:spPr>
          <a:xfrm>
            <a:off x="605440" y="441021"/>
            <a:ext cx="10972800" cy="565200"/>
          </a:xfrm>
        </p:spPr>
        <p:txBody>
          <a:bodyPr/>
          <a:lstStyle/>
          <a:p>
            <a:r>
              <a:rPr lang="en-GB" dirty="0"/>
              <a:t>Gas storage at better starting point than last year </a:t>
            </a:r>
            <a:endParaRPr lang="en-BE" dirty="0"/>
          </a:p>
        </p:txBody>
      </p:sp>
      <p:sp>
        <p:nvSpPr>
          <p:cNvPr id="7" name="Content Placeholder 6">
            <a:extLst>
              <a:ext uri="{FF2B5EF4-FFF2-40B4-BE49-F238E27FC236}">
                <a16:creationId xmlns:a16="http://schemas.microsoft.com/office/drawing/2014/main" id="{99AA3779-AD5E-C2BF-851D-9CDBD26B6F3C}"/>
              </a:ext>
            </a:extLst>
          </p:cNvPr>
          <p:cNvSpPr>
            <a:spLocks noGrp="1"/>
          </p:cNvSpPr>
          <p:nvPr>
            <p:ph idx="1"/>
          </p:nvPr>
        </p:nvSpPr>
        <p:spPr>
          <a:xfrm>
            <a:off x="576152" y="1043276"/>
            <a:ext cx="3254152" cy="4525963"/>
          </a:xfrm>
        </p:spPr>
        <p:txBody>
          <a:bodyPr/>
          <a:lstStyle/>
          <a:p>
            <a:r>
              <a:rPr lang="en-GB" dirty="0"/>
              <a:t>Low starting point in 2022</a:t>
            </a:r>
          </a:p>
          <a:p>
            <a:r>
              <a:rPr lang="en-GB" dirty="0"/>
              <a:t>Rush on gas in august to fill storage</a:t>
            </a:r>
          </a:p>
          <a:p>
            <a:r>
              <a:rPr lang="en-GB" dirty="0"/>
              <a:t>Better situation in 2023</a:t>
            </a:r>
          </a:p>
          <a:p>
            <a:pPr lvl="1"/>
            <a:r>
              <a:rPr lang="en-GB" dirty="0"/>
              <a:t>Mild winter 22 -23</a:t>
            </a:r>
          </a:p>
          <a:p>
            <a:pPr lvl="1"/>
            <a:r>
              <a:rPr lang="en-GB" dirty="0"/>
              <a:t>LNG installations up and running </a:t>
            </a:r>
            <a:endParaRPr lang="en-BE" dirty="0"/>
          </a:p>
        </p:txBody>
      </p:sp>
      <p:sp>
        <p:nvSpPr>
          <p:cNvPr id="5" name="Slide Number Placeholder 4">
            <a:extLst>
              <a:ext uri="{FF2B5EF4-FFF2-40B4-BE49-F238E27FC236}">
                <a16:creationId xmlns:a16="http://schemas.microsoft.com/office/drawing/2014/main" id="{7772E56E-BEED-9867-6A19-B2180E538113}"/>
              </a:ext>
            </a:extLst>
          </p:cNvPr>
          <p:cNvSpPr>
            <a:spLocks noGrp="1"/>
          </p:cNvSpPr>
          <p:nvPr>
            <p:ph type="sldNum" sz="quarter" idx="12"/>
          </p:nvPr>
        </p:nvSpPr>
        <p:spPr/>
        <p:txBody>
          <a:bodyPr/>
          <a:lstStyle/>
          <a:p>
            <a:fld id="{B6F15528-21DE-4FAA-801E-634DDDAF4B2B}" type="slidenum">
              <a:rPr lang="nl-BE" smtClean="0"/>
              <a:pPr/>
              <a:t>11</a:t>
            </a:fld>
            <a:endParaRPr lang="nl-BE"/>
          </a:p>
        </p:txBody>
      </p:sp>
      <p:pic>
        <p:nvPicPr>
          <p:cNvPr id="9" name="Picture 8">
            <a:extLst>
              <a:ext uri="{FF2B5EF4-FFF2-40B4-BE49-F238E27FC236}">
                <a16:creationId xmlns:a16="http://schemas.microsoft.com/office/drawing/2014/main" id="{6F4BE7B2-2B9F-8945-DC19-1A9EEA76F96C}"/>
              </a:ext>
            </a:extLst>
          </p:cNvPr>
          <p:cNvPicPr>
            <a:picLocks noChangeAspect="1"/>
          </p:cNvPicPr>
          <p:nvPr/>
        </p:nvPicPr>
        <p:blipFill>
          <a:blip r:embed="rId2"/>
          <a:stretch>
            <a:fillRect/>
          </a:stretch>
        </p:blipFill>
        <p:spPr>
          <a:xfrm>
            <a:off x="4545051" y="1030745"/>
            <a:ext cx="7566397" cy="4405800"/>
          </a:xfrm>
          <a:prstGeom prst="rect">
            <a:avLst/>
          </a:prstGeom>
        </p:spPr>
      </p:pic>
      <p:pic>
        <p:nvPicPr>
          <p:cNvPr id="3" name="Picture 2">
            <a:extLst>
              <a:ext uri="{FF2B5EF4-FFF2-40B4-BE49-F238E27FC236}">
                <a16:creationId xmlns:a16="http://schemas.microsoft.com/office/drawing/2014/main" id="{906B4A9A-2BEB-E3D2-9816-350EE09DAD6F}"/>
              </a:ext>
            </a:extLst>
          </p:cNvPr>
          <p:cNvPicPr>
            <a:picLocks noChangeAspect="1"/>
          </p:cNvPicPr>
          <p:nvPr/>
        </p:nvPicPr>
        <p:blipFill>
          <a:blip r:embed="rId3"/>
          <a:stretch>
            <a:fillRect/>
          </a:stretch>
        </p:blipFill>
        <p:spPr>
          <a:xfrm>
            <a:off x="25232" y="5461069"/>
            <a:ext cx="7225139" cy="1300386"/>
          </a:xfrm>
          <a:prstGeom prst="rect">
            <a:avLst/>
          </a:prstGeom>
        </p:spPr>
      </p:pic>
    </p:spTree>
    <p:extLst>
      <p:ext uri="{BB962C8B-B14F-4D97-AF65-F5344CB8AC3E}">
        <p14:creationId xmlns:p14="http://schemas.microsoft.com/office/powerpoint/2010/main" val="811668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FA395-6B8A-08A9-0062-3F4E1849F428}"/>
              </a:ext>
            </a:extLst>
          </p:cNvPr>
          <p:cNvSpPr>
            <a:spLocks noGrp="1"/>
          </p:cNvSpPr>
          <p:nvPr>
            <p:ph type="title"/>
          </p:nvPr>
        </p:nvSpPr>
        <p:spPr/>
        <p:txBody>
          <a:bodyPr/>
          <a:lstStyle/>
          <a:p>
            <a:r>
              <a:rPr lang="en-GB" dirty="0"/>
              <a:t>Still Russian </a:t>
            </a:r>
            <a:r>
              <a:rPr lang="en-GB" dirty="0" err="1"/>
              <a:t>gasflows</a:t>
            </a:r>
            <a:r>
              <a:rPr lang="en-GB" dirty="0"/>
              <a:t> coming to Europe</a:t>
            </a:r>
            <a:endParaRPr lang="en-BE" dirty="0"/>
          </a:p>
        </p:txBody>
      </p:sp>
      <p:pic>
        <p:nvPicPr>
          <p:cNvPr id="9" name="Content Placeholder 8">
            <a:extLst>
              <a:ext uri="{FF2B5EF4-FFF2-40B4-BE49-F238E27FC236}">
                <a16:creationId xmlns:a16="http://schemas.microsoft.com/office/drawing/2014/main" id="{9FE27CC0-D5BA-3325-6D97-04B4A51E3772}"/>
              </a:ext>
            </a:extLst>
          </p:cNvPr>
          <p:cNvPicPr>
            <a:picLocks noGrp="1" noChangeAspect="1"/>
          </p:cNvPicPr>
          <p:nvPr>
            <p:ph idx="1"/>
          </p:nvPr>
        </p:nvPicPr>
        <p:blipFill>
          <a:blip r:embed="rId2"/>
          <a:stretch>
            <a:fillRect/>
          </a:stretch>
        </p:blipFill>
        <p:spPr>
          <a:xfrm>
            <a:off x="1943708" y="1622425"/>
            <a:ext cx="8304583" cy="4525963"/>
          </a:xfrm>
        </p:spPr>
      </p:pic>
      <p:sp>
        <p:nvSpPr>
          <p:cNvPr id="4" name="Date Placeholder 3">
            <a:extLst>
              <a:ext uri="{FF2B5EF4-FFF2-40B4-BE49-F238E27FC236}">
                <a16:creationId xmlns:a16="http://schemas.microsoft.com/office/drawing/2014/main" id="{185844D7-9DE2-AC4A-24C7-ED7ACB71B480}"/>
              </a:ext>
            </a:extLst>
          </p:cNvPr>
          <p:cNvSpPr>
            <a:spLocks noGrp="1"/>
          </p:cNvSpPr>
          <p:nvPr>
            <p:ph type="dt" sz="half" idx="10"/>
          </p:nvPr>
        </p:nvSpPr>
        <p:spPr/>
        <p:txBody>
          <a:bodyPr/>
          <a:lstStyle/>
          <a:p>
            <a:fld id="{A5BF5FAA-1273-48C9-A418-A52A86AE5014}" type="datetime1">
              <a:rPr lang="nl-BE" smtClean="0"/>
              <a:t>30/05/2023</a:t>
            </a:fld>
            <a:endParaRPr lang="nl-BE" dirty="0"/>
          </a:p>
        </p:txBody>
      </p:sp>
      <p:sp>
        <p:nvSpPr>
          <p:cNvPr id="5" name="Footer Placeholder 4">
            <a:extLst>
              <a:ext uri="{FF2B5EF4-FFF2-40B4-BE49-F238E27FC236}">
                <a16:creationId xmlns:a16="http://schemas.microsoft.com/office/drawing/2014/main" id="{EA5F1375-6ABD-26E2-33DE-64498F013DA3}"/>
              </a:ext>
            </a:extLst>
          </p:cNvPr>
          <p:cNvSpPr>
            <a:spLocks noGrp="1"/>
          </p:cNvSpPr>
          <p:nvPr>
            <p:ph type="ftr" sz="quarter" idx="11"/>
          </p:nvPr>
        </p:nvSpPr>
        <p:spPr/>
        <p:txBody>
          <a:bodyPr/>
          <a:lstStyle/>
          <a:p>
            <a:endParaRPr lang="nl-BE" dirty="0"/>
          </a:p>
        </p:txBody>
      </p:sp>
      <p:sp>
        <p:nvSpPr>
          <p:cNvPr id="6" name="Slide Number Placeholder 5">
            <a:extLst>
              <a:ext uri="{FF2B5EF4-FFF2-40B4-BE49-F238E27FC236}">
                <a16:creationId xmlns:a16="http://schemas.microsoft.com/office/drawing/2014/main" id="{488FC15F-6CE5-F658-2F19-E21784E19124}"/>
              </a:ext>
            </a:extLst>
          </p:cNvPr>
          <p:cNvSpPr>
            <a:spLocks noGrp="1"/>
          </p:cNvSpPr>
          <p:nvPr>
            <p:ph type="sldNum" sz="quarter" idx="12"/>
          </p:nvPr>
        </p:nvSpPr>
        <p:spPr/>
        <p:txBody>
          <a:bodyPr/>
          <a:lstStyle/>
          <a:p>
            <a:fld id="{9BE375CD-4755-4D83-B134-E6AD5007676A}" type="slidenum">
              <a:rPr lang="nl-BE" smtClean="0"/>
              <a:t>12</a:t>
            </a:fld>
            <a:endParaRPr lang="nl-BE"/>
          </a:p>
        </p:txBody>
      </p:sp>
    </p:spTree>
    <p:extLst>
      <p:ext uri="{BB962C8B-B14F-4D97-AF65-F5344CB8AC3E}">
        <p14:creationId xmlns:p14="http://schemas.microsoft.com/office/powerpoint/2010/main" val="2494634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CE0B3-7FB6-8F76-ED31-920CBCFAC18C}"/>
              </a:ext>
            </a:extLst>
          </p:cNvPr>
          <p:cNvSpPr>
            <a:spLocks noGrp="1"/>
          </p:cNvSpPr>
          <p:nvPr>
            <p:ph type="title"/>
          </p:nvPr>
        </p:nvSpPr>
        <p:spPr/>
        <p:txBody>
          <a:bodyPr>
            <a:normAutofit fontScale="90000"/>
          </a:bodyPr>
          <a:lstStyle/>
          <a:p>
            <a:r>
              <a:rPr lang="en-GB" dirty="0"/>
              <a:t>Winter 2023 – 2024 ENTSOG outlook – risks: cold winter and disruption Ru flows </a:t>
            </a:r>
            <a:endParaRPr lang="en-BE" dirty="0"/>
          </a:p>
        </p:txBody>
      </p:sp>
      <p:sp>
        <p:nvSpPr>
          <p:cNvPr id="3" name="Content Placeholder 2">
            <a:extLst>
              <a:ext uri="{FF2B5EF4-FFF2-40B4-BE49-F238E27FC236}">
                <a16:creationId xmlns:a16="http://schemas.microsoft.com/office/drawing/2014/main" id="{C43E121C-657D-A607-3936-44865F92C0B1}"/>
              </a:ext>
            </a:extLst>
          </p:cNvPr>
          <p:cNvSpPr>
            <a:spLocks noGrp="1"/>
          </p:cNvSpPr>
          <p:nvPr>
            <p:ph idx="1"/>
          </p:nvPr>
        </p:nvSpPr>
        <p:spPr/>
        <p:txBody>
          <a:bodyPr>
            <a:normAutofit lnSpcReduction="10000"/>
          </a:bodyPr>
          <a:lstStyle/>
          <a:p>
            <a:r>
              <a:rPr lang="en-GB" dirty="0">
                <a:effectLst/>
                <a:latin typeface="Arial" panose="020B0604020202020204" pitchFamily="34" charset="0"/>
              </a:rPr>
              <a:t>The gas infrastructure can efficiently reduce the dependence on Russian supply</a:t>
            </a:r>
          </a:p>
          <a:p>
            <a:r>
              <a:rPr lang="en-GB" dirty="0">
                <a:effectLst/>
                <a:latin typeface="Arial" panose="020B0604020202020204" pitchFamily="34" charset="0"/>
              </a:rPr>
              <a:t>Even in case of the full Russia supply disruption, cooperation between the countries could allow for efficient injection during the summer 2023 and preparation for winter.</a:t>
            </a:r>
          </a:p>
          <a:p>
            <a:r>
              <a:rPr lang="en-GB" dirty="0">
                <a:effectLst/>
                <a:latin typeface="Arial" panose="020B0604020202020204" pitchFamily="34" charset="0"/>
              </a:rPr>
              <a:t>Storages play an essential role to ensure security of supply, </a:t>
            </a:r>
          </a:p>
          <a:p>
            <a:pPr lvl="1"/>
            <a:r>
              <a:rPr lang="en-GB" dirty="0">
                <a:effectLst/>
                <a:latin typeface="Arial" panose="020B0604020202020204" pitchFamily="34" charset="0"/>
              </a:rPr>
              <a:t>An early significant storage withdrawals will result in low storage levels at the end of the winter season. =&gt; negative impact on the flexibility of the gas system. </a:t>
            </a:r>
          </a:p>
          <a:p>
            <a:r>
              <a:rPr lang="en-GB" dirty="0">
                <a:effectLst/>
                <a:latin typeface="Arial" panose="020B0604020202020204" pitchFamily="34" charset="0"/>
              </a:rPr>
              <a:t>From the security of supply perspective, it would be important to inject gas during the summer season and kee</a:t>
            </a:r>
            <a:r>
              <a:rPr lang="en-GB" dirty="0">
                <a:latin typeface="Arial" panose="020B0604020202020204" pitchFamily="34" charset="0"/>
              </a:rPr>
              <a:t>p </a:t>
            </a:r>
            <a:r>
              <a:rPr lang="en-GB" dirty="0">
                <a:effectLst/>
                <a:latin typeface="Arial" panose="020B0604020202020204" pitchFamily="34" charset="0"/>
              </a:rPr>
              <a:t>storage on adequate level until the end of the winter.</a:t>
            </a:r>
          </a:p>
          <a:p>
            <a:r>
              <a:rPr lang="en-GB" dirty="0">
                <a:effectLst/>
                <a:latin typeface="Arial" panose="020B0604020202020204" pitchFamily="34" charset="0"/>
              </a:rPr>
              <a:t>In case of full disruption of Russian supplies during winter</a:t>
            </a:r>
            <a:r>
              <a:rPr lang="en-GB" dirty="0">
                <a:solidFill>
                  <a:srgbClr val="FF0000"/>
                </a:solidFill>
                <a:effectLst/>
                <a:latin typeface="Arial" panose="020B0604020202020204" pitchFamily="34" charset="0"/>
              </a:rPr>
              <a:t>, additional measures might</a:t>
            </a:r>
            <a:br>
              <a:rPr lang="en-GB" dirty="0">
                <a:solidFill>
                  <a:srgbClr val="FF0000"/>
                </a:solidFill>
              </a:rPr>
            </a:br>
            <a:r>
              <a:rPr lang="en-GB" dirty="0">
                <a:solidFill>
                  <a:srgbClr val="FF0000"/>
                </a:solidFill>
                <a:effectLst/>
                <a:latin typeface="Arial" panose="020B0604020202020204" pitchFamily="34" charset="0"/>
              </a:rPr>
              <a:t>be needed to save significant volumes of the gas for the end of the season</a:t>
            </a:r>
            <a:r>
              <a:rPr lang="en-GB" dirty="0">
                <a:effectLst/>
                <a:latin typeface="Arial" panose="020B0604020202020204" pitchFamily="34" charset="0"/>
              </a:rPr>
              <a:t>, and to</a:t>
            </a:r>
            <a:br>
              <a:rPr lang="en-GB" dirty="0"/>
            </a:br>
            <a:r>
              <a:rPr lang="en-GB" dirty="0">
                <a:effectLst/>
                <a:latin typeface="Arial" panose="020B0604020202020204" pitchFamily="34" charset="0"/>
              </a:rPr>
              <a:t>avoid risk of demand curtailment in case of cold winter and peak demand situations.</a:t>
            </a:r>
          </a:p>
          <a:p>
            <a:r>
              <a:rPr lang="en-GB" dirty="0">
                <a:effectLst/>
                <a:latin typeface="Arial" panose="020B0604020202020204" pitchFamily="34" charset="0"/>
              </a:rPr>
              <a:t>Simulation results showed that the introduction of possible measures such as</a:t>
            </a:r>
            <a:br>
              <a:rPr lang="en-GB" dirty="0"/>
            </a:br>
            <a:r>
              <a:rPr lang="en-GB" dirty="0">
                <a:effectLst/>
                <a:latin typeface="Arial" panose="020B0604020202020204" pitchFamily="34" charset="0"/>
              </a:rPr>
              <a:t>enhanced capacities, additional supplies and decrease in gas demand by 15% (as a</a:t>
            </a:r>
            <a:br>
              <a:rPr lang="en-GB" dirty="0"/>
            </a:br>
            <a:r>
              <a:rPr lang="en-GB" dirty="0">
                <a:effectLst/>
                <a:latin typeface="Arial" panose="020B0604020202020204" pitchFamily="34" charset="0"/>
              </a:rPr>
              <a:t>result of organic reduction due to high prices or policy-based demand measures)</a:t>
            </a:r>
            <a:br>
              <a:rPr lang="en-GB" dirty="0"/>
            </a:br>
            <a:r>
              <a:rPr lang="en-GB" dirty="0">
                <a:effectLst/>
                <a:latin typeface="Arial" panose="020B0604020202020204" pitchFamily="34" charset="0"/>
              </a:rPr>
              <a:t>would avoid demand curtailment risks and to reach adequate storage level.</a:t>
            </a:r>
            <a:endParaRPr lang="en-BE" dirty="0"/>
          </a:p>
        </p:txBody>
      </p:sp>
      <p:sp>
        <p:nvSpPr>
          <p:cNvPr id="4" name="Date Placeholder 3">
            <a:extLst>
              <a:ext uri="{FF2B5EF4-FFF2-40B4-BE49-F238E27FC236}">
                <a16:creationId xmlns:a16="http://schemas.microsoft.com/office/drawing/2014/main" id="{2BC997CA-A52B-1CCC-93FA-60C6D4D00E4F}"/>
              </a:ext>
            </a:extLst>
          </p:cNvPr>
          <p:cNvSpPr>
            <a:spLocks noGrp="1"/>
          </p:cNvSpPr>
          <p:nvPr>
            <p:ph type="dt" sz="half" idx="10"/>
          </p:nvPr>
        </p:nvSpPr>
        <p:spPr/>
        <p:txBody>
          <a:bodyPr/>
          <a:lstStyle/>
          <a:p>
            <a:fld id="{A5BF5FAA-1273-48C9-A418-A52A86AE5014}" type="datetime1">
              <a:rPr lang="nl-BE" smtClean="0"/>
              <a:t>30/05/2023</a:t>
            </a:fld>
            <a:endParaRPr lang="nl-BE" dirty="0"/>
          </a:p>
        </p:txBody>
      </p:sp>
      <p:sp>
        <p:nvSpPr>
          <p:cNvPr id="5" name="Footer Placeholder 4">
            <a:extLst>
              <a:ext uri="{FF2B5EF4-FFF2-40B4-BE49-F238E27FC236}">
                <a16:creationId xmlns:a16="http://schemas.microsoft.com/office/drawing/2014/main" id="{549E69F1-0EA3-9F93-525D-887E25523C7C}"/>
              </a:ext>
            </a:extLst>
          </p:cNvPr>
          <p:cNvSpPr>
            <a:spLocks noGrp="1"/>
          </p:cNvSpPr>
          <p:nvPr>
            <p:ph type="ftr" sz="quarter" idx="11"/>
          </p:nvPr>
        </p:nvSpPr>
        <p:spPr/>
        <p:txBody>
          <a:bodyPr/>
          <a:lstStyle/>
          <a:p>
            <a:endParaRPr lang="nl-BE" dirty="0"/>
          </a:p>
        </p:txBody>
      </p:sp>
      <p:sp>
        <p:nvSpPr>
          <p:cNvPr id="6" name="Slide Number Placeholder 5">
            <a:extLst>
              <a:ext uri="{FF2B5EF4-FFF2-40B4-BE49-F238E27FC236}">
                <a16:creationId xmlns:a16="http://schemas.microsoft.com/office/drawing/2014/main" id="{B992F5C2-9308-08F5-6E9C-7A4A39994BE4}"/>
              </a:ext>
            </a:extLst>
          </p:cNvPr>
          <p:cNvSpPr>
            <a:spLocks noGrp="1"/>
          </p:cNvSpPr>
          <p:nvPr>
            <p:ph type="sldNum" sz="quarter" idx="12"/>
          </p:nvPr>
        </p:nvSpPr>
        <p:spPr/>
        <p:txBody>
          <a:bodyPr/>
          <a:lstStyle/>
          <a:p>
            <a:fld id="{9BE375CD-4755-4D83-B134-E6AD5007676A}" type="slidenum">
              <a:rPr lang="nl-BE" smtClean="0"/>
              <a:t>13</a:t>
            </a:fld>
            <a:endParaRPr lang="nl-BE"/>
          </a:p>
        </p:txBody>
      </p:sp>
    </p:spTree>
    <p:extLst>
      <p:ext uri="{BB962C8B-B14F-4D97-AF65-F5344CB8AC3E}">
        <p14:creationId xmlns:p14="http://schemas.microsoft.com/office/powerpoint/2010/main" val="32063422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AD809DE-580F-7B99-11ED-A220F79203DA}"/>
              </a:ext>
            </a:extLst>
          </p:cNvPr>
          <p:cNvSpPr>
            <a:spLocks noGrp="1"/>
          </p:cNvSpPr>
          <p:nvPr>
            <p:ph type="title"/>
          </p:nvPr>
        </p:nvSpPr>
        <p:spPr/>
        <p:txBody>
          <a:bodyPr>
            <a:normAutofit fontScale="90000"/>
          </a:bodyPr>
          <a:lstStyle/>
          <a:p>
            <a:r>
              <a:rPr lang="en-GB" dirty="0"/>
              <a:t>Crisis and supply side</a:t>
            </a:r>
            <a:endParaRPr lang="en-BE" dirty="0"/>
          </a:p>
        </p:txBody>
      </p:sp>
      <p:sp>
        <p:nvSpPr>
          <p:cNvPr id="4" name="Date Placeholder 3">
            <a:extLst>
              <a:ext uri="{FF2B5EF4-FFF2-40B4-BE49-F238E27FC236}">
                <a16:creationId xmlns:a16="http://schemas.microsoft.com/office/drawing/2014/main" id="{A2596F44-6CB5-0278-9B6D-3C3B953CBF20}"/>
              </a:ext>
            </a:extLst>
          </p:cNvPr>
          <p:cNvSpPr>
            <a:spLocks noGrp="1"/>
          </p:cNvSpPr>
          <p:nvPr>
            <p:ph type="dt" sz="half" idx="10"/>
          </p:nvPr>
        </p:nvSpPr>
        <p:spPr/>
        <p:txBody>
          <a:bodyPr/>
          <a:lstStyle/>
          <a:p>
            <a:fld id="{A5BF5FAA-1273-48C9-A418-A52A86AE5014}" type="datetime1">
              <a:rPr lang="nl-BE" smtClean="0"/>
              <a:t>30/05/2023</a:t>
            </a:fld>
            <a:endParaRPr lang="nl-BE" dirty="0"/>
          </a:p>
        </p:txBody>
      </p:sp>
      <p:sp>
        <p:nvSpPr>
          <p:cNvPr id="5" name="Footer Placeholder 4">
            <a:extLst>
              <a:ext uri="{FF2B5EF4-FFF2-40B4-BE49-F238E27FC236}">
                <a16:creationId xmlns:a16="http://schemas.microsoft.com/office/drawing/2014/main" id="{6C794CB0-1D51-1160-0EE7-50533AD9C62A}"/>
              </a:ext>
            </a:extLst>
          </p:cNvPr>
          <p:cNvSpPr>
            <a:spLocks noGrp="1"/>
          </p:cNvSpPr>
          <p:nvPr>
            <p:ph type="ftr" sz="quarter" idx="11"/>
          </p:nvPr>
        </p:nvSpPr>
        <p:spPr/>
        <p:txBody>
          <a:bodyPr/>
          <a:lstStyle/>
          <a:p>
            <a:endParaRPr lang="nl-BE" dirty="0"/>
          </a:p>
        </p:txBody>
      </p:sp>
      <p:sp>
        <p:nvSpPr>
          <p:cNvPr id="6" name="Slide Number Placeholder 5">
            <a:extLst>
              <a:ext uri="{FF2B5EF4-FFF2-40B4-BE49-F238E27FC236}">
                <a16:creationId xmlns:a16="http://schemas.microsoft.com/office/drawing/2014/main" id="{4C9AFF22-8B3F-9D6F-0F5B-06E9D1768C69}"/>
              </a:ext>
            </a:extLst>
          </p:cNvPr>
          <p:cNvSpPr>
            <a:spLocks noGrp="1"/>
          </p:cNvSpPr>
          <p:nvPr>
            <p:ph type="sldNum" sz="quarter" idx="12"/>
          </p:nvPr>
        </p:nvSpPr>
        <p:spPr/>
        <p:txBody>
          <a:bodyPr/>
          <a:lstStyle/>
          <a:p>
            <a:fld id="{9BE375CD-4755-4D83-B134-E6AD5007676A}" type="slidenum">
              <a:rPr lang="nl-BE" smtClean="0"/>
              <a:t>14</a:t>
            </a:fld>
            <a:endParaRPr lang="nl-BE"/>
          </a:p>
        </p:txBody>
      </p:sp>
    </p:spTree>
    <p:extLst>
      <p:ext uri="{BB962C8B-B14F-4D97-AF65-F5344CB8AC3E}">
        <p14:creationId xmlns:p14="http://schemas.microsoft.com/office/powerpoint/2010/main" val="35929087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rot="5400000">
            <a:off x="-569469" y="2566093"/>
            <a:ext cx="1517418" cy="297937"/>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err="1">
                <a:ln>
                  <a:noFill/>
                </a:ln>
                <a:solidFill>
                  <a:prstClr val="black"/>
                </a:solidFill>
                <a:effectLst/>
                <a:uLnTx/>
                <a:uFillTx/>
                <a:latin typeface="Lucida Sans Unicode"/>
                <a:ea typeface="+mn-ea"/>
                <a:cs typeface="+mn-cs"/>
              </a:rPr>
              <a:t>Federaal</a:t>
            </a:r>
            <a:endParaRPr kumimoji="0" lang="en-GB" sz="900" b="1" i="0" u="none" strike="noStrike" kern="1200" cap="none" spc="0" normalizeH="0" baseline="0" noProof="0">
              <a:ln>
                <a:noFill/>
              </a:ln>
              <a:solidFill>
                <a:prstClr val="black"/>
              </a:solidFill>
              <a:effectLst/>
              <a:uLnTx/>
              <a:uFillTx/>
              <a:latin typeface="Lucida Sans Unicode"/>
              <a:ea typeface="+mn-ea"/>
              <a:cs typeface="+mn-cs"/>
            </a:endParaRPr>
          </a:p>
        </p:txBody>
      </p:sp>
      <p:sp>
        <p:nvSpPr>
          <p:cNvPr id="32" name="Rectangle 31"/>
          <p:cNvSpPr/>
          <p:nvPr/>
        </p:nvSpPr>
        <p:spPr>
          <a:xfrm rot="5400000">
            <a:off x="-545551" y="4085438"/>
            <a:ext cx="1455571" cy="310891"/>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err="1">
                <a:ln>
                  <a:noFill/>
                </a:ln>
                <a:solidFill>
                  <a:prstClr val="black"/>
                </a:solidFill>
                <a:effectLst/>
                <a:uLnTx/>
                <a:uFillTx/>
                <a:latin typeface="Lucida Sans Unicode"/>
                <a:ea typeface="+mn-ea"/>
                <a:cs typeface="+mn-cs"/>
              </a:rPr>
              <a:t>Vlaanderen</a:t>
            </a:r>
            <a:endParaRPr kumimoji="0" lang="en-GB" sz="900" b="1" i="0" u="none" strike="noStrike" kern="1200" cap="none" spc="0" normalizeH="0" baseline="0" noProof="0">
              <a:ln>
                <a:noFill/>
              </a:ln>
              <a:solidFill>
                <a:prstClr val="black"/>
              </a:solidFill>
              <a:effectLst/>
              <a:uLnTx/>
              <a:uFillTx/>
              <a:latin typeface="Lucida Sans Unicode"/>
              <a:ea typeface="+mn-ea"/>
              <a:cs typeface="+mn-cs"/>
            </a:endParaRPr>
          </a:p>
        </p:txBody>
      </p:sp>
      <p:sp>
        <p:nvSpPr>
          <p:cNvPr id="43" name="Rectangle 42"/>
          <p:cNvSpPr/>
          <p:nvPr/>
        </p:nvSpPr>
        <p:spPr>
          <a:xfrm>
            <a:off x="473155" y="2038720"/>
            <a:ext cx="875867" cy="545466"/>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Nieuwe</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Bijzondere</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Accijns</a:t>
            </a:r>
            <a:r>
              <a:rPr kumimoji="0" lang="en-GB" sz="800" b="0" i="0" u="none" strike="noStrike" kern="1200" cap="none" spc="0" normalizeH="0" baseline="0" noProof="0">
                <a:ln>
                  <a:noFill/>
                </a:ln>
                <a:solidFill>
                  <a:prstClr val="black"/>
                </a:solidFill>
                <a:effectLst/>
                <a:uLnTx/>
                <a:uFillTx/>
                <a:latin typeface="Lucida Sans Unicode"/>
                <a:ea typeface="+mn-ea"/>
                <a:cs typeface="+mn-cs"/>
              </a:rPr>
              <a:t> 1/1/22</a:t>
            </a:r>
          </a:p>
        </p:txBody>
      </p:sp>
      <p:sp>
        <p:nvSpPr>
          <p:cNvPr id="22" name="Chevron 19">
            <a:extLst>
              <a:ext uri="{FF2B5EF4-FFF2-40B4-BE49-F238E27FC236}">
                <a16:creationId xmlns:a16="http://schemas.microsoft.com/office/drawing/2014/main" id="{10E15263-6156-C6D0-2BFB-FD1471B958A7}"/>
              </a:ext>
            </a:extLst>
          </p:cNvPr>
          <p:cNvSpPr/>
          <p:nvPr/>
        </p:nvSpPr>
        <p:spPr>
          <a:xfrm>
            <a:off x="7576592" y="1627592"/>
            <a:ext cx="612797" cy="213756"/>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NOV</a:t>
            </a:r>
          </a:p>
        </p:txBody>
      </p:sp>
      <p:sp>
        <p:nvSpPr>
          <p:cNvPr id="23" name="Chevron 19">
            <a:extLst>
              <a:ext uri="{FF2B5EF4-FFF2-40B4-BE49-F238E27FC236}">
                <a16:creationId xmlns:a16="http://schemas.microsoft.com/office/drawing/2014/main" id="{1F3DDB6B-1885-1CA3-A1D1-D03B772893C5}"/>
              </a:ext>
            </a:extLst>
          </p:cNvPr>
          <p:cNvSpPr/>
          <p:nvPr/>
        </p:nvSpPr>
        <p:spPr>
          <a:xfrm>
            <a:off x="8311775" y="1625909"/>
            <a:ext cx="659894" cy="224841"/>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DEC</a:t>
            </a:r>
          </a:p>
        </p:txBody>
      </p:sp>
      <p:sp>
        <p:nvSpPr>
          <p:cNvPr id="24" name="Rectangle 23">
            <a:extLst>
              <a:ext uri="{FF2B5EF4-FFF2-40B4-BE49-F238E27FC236}">
                <a16:creationId xmlns:a16="http://schemas.microsoft.com/office/drawing/2014/main" id="{8469B804-4507-3361-BD76-B3E6997AA4F8}"/>
              </a:ext>
            </a:extLst>
          </p:cNvPr>
          <p:cNvSpPr/>
          <p:nvPr/>
        </p:nvSpPr>
        <p:spPr>
          <a:xfrm>
            <a:off x="1988309" y="2052570"/>
            <a:ext cx="774648" cy="339802"/>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BTW EL 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1/3/22</a:t>
            </a:r>
          </a:p>
        </p:txBody>
      </p:sp>
      <p:sp>
        <p:nvSpPr>
          <p:cNvPr id="62" name="Chevron 19">
            <a:extLst>
              <a:ext uri="{FF2B5EF4-FFF2-40B4-BE49-F238E27FC236}">
                <a16:creationId xmlns:a16="http://schemas.microsoft.com/office/drawing/2014/main" id="{35D493FD-A230-111A-26F9-9E8D97419F97}"/>
              </a:ext>
            </a:extLst>
          </p:cNvPr>
          <p:cNvSpPr/>
          <p:nvPr/>
        </p:nvSpPr>
        <p:spPr>
          <a:xfrm>
            <a:off x="4802402" y="1604939"/>
            <a:ext cx="659894" cy="213756"/>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JUL</a:t>
            </a:r>
          </a:p>
        </p:txBody>
      </p:sp>
      <p:sp>
        <p:nvSpPr>
          <p:cNvPr id="64" name="Chevron 19">
            <a:extLst>
              <a:ext uri="{FF2B5EF4-FFF2-40B4-BE49-F238E27FC236}">
                <a16:creationId xmlns:a16="http://schemas.microsoft.com/office/drawing/2014/main" id="{470DBC8E-7B8E-182E-B52B-E9B197796ABC}"/>
              </a:ext>
            </a:extLst>
          </p:cNvPr>
          <p:cNvSpPr/>
          <p:nvPr/>
        </p:nvSpPr>
        <p:spPr>
          <a:xfrm>
            <a:off x="1955733" y="1600652"/>
            <a:ext cx="727167" cy="224841"/>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MARCH</a:t>
            </a:r>
          </a:p>
        </p:txBody>
      </p:sp>
      <p:sp>
        <p:nvSpPr>
          <p:cNvPr id="65" name="Chevron 19">
            <a:extLst>
              <a:ext uri="{FF2B5EF4-FFF2-40B4-BE49-F238E27FC236}">
                <a16:creationId xmlns:a16="http://schemas.microsoft.com/office/drawing/2014/main" id="{D31275E0-392A-FEC4-0247-B4D037B85B1C}"/>
              </a:ext>
            </a:extLst>
          </p:cNvPr>
          <p:cNvSpPr/>
          <p:nvPr/>
        </p:nvSpPr>
        <p:spPr>
          <a:xfrm>
            <a:off x="2752902" y="1608331"/>
            <a:ext cx="659894" cy="224841"/>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APR</a:t>
            </a:r>
          </a:p>
        </p:txBody>
      </p:sp>
      <p:sp>
        <p:nvSpPr>
          <p:cNvPr id="68" name="Chevron 19">
            <a:extLst>
              <a:ext uri="{FF2B5EF4-FFF2-40B4-BE49-F238E27FC236}">
                <a16:creationId xmlns:a16="http://schemas.microsoft.com/office/drawing/2014/main" id="{656B8A3F-62EB-2DBE-3B10-2059ED42B70E}"/>
              </a:ext>
            </a:extLst>
          </p:cNvPr>
          <p:cNvSpPr/>
          <p:nvPr/>
        </p:nvSpPr>
        <p:spPr>
          <a:xfrm>
            <a:off x="5462296" y="1619240"/>
            <a:ext cx="659894" cy="224841"/>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AUG</a:t>
            </a:r>
          </a:p>
        </p:txBody>
      </p:sp>
      <p:sp>
        <p:nvSpPr>
          <p:cNvPr id="70" name="Rectangle 69">
            <a:extLst>
              <a:ext uri="{FF2B5EF4-FFF2-40B4-BE49-F238E27FC236}">
                <a16:creationId xmlns:a16="http://schemas.microsoft.com/office/drawing/2014/main" id="{650AA4B5-58BC-445F-5CE7-58F40782F60A}"/>
              </a:ext>
            </a:extLst>
          </p:cNvPr>
          <p:cNvSpPr/>
          <p:nvPr/>
        </p:nvSpPr>
        <p:spPr>
          <a:xfrm>
            <a:off x="2848796" y="2062140"/>
            <a:ext cx="780145" cy="362004"/>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BTW Gas 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1/4/22</a:t>
            </a:r>
          </a:p>
        </p:txBody>
      </p:sp>
      <p:sp>
        <p:nvSpPr>
          <p:cNvPr id="71" name="Rectangle 70">
            <a:extLst>
              <a:ext uri="{FF2B5EF4-FFF2-40B4-BE49-F238E27FC236}">
                <a16:creationId xmlns:a16="http://schemas.microsoft.com/office/drawing/2014/main" id="{822DE6FD-253F-51D2-F6EC-5CD24641AB4E}"/>
              </a:ext>
            </a:extLst>
          </p:cNvPr>
          <p:cNvSpPr/>
          <p:nvPr/>
        </p:nvSpPr>
        <p:spPr>
          <a:xfrm>
            <a:off x="4762301" y="1945613"/>
            <a:ext cx="849221" cy="355668"/>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BTW G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Prof. 1/7/22</a:t>
            </a:r>
          </a:p>
        </p:txBody>
      </p:sp>
      <p:sp>
        <p:nvSpPr>
          <p:cNvPr id="77" name="Arrow: Pentagon 76">
            <a:extLst>
              <a:ext uri="{FF2B5EF4-FFF2-40B4-BE49-F238E27FC236}">
                <a16:creationId xmlns:a16="http://schemas.microsoft.com/office/drawing/2014/main" id="{DAF1FA81-6B34-9022-23B6-7A4D93D979FE}"/>
              </a:ext>
            </a:extLst>
          </p:cNvPr>
          <p:cNvSpPr/>
          <p:nvPr/>
        </p:nvSpPr>
        <p:spPr>
          <a:xfrm>
            <a:off x="4770050" y="2368231"/>
            <a:ext cx="1302850" cy="473584"/>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Verwarmings-premie</a:t>
            </a:r>
            <a:endParaRPr kumimoji="0" lang="en-GB" sz="800" b="0" i="0" u="none" strike="noStrike" kern="1200" cap="none" spc="0" normalizeH="0" baseline="0" noProof="0">
              <a:ln>
                <a:noFill/>
              </a:ln>
              <a:solidFill>
                <a:prstClr val="black"/>
              </a:solidFill>
              <a:effectLst/>
              <a:uLnTx/>
              <a:uFillTx/>
              <a:latin typeface="Lucida Sans Unicod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Fase</a:t>
            </a:r>
            <a:r>
              <a:rPr kumimoji="0" lang="en-GB" sz="800" b="0" i="0" u="none" strike="noStrike" kern="1200" cap="none" spc="0" normalizeH="0" baseline="0" noProof="0">
                <a:ln>
                  <a:noFill/>
                </a:ln>
                <a:solidFill>
                  <a:prstClr val="black"/>
                </a:solidFill>
                <a:effectLst/>
                <a:uLnTx/>
                <a:uFillTx/>
                <a:latin typeface="Lucida Sans Unicode"/>
                <a:ea typeface="+mn-ea"/>
                <a:cs typeface="+mn-cs"/>
              </a:rPr>
              <a:t> I +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Fase</a:t>
            </a:r>
            <a:r>
              <a:rPr kumimoji="0" lang="en-GB" sz="800" b="0" i="0" u="none" strike="noStrike" kern="1200" cap="none" spc="0" normalizeH="0" baseline="0" noProof="0">
                <a:ln>
                  <a:noFill/>
                </a:ln>
                <a:solidFill>
                  <a:prstClr val="black"/>
                </a:solidFill>
                <a:effectLst/>
                <a:uLnTx/>
                <a:uFillTx/>
                <a:latin typeface="Lucida Sans Unicode"/>
                <a:ea typeface="+mn-ea"/>
                <a:cs typeface="+mn-cs"/>
              </a:rPr>
              <a:t> I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1/7/2022 tot 2023</a:t>
            </a:r>
          </a:p>
        </p:txBody>
      </p:sp>
      <p:sp>
        <p:nvSpPr>
          <p:cNvPr id="80" name="Arrow: Pentagon 79">
            <a:extLst>
              <a:ext uri="{FF2B5EF4-FFF2-40B4-BE49-F238E27FC236}">
                <a16:creationId xmlns:a16="http://schemas.microsoft.com/office/drawing/2014/main" id="{4B1B248C-92E2-6FCD-E8B6-F94D74DBED07}"/>
              </a:ext>
            </a:extLst>
          </p:cNvPr>
          <p:cNvSpPr/>
          <p:nvPr/>
        </p:nvSpPr>
        <p:spPr>
          <a:xfrm>
            <a:off x="7576593" y="2458802"/>
            <a:ext cx="1549076" cy="358345"/>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Basispakket</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I: EL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en</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Gas tot in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Fase</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1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fase</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II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manueel</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2023</a:t>
            </a:r>
          </a:p>
        </p:txBody>
      </p:sp>
      <p:sp>
        <p:nvSpPr>
          <p:cNvPr id="81" name="Rectangle 80">
            <a:extLst>
              <a:ext uri="{FF2B5EF4-FFF2-40B4-BE49-F238E27FC236}">
                <a16:creationId xmlns:a16="http://schemas.microsoft.com/office/drawing/2014/main" id="{C4015167-0FED-C09E-507A-86223A216AE5}"/>
              </a:ext>
            </a:extLst>
          </p:cNvPr>
          <p:cNvSpPr/>
          <p:nvPr/>
        </p:nvSpPr>
        <p:spPr>
          <a:xfrm>
            <a:off x="2632264" y="3945042"/>
            <a:ext cx="901170" cy="541306"/>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Maandfact</a:t>
            </a:r>
            <a:r>
              <a:rPr kumimoji="0" lang="en-GB" sz="800" b="0" i="0" u="none" strike="noStrike" kern="1200" cap="none" spc="0" normalizeH="0" baseline="0" noProof="0">
                <a:ln>
                  <a:noFill/>
                </a:ln>
                <a:solidFill>
                  <a:prstClr val="black"/>
                </a:solidFill>
                <a:effectLst/>
                <a:uLnTx/>
                <a:uFillTx/>
                <a:latin typeface="Lucida Sans Unicode"/>
                <a:ea typeface="+mn-ea"/>
                <a:cs typeface="+mn-cs"/>
              </a:rPr>
              <a:t>. EL 200.000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klanten</a:t>
            </a:r>
            <a:r>
              <a:rPr kumimoji="0" lang="en-GB" sz="800" b="0" i="0" u="none" strike="noStrike" kern="1200" cap="none" spc="0" normalizeH="0" baseline="0" noProof="0">
                <a:ln>
                  <a:noFill/>
                </a:ln>
                <a:solidFill>
                  <a:prstClr val="black"/>
                </a:solidFill>
                <a:effectLst/>
                <a:uLnTx/>
                <a:uFillTx/>
                <a:latin typeface="Lucida Sans Unicode"/>
                <a:ea typeface="+mn-ea"/>
                <a:cs typeface="+mn-cs"/>
              </a:rPr>
              <a:t> 1/4/22</a:t>
            </a:r>
          </a:p>
        </p:txBody>
      </p:sp>
      <p:sp>
        <p:nvSpPr>
          <p:cNvPr id="83" name="Rectangle 82">
            <a:extLst>
              <a:ext uri="{FF2B5EF4-FFF2-40B4-BE49-F238E27FC236}">
                <a16:creationId xmlns:a16="http://schemas.microsoft.com/office/drawing/2014/main" id="{72BF48BF-1924-1EE2-E202-BDAB561588DD}"/>
              </a:ext>
            </a:extLst>
          </p:cNvPr>
          <p:cNvSpPr/>
          <p:nvPr/>
        </p:nvSpPr>
        <p:spPr>
          <a:xfrm>
            <a:off x="5757809" y="3914105"/>
            <a:ext cx="859135" cy="465282"/>
          </a:xfrm>
          <a:prstGeom prst="rect">
            <a:avLst/>
          </a:prstGeom>
          <a:solidFill>
            <a:srgbClr val="F5D3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Maand-facturatie</a:t>
            </a:r>
            <a:r>
              <a:rPr kumimoji="0" lang="en-GB" sz="800" b="0" i="0" u="none" strike="noStrike" kern="1200" cap="none" spc="0" normalizeH="0" baseline="0" noProof="0">
                <a:ln>
                  <a:noFill/>
                </a:ln>
                <a:solidFill>
                  <a:prstClr val="black"/>
                </a:solidFill>
                <a:effectLst/>
                <a:uLnTx/>
                <a:uFillTx/>
                <a:latin typeface="Lucida Sans Unicode"/>
                <a:ea typeface="+mn-ea"/>
                <a:cs typeface="+mn-cs"/>
              </a:rPr>
              <a:t> Gas 1/8/22</a:t>
            </a:r>
          </a:p>
        </p:txBody>
      </p:sp>
      <p:sp>
        <p:nvSpPr>
          <p:cNvPr id="85" name="Chevron 5">
            <a:extLst>
              <a:ext uri="{FF2B5EF4-FFF2-40B4-BE49-F238E27FC236}">
                <a16:creationId xmlns:a16="http://schemas.microsoft.com/office/drawing/2014/main" id="{DCF1185E-7B5A-3A4D-9B33-0EEDB502BC55}"/>
              </a:ext>
            </a:extLst>
          </p:cNvPr>
          <p:cNvSpPr/>
          <p:nvPr/>
        </p:nvSpPr>
        <p:spPr>
          <a:xfrm>
            <a:off x="337680" y="1117985"/>
            <a:ext cx="8744310" cy="391134"/>
          </a:xfrm>
          <a:prstGeom prst="chevron">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lumMod val="75000"/>
                  <a:lumOff val="25000"/>
                </a:prstClr>
              </a:solidFill>
              <a:effectLst/>
              <a:uLnTx/>
              <a:uFillTx/>
              <a:latin typeface="Lucida Sans Unicod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75000"/>
                    <a:lumOff val="25000"/>
                  </a:prstClr>
                </a:solidFill>
                <a:effectLst/>
                <a:uLnTx/>
                <a:uFillTx/>
                <a:latin typeface="Lucida Sans Unicode"/>
                <a:ea typeface="+mn-ea"/>
                <a:cs typeface="+mn-cs"/>
              </a:rPr>
              <a:t>202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lumMod val="75000"/>
                  <a:lumOff val="25000"/>
                </a:prstClr>
              </a:solidFill>
              <a:effectLst/>
              <a:uLnTx/>
              <a:uFillTx/>
              <a:latin typeface="Lucida Sans Unicode"/>
              <a:ea typeface="+mn-ea"/>
              <a:cs typeface="+mn-cs"/>
            </a:endParaRPr>
          </a:p>
        </p:txBody>
      </p:sp>
      <p:sp>
        <p:nvSpPr>
          <p:cNvPr id="86" name="Chevron 19">
            <a:extLst>
              <a:ext uri="{FF2B5EF4-FFF2-40B4-BE49-F238E27FC236}">
                <a16:creationId xmlns:a16="http://schemas.microsoft.com/office/drawing/2014/main" id="{88D32A84-FE99-988F-FF5F-8838AFAAB1F3}"/>
              </a:ext>
            </a:extLst>
          </p:cNvPr>
          <p:cNvSpPr/>
          <p:nvPr/>
        </p:nvSpPr>
        <p:spPr>
          <a:xfrm>
            <a:off x="344758" y="1589044"/>
            <a:ext cx="692085" cy="224841"/>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JAN</a:t>
            </a:r>
          </a:p>
        </p:txBody>
      </p:sp>
      <p:sp>
        <p:nvSpPr>
          <p:cNvPr id="87" name="Chevron 19">
            <a:extLst>
              <a:ext uri="{FF2B5EF4-FFF2-40B4-BE49-F238E27FC236}">
                <a16:creationId xmlns:a16="http://schemas.microsoft.com/office/drawing/2014/main" id="{01A7AE2C-4EBB-2FC0-0FDE-A004D7B6286E}"/>
              </a:ext>
            </a:extLst>
          </p:cNvPr>
          <p:cNvSpPr/>
          <p:nvPr/>
        </p:nvSpPr>
        <p:spPr>
          <a:xfrm>
            <a:off x="1180754" y="1590055"/>
            <a:ext cx="659894" cy="224841"/>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FEB</a:t>
            </a:r>
          </a:p>
        </p:txBody>
      </p:sp>
      <p:sp>
        <p:nvSpPr>
          <p:cNvPr id="88" name="Arrow: Pentagon 87">
            <a:extLst>
              <a:ext uri="{FF2B5EF4-FFF2-40B4-BE49-F238E27FC236}">
                <a16:creationId xmlns:a16="http://schemas.microsoft.com/office/drawing/2014/main" id="{836CA73F-B2F2-D44C-8FFE-6DC02D027165}"/>
              </a:ext>
            </a:extLst>
          </p:cNvPr>
          <p:cNvSpPr/>
          <p:nvPr/>
        </p:nvSpPr>
        <p:spPr>
          <a:xfrm>
            <a:off x="7591104" y="1877765"/>
            <a:ext cx="1024236" cy="514607"/>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Accijns-verlaging</a:t>
            </a:r>
            <a:r>
              <a:rPr kumimoji="0" lang="en-GB" sz="800" b="0" i="0" u="none" strike="noStrike" kern="1200" cap="none" spc="0" normalizeH="0" baseline="0" noProof="0">
                <a:ln>
                  <a:noFill/>
                </a:ln>
                <a:solidFill>
                  <a:prstClr val="black"/>
                </a:solidFill>
                <a:effectLst/>
                <a:uLnTx/>
                <a:uFillTx/>
                <a:latin typeface="Lucida Sans Unicode"/>
                <a:ea typeface="+mn-ea"/>
                <a:cs typeface="+mn-cs"/>
              </a:rPr>
              <a:t> I  Prof. 1/11/22</a:t>
            </a:r>
          </a:p>
        </p:txBody>
      </p:sp>
      <p:sp>
        <p:nvSpPr>
          <p:cNvPr id="11" name="Rectangle 10">
            <a:extLst>
              <a:ext uri="{FF2B5EF4-FFF2-40B4-BE49-F238E27FC236}">
                <a16:creationId xmlns:a16="http://schemas.microsoft.com/office/drawing/2014/main" id="{4703FEEE-09FD-A8CB-43AF-AA7511CC2FD0}"/>
              </a:ext>
            </a:extLst>
          </p:cNvPr>
          <p:cNvSpPr/>
          <p:nvPr/>
        </p:nvSpPr>
        <p:spPr>
          <a:xfrm>
            <a:off x="9301384" y="4009929"/>
            <a:ext cx="939382" cy="476419"/>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Energiedelen</a:t>
            </a:r>
            <a:r>
              <a:rPr kumimoji="0" lang="en-GB" sz="800" b="0" i="0" u="none" strike="noStrike" kern="1200" cap="none" spc="0" normalizeH="0" baseline="0" noProof="0">
                <a:ln>
                  <a:noFill/>
                </a:ln>
                <a:solidFill>
                  <a:prstClr val="black"/>
                </a:solidFill>
                <a:effectLst/>
                <a:uLnTx/>
                <a:uFillTx/>
                <a:latin typeface="Lucida Sans Unicode"/>
                <a:ea typeface="+mn-ea"/>
                <a:cs typeface="+mn-cs"/>
              </a:rPr>
              <a:t> - protocol III 1/1/2023</a:t>
            </a:r>
          </a:p>
        </p:txBody>
      </p:sp>
      <p:sp>
        <p:nvSpPr>
          <p:cNvPr id="12" name="Rectangle 11">
            <a:extLst>
              <a:ext uri="{FF2B5EF4-FFF2-40B4-BE49-F238E27FC236}">
                <a16:creationId xmlns:a16="http://schemas.microsoft.com/office/drawing/2014/main" id="{4C6C6DAF-06F6-0FE1-3BDB-46834D21081F}"/>
              </a:ext>
            </a:extLst>
          </p:cNvPr>
          <p:cNvSpPr/>
          <p:nvPr/>
        </p:nvSpPr>
        <p:spPr>
          <a:xfrm>
            <a:off x="9268598" y="3539215"/>
            <a:ext cx="981726" cy="391762"/>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Capaciteits-tarief</a:t>
            </a:r>
            <a:r>
              <a:rPr kumimoji="0" lang="en-GB" sz="800" b="0" i="0" u="none" strike="noStrike" kern="1200" cap="none" spc="0" normalizeH="0" baseline="0" noProof="0">
                <a:ln>
                  <a:noFill/>
                </a:ln>
                <a:solidFill>
                  <a:prstClr val="black"/>
                </a:solidFill>
                <a:effectLst/>
                <a:uLnTx/>
                <a:uFillTx/>
                <a:latin typeface="Lucida Sans Unicode"/>
                <a:ea typeface="+mn-ea"/>
                <a:cs typeface="+mn-cs"/>
              </a:rPr>
              <a:t> 1/1/23</a:t>
            </a:r>
          </a:p>
        </p:txBody>
      </p:sp>
      <p:sp>
        <p:nvSpPr>
          <p:cNvPr id="13" name="Rectangle 12">
            <a:extLst>
              <a:ext uri="{FF2B5EF4-FFF2-40B4-BE49-F238E27FC236}">
                <a16:creationId xmlns:a16="http://schemas.microsoft.com/office/drawing/2014/main" id="{04DECC89-D3F9-4159-8B16-4462715C1AC7}"/>
              </a:ext>
            </a:extLst>
          </p:cNvPr>
          <p:cNvSpPr/>
          <p:nvPr/>
        </p:nvSpPr>
        <p:spPr>
          <a:xfrm>
            <a:off x="9259040" y="4547196"/>
            <a:ext cx="981726" cy="524124"/>
          </a:xfrm>
          <a:prstGeom prst="rect">
            <a:avLst/>
          </a:prstGeom>
          <a:pattFill prst="ltUpDiag">
            <a:fgClr>
              <a:schemeClr val="accent1">
                <a:lumMod val="20000"/>
                <a:lumOff val="80000"/>
              </a:schemeClr>
            </a:fgClr>
            <a:bgClr>
              <a:schemeClr val="bg1"/>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Afschaffing</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Bijdrage</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Energiefonds</a:t>
            </a:r>
            <a:r>
              <a:rPr kumimoji="0" lang="en-GB" sz="800" b="0" i="0" u="none" strike="noStrike" kern="1200" cap="none" spc="0" normalizeH="0" baseline="0" noProof="0">
                <a:ln>
                  <a:noFill/>
                </a:ln>
                <a:solidFill>
                  <a:prstClr val="black"/>
                </a:solidFill>
                <a:effectLst/>
                <a:uLnTx/>
                <a:uFillTx/>
                <a:latin typeface="Lucida Sans Unicode"/>
                <a:ea typeface="+mn-ea"/>
                <a:cs typeface="+mn-cs"/>
              </a:rPr>
              <a:t> (RES) 1/1/2022</a:t>
            </a:r>
          </a:p>
        </p:txBody>
      </p:sp>
      <p:sp>
        <p:nvSpPr>
          <p:cNvPr id="14" name="Rectangle 13">
            <a:extLst>
              <a:ext uri="{FF2B5EF4-FFF2-40B4-BE49-F238E27FC236}">
                <a16:creationId xmlns:a16="http://schemas.microsoft.com/office/drawing/2014/main" id="{59B525F4-5B88-E2E8-8AB7-7454853FCE86}"/>
              </a:ext>
            </a:extLst>
          </p:cNvPr>
          <p:cNvSpPr/>
          <p:nvPr/>
        </p:nvSpPr>
        <p:spPr>
          <a:xfrm rot="5400000">
            <a:off x="-354315" y="5377802"/>
            <a:ext cx="1074157" cy="310891"/>
          </a:xfrm>
          <a:prstGeom prst="rect">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err="1">
                <a:ln>
                  <a:noFill/>
                </a:ln>
                <a:solidFill>
                  <a:prstClr val="black"/>
                </a:solidFill>
                <a:effectLst/>
                <a:uLnTx/>
                <a:uFillTx/>
                <a:latin typeface="Lucida Sans Unicode"/>
                <a:ea typeface="+mn-ea"/>
                <a:cs typeface="+mn-cs"/>
              </a:rPr>
              <a:t>Wallonie</a:t>
            </a:r>
            <a:endParaRPr kumimoji="0" lang="en-GB" sz="900" b="1" i="0" u="none" strike="noStrike" kern="1200" cap="none" spc="0" normalizeH="0" baseline="0" noProof="0">
              <a:ln>
                <a:noFill/>
              </a:ln>
              <a:solidFill>
                <a:prstClr val="black"/>
              </a:solidFill>
              <a:effectLst/>
              <a:uLnTx/>
              <a:uFillTx/>
              <a:latin typeface="Lucida Sans Unicode"/>
              <a:ea typeface="+mn-ea"/>
              <a:cs typeface="+mn-cs"/>
            </a:endParaRPr>
          </a:p>
        </p:txBody>
      </p:sp>
      <p:sp>
        <p:nvSpPr>
          <p:cNvPr id="15" name="Rectangle 14">
            <a:extLst>
              <a:ext uri="{FF2B5EF4-FFF2-40B4-BE49-F238E27FC236}">
                <a16:creationId xmlns:a16="http://schemas.microsoft.com/office/drawing/2014/main" id="{EE82B7CA-6D6F-3930-0344-174EA11FB692}"/>
              </a:ext>
            </a:extLst>
          </p:cNvPr>
          <p:cNvSpPr/>
          <p:nvPr/>
        </p:nvSpPr>
        <p:spPr>
          <a:xfrm>
            <a:off x="9280426" y="5454119"/>
            <a:ext cx="788667" cy="461927"/>
          </a:xfrm>
          <a:prstGeom prst="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Réforme</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Juge</a:t>
            </a:r>
            <a:r>
              <a:rPr kumimoji="0" lang="en-GB" sz="800" b="0" i="0" u="none" strike="noStrike" kern="1200" cap="none" spc="0" normalizeH="0" baseline="0" noProof="0">
                <a:ln>
                  <a:noFill/>
                </a:ln>
                <a:solidFill>
                  <a:prstClr val="black"/>
                </a:solidFill>
                <a:effectLst/>
                <a:uLnTx/>
                <a:uFillTx/>
                <a:latin typeface="Lucida Sans Unicode"/>
                <a:ea typeface="+mn-ea"/>
                <a:cs typeface="+mn-cs"/>
              </a:rPr>
              <a:t> de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paix</a:t>
            </a:r>
            <a:r>
              <a:rPr kumimoji="0" lang="en-GB" sz="800" b="0" i="0" u="none" strike="noStrike" kern="1200" cap="none" spc="0" normalizeH="0" baseline="0" noProof="0">
                <a:ln>
                  <a:noFill/>
                </a:ln>
                <a:solidFill>
                  <a:prstClr val="black"/>
                </a:solidFill>
                <a:effectLst/>
                <a:uLnTx/>
                <a:uFillTx/>
                <a:latin typeface="Lucida Sans Unicode"/>
                <a:ea typeface="+mn-ea"/>
                <a:cs typeface="+mn-cs"/>
              </a:rPr>
              <a:t>  1/1/23)</a:t>
            </a:r>
          </a:p>
        </p:txBody>
      </p:sp>
      <p:sp>
        <p:nvSpPr>
          <p:cNvPr id="18" name="Rectangle 17">
            <a:extLst>
              <a:ext uri="{FF2B5EF4-FFF2-40B4-BE49-F238E27FC236}">
                <a16:creationId xmlns:a16="http://schemas.microsoft.com/office/drawing/2014/main" id="{0C36EE5E-38A8-BEA1-00EF-A59788D19806}"/>
              </a:ext>
            </a:extLst>
          </p:cNvPr>
          <p:cNvSpPr/>
          <p:nvPr/>
        </p:nvSpPr>
        <p:spPr>
          <a:xfrm rot="5400000">
            <a:off x="-126190" y="6281670"/>
            <a:ext cx="623579" cy="310891"/>
          </a:xfrm>
          <a:prstGeom prst="rect">
            <a:avLst/>
          </a:prstGeom>
          <a:solidFill>
            <a:schemeClr val="bg2">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Lucida Sans Unicode"/>
                <a:ea typeface="+mn-ea"/>
                <a:cs typeface="+mn-cs"/>
              </a:rPr>
              <a:t>BXL</a:t>
            </a:r>
          </a:p>
        </p:txBody>
      </p:sp>
      <p:sp>
        <p:nvSpPr>
          <p:cNvPr id="19" name="Rectangle 18">
            <a:extLst>
              <a:ext uri="{FF2B5EF4-FFF2-40B4-BE49-F238E27FC236}">
                <a16:creationId xmlns:a16="http://schemas.microsoft.com/office/drawing/2014/main" id="{70CB0368-03BB-BCA7-9F8C-0E4FB070A451}"/>
              </a:ext>
            </a:extLst>
          </p:cNvPr>
          <p:cNvSpPr/>
          <p:nvPr/>
        </p:nvSpPr>
        <p:spPr>
          <a:xfrm>
            <a:off x="10120204" y="5460536"/>
            <a:ext cx="788667" cy="461928"/>
          </a:xfrm>
          <a:prstGeom prst="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DGO switch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vers</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Arewal</a:t>
            </a:r>
            <a:r>
              <a:rPr kumimoji="0" lang="en-GB" sz="800" b="0" i="0" u="none" strike="noStrike" kern="1200" cap="none" spc="0" normalizeH="0" baseline="0" noProof="0">
                <a:ln>
                  <a:noFill/>
                </a:ln>
                <a:solidFill>
                  <a:prstClr val="black"/>
                </a:solidFill>
                <a:effectLst/>
                <a:uLnTx/>
                <a:uFillTx/>
                <a:latin typeface="Lucida Sans Unicode"/>
                <a:ea typeface="+mn-ea"/>
                <a:cs typeface="+mn-cs"/>
              </a:rPr>
              <a:t> 1/2/23</a:t>
            </a:r>
          </a:p>
        </p:txBody>
      </p:sp>
      <p:sp>
        <p:nvSpPr>
          <p:cNvPr id="7" name="Rectangle 6">
            <a:extLst>
              <a:ext uri="{FF2B5EF4-FFF2-40B4-BE49-F238E27FC236}">
                <a16:creationId xmlns:a16="http://schemas.microsoft.com/office/drawing/2014/main" id="{D3F7588F-03FF-80E5-6B56-DD0971DB55AE}"/>
              </a:ext>
            </a:extLst>
          </p:cNvPr>
          <p:cNvSpPr/>
          <p:nvPr/>
        </p:nvSpPr>
        <p:spPr>
          <a:xfrm>
            <a:off x="4762857" y="3906433"/>
            <a:ext cx="920202" cy="452204"/>
          </a:xfrm>
          <a:prstGeom prst="rect">
            <a:avLst/>
          </a:prstGeom>
          <a:pattFill prst="ltUpDiag">
            <a:fgClr>
              <a:schemeClr val="accent1">
                <a:lumMod val="20000"/>
                <a:lumOff val="80000"/>
              </a:schemeClr>
            </a:fgClr>
            <a:bgClr>
              <a:schemeClr val="bg1"/>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Maandelijks</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Prosumenten</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tarief</a:t>
            </a:r>
            <a:r>
              <a:rPr kumimoji="0" lang="en-GB" sz="800" b="0" i="0" u="none" strike="noStrike" kern="1200" cap="none" spc="0" normalizeH="0" baseline="0" noProof="0">
                <a:ln>
                  <a:noFill/>
                </a:ln>
                <a:solidFill>
                  <a:prstClr val="black"/>
                </a:solidFill>
                <a:effectLst/>
                <a:uLnTx/>
                <a:uFillTx/>
                <a:latin typeface="Lucida Sans Unicode"/>
                <a:ea typeface="+mn-ea"/>
                <a:cs typeface="+mn-cs"/>
              </a:rPr>
              <a:t> 1/7/22</a:t>
            </a:r>
          </a:p>
        </p:txBody>
      </p:sp>
      <p:sp>
        <p:nvSpPr>
          <p:cNvPr id="27" name="Rectangle 26">
            <a:extLst>
              <a:ext uri="{FF2B5EF4-FFF2-40B4-BE49-F238E27FC236}">
                <a16:creationId xmlns:a16="http://schemas.microsoft.com/office/drawing/2014/main" id="{BD44321A-DFE0-2550-C778-0FF81D97CECD}"/>
              </a:ext>
            </a:extLst>
          </p:cNvPr>
          <p:cNvSpPr/>
          <p:nvPr/>
        </p:nvSpPr>
        <p:spPr>
          <a:xfrm>
            <a:off x="10318048" y="4790066"/>
            <a:ext cx="764049" cy="412206"/>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IMV 1/4/23 (?)</a:t>
            </a:r>
          </a:p>
        </p:txBody>
      </p:sp>
      <p:sp>
        <p:nvSpPr>
          <p:cNvPr id="33" name="TextBox 32">
            <a:extLst>
              <a:ext uri="{FF2B5EF4-FFF2-40B4-BE49-F238E27FC236}">
                <a16:creationId xmlns:a16="http://schemas.microsoft.com/office/drawing/2014/main" id="{C2C23704-9A82-106D-F3C3-BD8A0DF98991}"/>
              </a:ext>
            </a:extLst>
          </p:cNvPr>
          <p:cNvSpPr txBox="1"/>
          <p:nvPr/>
        </p:nvSpPr>
        <p:spPr>
          <a:xfrm>
            <a:off x="456877" y="2611770"/>
            <a:ext cx="875755" cy="664502"/>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l-BE"/>
            </a:defPPr>
            <a:lvl1pPr>
              <a:defRPr sz="9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800" b="0" i="0" u="none" strike="noStrike" kern="1200" cap="none" spc="0" normalizeH="0" baseline="0" noProof="0">
                <a:ln>
                  <a:noFill/>
                </a:ln>
                <a:solidFill>
                  <a:prstClr val="black"/>
                </a:solidFill>
                <a:effectLst/>
                <a:uLnTx/>
                <a:uFillTx/>
                <a:latin typeface="Lucida Sans Unicode"/>
                <a:ea typeface="+mn-ea"/>
                <a:cs typeface="+mn-cs"/>
              </a:rPr>
              <a:t>Wet verlengings-producten 1/1/22</a:t>
            </a:r>
            <a:endParaRPr kumimoji="0" lang="en-BE" sz="8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34" name="Rectangle 33">
            <a:extLst>
              <a:ext uri="{FF2B5EF4-FFF2-40B4-BE49-F238E27FC236}">
                <a16:creationId xmlns:a16="http://schemas.microsoft.com/office/drawing/2014/main" id="{8D10594A-B568-1DB6-6068-7E6B14B0F8CF}"/>
              </a:ext>
            </a:extLst>
          </p:cNvPr>
          <p:cNvSpPr/>
          <p:nvPr/>
        </p:nvSpPr>
        <p:spPr>
          <a:xfrm>
            <a:off x="7575143" y="3961153"/>
            <a:ext cx="789690" cy="593550"/>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Aanpassing</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methode</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Prijsver-gelijkers</a:t>
            </a:r>
            <a:endParaRPr kumimoji="0" lang="en-GB" sz="800" b="0" i="0" u="none" strike="noStrike" kern="1200" cap="none" spc="0" normalizeH="0" baseline="0" noProof="0" dirty="0">
              <a:ln>
                <a:noFill/>
              </a:ln>
              <a:solidFill>
                <a:prstClr val="black"/>
              </a:solidFill>
              <a:effectLst/>
              <a:uLnTx/>
              <a:uFillTx/>
              <a:latin typeface="Lucida Sans Unicod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1/11/2022</a:t>
            </a:r>
          </a:p>
        </p:txBody>
      </p:sp>
      <p:sp>
        <p:nvSpPr>
          <p:cNvPr id="37" name="Rectangle 36">
            <a:extLst>
              <a:ext uri="{FF2B5EF4-FFF2-40B4-BE49-F238E27FC236}">
                <a16:creationId xmlns:a16="http://schemas.microsoft.com/office/drawing/2014/main" id="{10FBDDBD-8182-2706-8F61-0F015BB355EA}"/>
              </a:ext>
            </a:extLst>
          </p:cNvPr>
          <p:cNvSpPr/>
          <p:nvPr/>
        </p:nvSpPr>
        <p:spPr>
          <a:xfrm>
            <a:off x="4043594" y="3362309"/>
            <a:ext cx="727167" cy="478371"/>
          </a:xfrm>
          <a:prstGeom prst="rect">
            <a:avLst/>
          </a:prstGeom>
          <a:pattFill prst="wdDnDiag">
            <a:fgClr>
              <a:schemeClr val="accent3"/>
            </a:fgClr>
            <a:bgClr>
              <a:schemeClr val="bg1"/>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Verlenging</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BIM/V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soctar</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na</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30/6/22</a:t>
            </a:r>
          </a:p>
        </p:txBody>
      </p:sp>
      <p:sp>
        <p:nvSpPr>
          <p:cNvPr id="39" name="Rectangle 38">
            <a:extLst>
              <a:ext uri="{FF2B5EF4-FFF2-40B4-BE49-F238E27FC236}">
                <a16:creationId xmlns:a16="http://schemas.microsoft.com/office/drawing/2014/main" id="{ABEBB445-34FD-F7E8-65D9-D62661AA942F}"/>
              </a:ext>
            </a:extLst>
          </p:cNvPr>
          <p:cNvSpPr/>
          <p:nvPr/>
        </p:nvSpPr>
        <p:spPr>
          <a:xfrm>
            <a:off x="1931139" y="3288391"/>
            <a:ext cx="727167" cy="541306"/>
          </a:xfrm>
          <a:prstGeom prst="rect">
            <a:avLst/>
          </a:prstGeom>
          <a:pattFill prst="wdDnDiag">
            <a:fgClr>
              <a:schemeClr val="accent3"/>
            </a:fgClr>
            <a:bgClr>
              <a:schemeClr val="bg1"/>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Verlenging</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BIM/V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soctar</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na</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31/3/22</a:t>
            </a:r>
          </a:p>
        </p:txBody>
      </p:sp>
      <p:sp>
        <p:nvSpPr>
          <p:cNvPr id="41" name="Rectangle 40">
            <a:extLst>
              <a:ext uri="{FF2B5EF4-FFF2-40B4-BE49-F238E27FC236}">
                <a16:creationId xmlns:a16="http://schemas.microsoft.com/office/drawing/2014/main" id="{F0037F87-3573-6915-8A61-720845F8A1DC}"/>
              </a:ext>
            </a:extLst>
          </p:cNvPr>
          <p:cNvSpPr/>
          <p:nvPr/>
        </p:nvSpPr>
        <p:spPr>
          <a:xfrm>
            <a:off x="6096000" y="3342333"/>
            <a:ext cx="727167" cy="474889"/>
          </a:xfrm>
          <a:prstGeom prst="rect">
            <a:avLst/>
          </a:prstGeom>
          <a:pattFill prst="wdDnDiag">
            <a:fgClr>
              <a:schemeClr val="accent3"/>
            </a:fgClr>
            <a:bgClr>
              <a:schemeClr val="bg1"/>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Verlenging</a:t>
            </a:r>
            <a:r>
              <a:rPr kumimoji="0" lang="en-GB" sz="800" b="0" i="0" u="none" strike="noStrike" kern="1200" cap="none" spc="0" normalizeH="0" baseline="0" noProof="0">
                <a:ln>
                  <a:noFill/>
                </a:ln>
                <a:solidFill>
                  <a:prstClr val="black"/>
                </a:solidFill>
                <a:effectLst/>
                <a:uLnTx/>
                <a:uFillTx/>
                <a:latin typeface="Lucida Sans Unicode"/>
                <a:ea typeface="+mn-ea"/>
                <a:cs typeface="+mn-cs"/>
              </a:rPr>
              <a:t> BIM/V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soctar</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na</a:t>
            </a:r>
            <a:r>
              <a:rPr kumimoji="0" lang="en-GB" sz="800" b="0" i="0" u="none" strike="noStrike" kern="1200" cap="none" spc="0" normalizeH="0" baseline="0" noProof="0">
                <a:ln>
                  <a:noFill/>
                </a:ln>
                <a:solidFill>
                  <a:prstClr val="black"/>
                </a:solidFill>
                <a:effectLst/>
                <a:uLnTx/>
                <a:uFillTx/>
                <a:latin typeface="Lucida Sans Unicode"/>
                <a:ea typeface="+mn-ea"/>
                <a:cs typeface="+mn-cs"/>
              </a:rPr>
              <a:t> 30/9/22</a:t>
            </a:r>
          </a:p>
        </p:txBody>
      </p:sp>
      <p:sp>
        <p:nvSpPr>
          <p:cNvPr id="42" name="Rectangle 41">
            <a:extLst>
              <a:ext uri="{FF2B5EF4-FFF2-40B4-BE49-F238E27FC236}">
                <a16:creationId xmlns:a16="http://schemas.microsoft.com/office/drawing/2014/main" id="{73D62347-3D94-5E7D-AC87-EDA0825AE9DC}"/>
              </a:ext>
            </a:extLst>
          </p:cNvPr>
          <p:cNvSpPr/>
          <p:nvPr/>
        </p:nvSpPr>
        <p:spPr>
          <a:xfrm>
            <a:off x="7584981" y="3353886"/>
            <a:ext cx="766487" cy="541306"/>
          </a:xfrm>
          <a:prstGeom prst="rect">
            <a:avLst/>
          </a:prstGeom>
          <a:pattFill prst="wdDnDiag">
            <a:fgClr>
              <a:schemeClr val="accent3"/>
            </a:fgClr>
            <a:bgClr>
              <a:schemeClr val="bg1"/>
            </a:bgClr>
          </a:patt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Verlenging</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BIM/V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soctar</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na</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31/12/22</a:t>
            </a:r>
          </a:p>
        </p:txBody>
      </p:sp>
      <p:sp>
        <p:nvSpPr>
          <p:cNvPr id="46" name="Arrow: Pentagon 45">
            <a:extLst>
              <a:ext uri="{FF2B5EF4-FFF2-40B4-BE49-F238E27FC236}">
                <a16:creationId xmlns:a16="http://schemas.microsoft.com/office/drawing/2014/main" id="{91AD2EA3-5757-F724-1D39-43CA586D643F}"/>
              </a:ext>
            </a:extLst>
          </p:cNvPr>
          <p:cNvSpPr/>
          <p:nvPr/>
        </p:nvSpPr>
        <p:spPr>
          <a:xfrm>
            <a:off x="471340" y="3345707"/>
            <a:ext cx="1047440" cy="441780"/>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Soctar</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forfait</a:t>
            </a:r>
            <a:r>
              <a:rPr kumimoji="0" lang="en-GB" sz="800" b="0" i="0" u="none" strike="noStrike" kern="1200" cap="none" spc="0" normalizeH="0" baseline="0" noProof="0">
                <a:ln>
                  <a:noFill/>
                </a:ln>
                <a:solidFill>
                  <a:prstClr val="black"/>
                </a:solidFill>
                <a:effectLst/>
                <a:uLnTx/>
                <a:uFillTx/>
                <a:latin typeface="Lucida Sans Unicode"/>
                <a:ea typeface="+mn-ea"/>
                <a:cs typeface="+mn-cs"/>
              </a:rPr>
              <a:t> 80 € - 31/1/22</a:t>
            </a:r>
          </a:p>
        </p:txBody>
      </p:sp>
      <p:sp>
        <p:nvSpPr>
          <p:cNvPr id="47" name="Rectangle 46">
            <a:extLst>
              <a:ext uri="{FF2B5EF4-FFF2-40B4-BE49-F238E27FC236}">
                <a16:creationId xmlns:a16="http://schemas.microsoft.com/office/drawing/2014/main" id="{0CE9C1AA-D0EF-D27F-39AD-F8A22D60A2BD}"/>
              </a:ext>
            </a:extLst>
          </p:cNvPr>
          <p:cNvSpPr/>
          <p:nvPr/>
        </p:nvSpPr>
        <p:spPr>
          <a:xfrm>
            <a:off x="6733539" y="1920674"/>
            <a:ext cx="750806" cy="458539"/>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Omzetting</a:t>
            </a:r>
            <a:r>
              <a:rPr kumimoji="0" lang="en-GB" sz="800" b="0" i="0" u="none" strike="noStrike" kern="1200" cap="none" spc="0" normalizeH="0" baseline="0" noProof="0">
                <a:ln>
                  <a:noFill/>
                </a:ln>
                <a:solidFill>
                  <a:prstClr val="black"/>
                </a:solidFill>
                <a:effectLst/>
                <a:uLnTx/>
                <a:uFillTx/>
                <a:latin typeface="Lucida Sans Unicode"/>
                <a:ea typeface="+mn-ea"/>
                <a:cs typeface="+mn-cs"/>
              </a:rPr>
              <a:t> CEP 26/10/22</a:t>
            </a:r>
          </a:p>
        </p:txBody>
      </p:sp>
      <p:sp>
        <p:nvSpPr>
          <p:cNvPr id="50" name="Rectangle 49">
            <a:extLst>
              <a:ext uri="{FF2B5EF4-FFF2-40B4-BE49-F238E27FC236}">
                <a16:creationId xmlns:a16="http://schemas.microsoft.com/office/drawing/2014/main" id="{B8DA8151-74B0-118B-3CD9-2A3BFE130E5A}"/>
              </a:ext>
            </a:extLst>
          </p:cNvPr>
          <p:cNvSpPr/>
          <p:nvPr/>
        </p:nvSpPr>
        <p:spPr>
          <a:xfrm>
            <a:off x="2523867" y="2671287"/>
            <a:ext cx="875754" cy="545467"/>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Voorschotten</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aanpassen</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V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en</a:t>
            </a:r>
            <a:r>
              <a:rPr kumimoji="0" lang="en-GB" sz="800" b="0" i="0" u="none" strike="noStrike" kern="1200" cap="none" spc="0" normalizeH="0" baseline="0" noProof="0">
                <a:ln>
                  <a:noFill/>
                </a:ln>
                <a:solidFill>
                  <a:prstClr val="black"/>
                </a:solidFill>
                <a:effectLst/>
                <a:uLnTx/>
                <a:uFillTx/>
                <a:latin typeface="Lucida Sans Unicode"/>
                <a:ea typeface="+mn-ea"/>
                <a:cs typeface="+mn-cs"/>
              </a:rPr>
              <a:t> opto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31/3/22</a:t>
            </a:r>
          </a:p>
        </p:txBody>
      </p:sp>
      <p:sp>
        <p:nvSpPr>
          <p:cNvPr id="52" name="Rectangle 51">
            <a:extLst>
              <a:ext uri="{FF2B5EF4-FFF2-40B4-BE49-F238E27FC236}">
                <a16:creationId xmlns:a16="http://schemas.microsoft.com/office/drawing/2014/main" id="{6E5EF94F-34B5-FEBD-9BBE-E313CD91A5F1}"/>
              </a:ext>
            </a:extLst>
          </p:cNvPr>
          <p:cNvSpPr/>
          <p:nvPr/>
        </p:nvSpPr>
        <p:spPr>
          <a:xfrm>
            <a:off x="456876" y="3928033"/>
            <a:ext cx="875756" cy="465282"/>
          </a:xfrm>
          <a:prstGeom prst="rect">
            <a:avLst/>
          </a:prstGeom>
          <a:solidFill>
            <a:srgbClr val="F5D3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Energiedelen</a:t>
            </a:r>
            <a:r>
              <a:rPr kumimoji="0" lang="en-GB" sz="800" b="0" i="0" u="none" strike="noStrike" kern="1200" cap="none" spc="0" normalizeH="0" baseline="0" noProof="0">
                <a:ln>
                  <a:noFill/>
                </a:ln>
                <a:solidFill>
                  <a:prstClr val="black"/>
                </a:solidFill>
                <a:effectLst/>
                <a:uLnTx/>
                <a:uFillTx/>
                <a:latin typeface="Lucida Sans Unicode"/>
                <a:ea typeface="+mn-ea"/>
                <a:cs typeface="+mn-cs"/>
              </a:rPr>
              <a:t>- protocol I  1/1/22</a:t>
            </a:r>
          </a:p>
        </p:txBody>
      </p:sp>
      <p:sp>
        <p:nvSpPr>
          <p:cNvPr id="53" name="Rectangle 52">
            <a:extLst>
              <a:ext uri="{FF2B5EF4-FFF2-40B4-BE49-F238E27FC236}">
                <a16:creationId xmlns:a16="http://schemas.microsoft.com/office/drawing/2014/main" id="{661CD7C5-E866-5F6B-6079-928E88A16143}"/>
              </a:ext>
            </a:extLst>
          </p:cNvPr>
          <p:cNvSpPr/>
          <p:nvPr/>
        </p:nvSpPr>
        <p:spPr>
          <a:xfrm>
            <a:off x="460503" y="4475887"/>
            <a:ext cx="901170" cy="465282"/>
          </a:xfrm>
          <a:prstGeom prst="rect">
            <a:avLst/>
          </a:prstGeom>
          <a:solidFill>
            <a:srgbClr val="F5D3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Nieuwe</a:t>
            </a:r>
            <a:r>
              <a:rPr kumimoji="0" lang="en-GB" sz="800" b="0" i="0" u="none" strike="noStrike" kern="1200" cap="none" spc="0" normalizeH="0" baseline="0" noProof="0">
                <a:ln>
                  <a:noFill/>
                </a:ln>
                <a:solidFill>
                  <a:prstClr val="black"/>
                </a:solidFill>
                <a:effectLst/>
                <a:uLnTx/>
                <a:uFillTx/>
                <a:latin typeface="Lucida Sans Unicode"/>
                <a:ea typeface="+mn-ea"/>
                <a:cs typeface="+mn-cs"/>
              </a:rPr>
              <a:t> V-test 1/1/22</a:t>
            </a:r>
          </a:p>
        </p:txBody>
      </p:sp>
      <p:sp>
        <p:nvSpPr>
          <p:cNvPr id="54" name="Rectangle 53">
            <a:extLst>
              <a:ext uri="{FF2B5EF4-FFF2-40B4-BE49-F238E27FC236}">
                <a16:creationId xmlns:a16="http://schemas.microsoft.com/office/drawing/2014/main" id="{E58502E2-75A2-F4AC-86EE-422CB7822A7A}"/>
              </a:ext>
            </a:extLst>
          </p:cNvPr>
          <p:cNvSpPr/>
          <p:nvPr/>
        </p:nvSpPr>
        <p:spPr>
          <a:xfrm>
            <a:off x="4769318" y="4980212"/>
            <a:ext cx="901170" cy="465282"/>
          </a:xfrm>
          <a:prstGeom prst="rect">
            <a:avLst/>
          </a:prstGeom>
          <a:solidFill>
            <a:srgbClr val="F5D3D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SODV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aanpassing</a:t>
            </a:r>
            <a:r>
              <a:rPr kumimoji="0" lang="en-GB" sz="800" b="0" i="0" u="none" strike="noStrike" kern="1200" cap="none" spc="0" normalizeH="0" baseline="0" noProof="0">
                <a:ln>
                  <a:noFill/>
                </a:ln>
                <a:solidFill>
                  <a:prstClr val="black"/>
                </a:solidFill>
                <a:effectLst/>
                <a:uLnTx/>
                <a:uFillTx/>
                <a:latin typeface="Lucida Sans Unicode"/>
                <a:ea typeface="+mn-ea"/>
                <a:cs typeface="+mn-cs"/>
              </a:rPr>
              <a:t> 1/7/22</a:t>
            </a:r>
          </a:p>
        </p:txBody>
      </p:sp>
      <p:sp>
        <p:nvSpPr>
          <p:cNvPr id="58" name="Rectangle 57">
            <a:extLst>
              <a:ext uri="{FF2B5EF4-FFF2-40B4-BE49-F238E27FC236}">
                <a16:creationId xmlns:a16="http://schemas.microsoft.com/office/drawing/2014/main" id="{BAE7BD0E-FC53-81D6-1365-E82D971B0209}"/>
              </a:ext>
            </a:extLst>
          </p:cNvPr>
          <p:cNvSpPr/>
          <p:nvPr/>
        </p:nvSpPr>
        <p:spPr>
          <a:xfrm>
            <a:off x="3151876" y="6175390"/>
            <a:ext cx="1272075" cy="495641"/>
          </a:xfrm>
          <a:prstGeom prst="rect">
            <a:avLst/>
          </a:prstGeom>
          <a:solidFill>
            <a:schemeClr val="bg2">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prstClr val="black"/>
                </a:solidFill>
                <a:effectLst/>
                <a:uLnTx/>
                <a:uFillTx/>
                <a:latin typeface="Lucida Sans Unicode"/>
                <a:ea typeface="+mn-ea"/>
                <a:cs typeface="+mn-cs"/>
              </a:rPr>
              <a:t>Nouvelles obligations sociales – ordonnance électricité 1/05/22 </a:t>
            </a:r>
            <a:endParaRPr kumimoji="0" lang="en-GB" sz="8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60" name="Rectangle 59">
            <a:extLst>
              <a:ext uri="{FF2B5EF4-FFF2-40B4-BE49-F238E27FC236}">
                <a16:creationId xmlns:a16="http://schemas.microsoft.com/office/drawing/2014/main" id="{521E1698-ABEE-86D1-0351-5A3D51204304}"/>
              </a:ext>
            </a:extLst>
          </p:cNvPr>
          <p:cNvSpPr/>
          <p:nvPr/>
        </p:nvSpPr>
        <p:spPr>
          <a:xfrm>
            <a:off x="6586298" y="2886794"/>
            <a:ext cx="849471" cy="424891"/>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Oktober</a:t>
            </a:r>
            <a:r>
              <a:rPr kumimoji="0" lang="en-GB" sz="800" b="0" i="0" u="none" strike="noStrike" kern="1200" cap="none" spc="0" normalizeH="0" baseline="0" noProof="0">
                <a:ln>
                  <a:noFill/>
                </a:ln>
                <a:solidFill>
                  <a:prstClr val="black"/>
                </a:solidFill>
                <a:effectLst/>
                <a:uLnTx/>
                <a:uFillTx/>
                <a:latin typeface="Lucida Sans Unicode"/>
                <a:ea typeface="+mn-ea"/>
                <a:cs typeface="+mn-cs"/>
              </a:rPr>
              <a:t> release MIG6 22/10/22</a:t>
            </a:r>
          </a:p>
        </p:txBody>
      </p:sp>
      <p:sp>
        <p:nvSpPr>
          <p:cNvPr id="63" name="Rectangle 62">
            <a:extLst>
              <a:ext uri="{FF2B5EF4-FFF2-40B4-BE49-F238E27FC236}">
                <a16:creationId xmlns:a16="http://schemas.microsoft.com/office/drawing/2014/main" id="{6A921FDE-2043-B9FA-8B54-44CB52B7244C}"/>
              </a:ext>
            </a:extLst>
          </p:cNvPr>
          <p:cNvSpPr/>
          <p:nvPr/>
        </p:nvSpPr>
        <p:spPr>
          <a:xfrm>
            <a:off x="4769228" y="2885864"/>
            <a:ext cx="1186395" cy="384867"/>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Aanpassing</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vaste</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vergoeding</a:t>
            </a:r>
            <a:r>
              <a:rPr kumimoji="0" lang="en-GB" sz="800" b="0" i="0" u="none" strike="noStrike" kern="1200" cap="none" spc="0" normalizeH="0" baseline="0" noProof="0">
                <a:ln>
                  <a:noFill/>
                </a:ln>
                <a:solidFill>
                  <a:prstClr val="black"/>
                </a:solidFill>
                <a:effectLst/>
                <a:uLnTx/>
                <a:uFillTx/>
                <a:latin typeface="Lucida Sans Unicode"/>
                <a:ea typeface="+mn-ea"/>
                <a:cs typeface="+mn-cs"/>
              </a:rPr>
              <a:t> var.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contracten</a:t>
            </a:r>
            <a:r>
              <a:rPr kumimoji="0" lang="en-GB" sz="800" b="0" i="0" u="none" strike="noStrike" kern="1200" cap="none" spc="0" normalizeH="0" baseline="0" noProof="0">
                <a:ln>
                  <a:noFill/>
                </a:ln>
                <a:solidFill>
                  <a:prstClr val="black"/>
                </a:solidFill>
                <a:effectLst/>
                <a:uLnTx/>
                <a:uFillTx/>
                <a:latin typeface="Lucida Sans Unicode"/>
                <a:ea typeface="+mn-ea"/>
                <a:cs typeface="+mn-cs"/>
              </a:rPr>
              <a:t> 1/7/22</a:t>
            </a:r>
          </a:p>
        </p:txBody>
      </p:sp>
      <p:sp>
        <p:nvSpPr>
          <p:cNvPr id="69" name="Rectangle 68">
            <a:extLst>
              <a:ext uri="{FF2B5EF4-FFF2-40B4-BE49-F238E27FC236}">
                <a16:creationId xmlns:a16="http://schemas.microsoft.com/office/drawing/2014/main" id="{58F05246-097F-DC4B-9A2C-8EA70F1263CD}"/>
              </a:ext>
            </a:extLst>
          </p:cNvPr>
          <p:cNvSpPr/>
          <p:nvPr/>
        </p:nvSpPr>
        <p:spPr>
          <a:xfrm>
            <a:off x="4769318" y="4452675"/>
            <a:ext cx="939382" cy="455858"/>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Energiedelen</a:t>
            </a:r>
            <a:r>
              <a:rPr kumimoji="0" lang="en-GB" sz="800" b="0" i="0" u="none" strike="noStrike" kern="1200" cap="none" spc="0" normalizeH="0" baseline="0" noProof="0">
                <a:ln>
                  <a:noFill/>
                </a:ln>
                <a:solidFill>
                  <a:prstClr val="black"/>
                </a:solidFill>
                <a:effectLst/>
                <a:uLnTx/>
                <a:uFillTx/>
                <a:latin typeface="Lucida Sans Unicode"/>
                <a:ea typeface="+mn-ea"/>
                <a:cs typeface="+mn-cs"/>
              </a:rPr>
              <a:t> - protocol II 1/7/22</a:t>
            </a:r>
          </a:p>
        </p:txBody>
      </p:sp>
      <p:sp>
        <p:nvSpPr>
          <p:cNvPr id="72" name="Rectangle 71">
            <a:extLst>
              <a:ext uri="{FF2B5EF4-FFF2-40B4-BE49-F238E27FC236}">
                <a16:creationId xmlns:a16="http://schemas.microsoft.com/office/drawing/2014/main" id="{364EC9DB-FF1B-6FB9-C0D1-B9EA0B84E2B4}"/>
              </a:ext>
            </a:extLst>
          </p:cNvPr>
          <p:cNvSpPr/>
          <p:nvPr/>
        </p:nvSpPr>
        <p:spPr>
          <a:xfrm>
            <a:off x="4769228" y="6199530"/>
            <a:ext cx="1054526" cy="465282"/>
          </a:xfrm>
          <a:prstGeom prst="rect">
            <a:avLst/>
          </a:prstGeom>
          <a:solidFill>
            <a:schemeClr val="bg2">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Fin de pose des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limiteurs</a:t>
            </a:r>
            <a:r>
              <a:rPr kumimoji="0" lang="en-GB" sz="800" b="0" i="0" u="none" strike="noStrike" kern="1200" cap="none" spc="0" normalizeH="0" baseline="0" noProof="0">
                <a:ln>
                  <a:noFill/>
                </a:ln>
                <a:solidFill>
                  <a:prstClr val="black"/>
                </a:solidFill>
                <a:effectLst/>
                <a:uLnTx/>
                <a:uFillTx/>
                <a:latin typeface="Lucida Sans Unicode"/>
                <a:ea typeface="+mn-ea"/>
                <a:cs typeface="+mn-cs"/>
              </a:rPr>
              <a:t> de puissance 1/7/22</a:t>
            </a:r>
          </a:p>
        </p:txBody>
      </p:sp>
      <p:sp>
        <p:nvSpPr>
          <p:cNvPr id="74" name="Arrow: Pentagon 73">
            <a:extLst>
              <a:ext uri="{FF2B5EF4-FFF2-40B4-BE49-F238E27FC236}">
                <a16:creationId xmlns:a16="http://schemas.microsoft.com/office/drawing/2014/main" id="{D9C14676-A998-AA52-F928-EE67C7061169}"/>
              </a:ext>
            </a:extLst>
          </p:cNvPr>
          <p:cNvSpPr/>
          <p:nvPr/>
        </p:nvSpPr>
        <p:spPr>
          <a:xfrm>
            <a:off x="7004946" y="6190569"/>
            <a:ext cx="939381" cy="465282"/>
          </a:xfrm>
          <a:prstGeom prst="homePlate">
            <a:avLst/>
          </a:prstGeom>
          <a:solidFill>
            <a:schemeClr val="bg2">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Calibri" panose="020F0502020204030204" pitchFamily="34" charset="0"/>
                <a:ea typeface="+mn-ea"/>
                <a:cs typeface="Times New Roman" panose="02020603050405020304" pitchFamily="18" charset="0"/>
              </a:rPr>
              <a:t>Transfert</a:t>
            </a:r>
            <a:r>
              <a:rPr kumimoji="0" lang="en-GB" sz="800" b="0" i="0" u="none" strike="noStrike" kern="1200" cap="none" spc="0" normalizeH="0" baseline="0" noProof="0">
                <a:ln>
                  <a:noFill/>
                </a:ln>
                <a:solidFill>
                  <a:prstClr val="black"/>
                </a:solidFill>
                <a:effectLst/>
                <a:uLnTx/>
                <a:uFillTx/>
                <a:latin typeface="Calibri" panose="020F0502020204030204" pitchFamily="34" charset="0"/>
                <a:ea typeface="+mn-ea"/>
                <a:cs typeface="Times New Roman" panose="02020603050405020304" pitchFamily="18" charset="0"/>
              </a:rPr>
              <a:t> </a:t>
            </a:r>
            <a:r>
              <a:rPr kumimoji="0" lang="en-GB" sz="800" b="0" i="0" u="none" strike="noStrike" kern="1200" cap="none" spc="0" normalizeH="0" baseline="0" noProof="0" err="1">
                <a:ln>
                  <a:noFill/>
                </a:ln>
                <a:solidFill>
                  <a:prstClr val="black"/>
                </a:solidFill>
                <a:effectLst/>
                <a:uLnTx/>
                <a:uFillTx/>
                <a:latin typeface="Calibri" panose="020F0502020204030204" pitchFamily="34" charset="0"/>
                <a:ea typeface="+mn-ea"/>
                <a:cs typeface="Times New Roman" panose="02020603050405020304" pitchFamily="18" charset="0"/>
              </a:rPr>
              <a:t>automatique</a:t>
            </a:r>
            <a:r>
              <a:rPr kumimoji="0" lang="en-GB" sz="800" b="0" i="0" u="none" strike="noStrike" kern="1200" cap="none" spc="0" normalizeH="0" baseline="0" noProof="0">
                <a:ln>
                  <a:noFill/>
                </a:ln>
                <a:solidFill>
                  <a:prstClr val="black"/>
                </a:solidFill>
                <a:effectLst/>
                <a:uLnTx/>
                <a:uFillTx/>
                <a:latin typeface="Calibri" panose="020F0502020204030204" pitchFamily="34" charset="0"/>
                <a:ea typeface="+mn-ea"/>
                <a:cs typeface="Times New Roman" panose="02020603050405020304" pitchFamily="18" charset="0"/>
              </a:rPr>
              <a:t> CP 1/10/22</a:t>
            </a:r>
          </a:p>
        </p:txBody>
      </p:sp>
      <p:sp>
        <p:nvSpPr>
          <p:cNvPr id="40" name="Rectangle 39">
            <a:extLst>
              <a:ext uri="{FF2B5EF4-FFF2-40B4-BE49-F238E27FC236}">
                <a16:creationId xmlns:a16="http://schemas.microsoft.com/office/drawing/2014/main" id="{E2B43DA8-1CFA-0032-2969-56C011753B3F}"/>
              </a:ext>
            </a:extLst>
          </p:cNvPr>
          <p:cNvSpPr/>
          <p:nvPr/>
        </p:nvSpPr>
        <p:spPr>
          <a:xfrm>
            <a:off x="5972575" y="6199529"/>
            <a:ext cx="888612" cy="455713"/>
          </a:xfrm>
          <a:prstGeom prst="rect">
            <a:avLst/>
          </a:prstGeom>
          <a:solidFill>
            <a:schemeClr val="bg2">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800" b="0" i="0" u="none" strike="noStrike" kern="1200" cap="none" spc="0" normalizeH="0" baseline="0" noProof="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Conversion </a:t>
            </a:r>
            <a:r>
              <a:rPr kumimoji="0" lang="fr-BE" sz="800" b="0" i="0" u="none" strike="noStrike" kern="1200" cap="none" spc="0" normalizeH="0" baseline="0" noProof="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Lgas</a:t>
            </a:r>
            <a:r>
              <a:rPr kumimoji="0" lang="fr-BE" sz="800" b="0" i="0" u="none" strike="noStrike" kern="1200" cap="none" spc="0" normalizeH="0" baseline="0" noProof="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finale </a:t>
            </a:r>
            <a:r>
              <a:rPr kumimoji="0" lang="fr-BE" sz="800" b="0" i="0" u="none" strike="noStrike" kern="1200" cap="none" spc="0" normalizeH="0" baseline="0" noProof="0" err="1">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ibelga</a:t>
            </a:r>
            <a:r>
              <a:rPr kumimoji="0" lang="fr-BE" sz="800" b="0" i="0" u="none" strike="noStrike" kern="1200" cap="none" spc="0" normalizeH="0" baseline="0" noProof="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 (1/9/22)</a:t>
            </a:r>
            <a:endParaRPr kumimoji="0" lang="en-GB" sz="8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6" name="Chevron 5">
            <a:extLst>
              <a:ext uri="{FF2B5EF4-FFF2-40B4-BE49-F238E27FC236}">
                <a16:creationId xmlns:a16="http://schemas.microsoft.com/office/drawing/2014/main" id="{9F09A514-0259-58AC-226F-EA0029CEB718}"/>
              </a:ext>
            </a:extLst>
          </p:cNvPr>
          <p:cNvSpPr/>
          <p:nvPr/>
        </p:nvSpPr>
        <p:spPr>
          <a:xfrm>
            <a:off x="4152181" y="652726"/>
            <a:ext cx="3211255" cy="391134"/>
          </a:xfrm>
          <a:prstGeom prst="chevron">
            <a:avLst/>
          </a:prstGeom>
          <a:solidFill>
            <a:srgbClr val="E3EDCA"/>
          </a:solidFill>
          <a:ln>
            <a:solidFill>
              <a:srgbClr val="E3EDC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prstClr val="black"/>
                </a:solidFill>
                <a:effectLst/>
                <a:uLnTx/>
                <a:uFillTx/>
                <a:latin typeface="Lucida Sans Unicode"/>
                <a:ea typeface="+mn-ea"/>
                <a:cs typeface="+mn-cs"/>
              </a:rPr>
              <a:t>Nieuw</a:t>
            </a:r>
            <a:r>
              <a:rPr kumimoji="0" lang="en-GB" sz="1200" b="0" i="0" u="none" strike="noStrike" kern="1200" cap="none" spc="0" normalizeH="0" baseline="0" noProof="0">
                <a:ln>
                  <a:noFill/>
                </a:ln>
                <a:solidFill>
                  <a:prstClr val="black"/>
                </a:solidFill>
                <a:effectLst/>
                <a:uLnTx/>
                <a:uFillTx/>
                <a:latin typeface="Lucida Sans Unicode"/>
                <a:ea typeface="+mn-ea"/>
                <a:cs typeface="+mn-cs"/>
              </a:rPr>
              <a:t> </a:t>
            </a:r>
            <a:r>
              <a:rPr kumimoji="0" lang="en-GB" sz="1200" b="0" i="0" u="none" strike="noStrike" kern="1200" cap="none" spc="0" normalizeH="0" baseline="0" noProof="0" err="1">
                <a:ln>
                  <a:noFill/>
                </a:ln>
                <a:solidFill>
                  <a:prstClr val="black"/>
                </a:solidFill>
                <a:effectLst/>
                <a:uLnTx/>
                <a:uFillTx/>
                <a:latin typeface="Lucida Sans Unicode"/>
                <a:ea typeface="+mn-ea"/>
                <a:cs typeface="+mn-cs"/>
              </a:rPr>
              <a:t>communicatieplatform</a:t>
            </a:r>
            <a:r>
              <a:rPr kumimoji="0" lang="en-GB" sz="1200" b="0" i="0" u="none" strike="noStrike" kern="1200" cap="none" spc="0" normalizeH="0" baseline="0" noProof="0">
                <a:ln>
                  <a:noFill/>
                </a:ln>
                <a:solidFill>
                  <a:prstClr val="black"/>
                </a:solidFill>
                <a:effectLst/>
                <a:uLnTx/>
                <a:uFillTx/>
                <a:latin typeface="Lucida Sans Unicode"/>
                <a:ea typeface="+mn-ea"/>
                <a:cs typeface="+mn-cs"/>
              </a:rPr>
              <a:t> MIG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Lucida Sans Unicode"/>
                <a:ea typeface="+mn-ea"/>
                <a:cs typeface="+mn-cs"/>
              </a:rPr>
              <a:t>(met aftercare in 2022)</a:t>
            </a:r>
            <a:endParaRPr kumimoji="0" lang="en-GB" sz="1200" b="1" i="0" u="none" strike="noStrike" kern="1200" cap="none" spc="0" normalizeH="0" baseline="0" noProof="0">
              <a:ln>
                <a:noFill/>
              </a:ln>
              <a:solidFill>
                <a:prstClr val="black">
                  <a:lumMod val="75000"/>
                  <a:lumOff val="25000"/>
                </a:prstClr>
              </a:solidFill>
              <a:effectLst/>
              <a:uLnTx/>
              <a:uFillTx/>
              <a:latin typeface="Lucida Sans Unicode"/>
              <a:ea typeface="+mn-ea"/>
              <a:cs typeface="+mn-cs"/>
            </a:endParaRPr>
          </a:p>
        </p:txBody>
      </p:sp>
      <p:sp>
        <p:nvSpPr>
          <p:cNvPr id="17" name="Arrow: Pentagon 16">
            <a:extLst>
              <a:ext uri="{FF2B5EF4-FFF2-40B4-BE49-F238E27FC236}">
                <a16:creationId xmlns:a16="http://schemas.microsoft.com/office/drawing/2014/main" id="{9D61C71D-9CEC-928C-F824-5EB9DA746F84}"/>
              </a:ext>
            </a:extLst>
          </p:cNvPr>
          <p:cNvSpPr/>
          <p:nvPr/>
        </p:nvSpPr>
        <p:spPr>
          <a:xfrm>
            <a:off x="7603450" y="5445494"/>
            <a:ext cx="1281528" cy="541306"/>
          </a:xfrm>
          <a:prstGeom prst="homePlate">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Suspension des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coupures</a:t>
            </a:r>
            <a:r>
              <a:rPr kumimoji="0" lang="en-GB" sz="800" b="0" i="0" u="none" strike="noStrike" kern="1200" cap="none" spc="0" normalizeH="0" baseline="0" noProof="0">
                <a:ln>
                  <a:noFill/>
                </a:ln>
                <a:solidFill>
                  <a:prstClr val="black"/>
                </a:solidFill>
                <a:effectLst/>
                <a:uLnTx/>
                <a:uFillTx/>
                <a:latin typeface="Lucida Sans Unicode"/>
                <a:ea typeface="+mn-ea"/>
                <a:cs typeface="+mn-cs"/>
              </a:rPr>
              <a:t> et pose CAB 1/11/2022</a:t>
            </a:r>
          </a:p>
        </p:txBody>
      </p:sp>
      <p:sp>
        <p:nvSpPr>
          <p:cNvPr id="29" name="Chevron 19">
            <a:extLst>
              <a:ext uri="{FF2B5EF4-FFF2-40B4-BE49-F238E27FC236}">
                <a16:creationId xmlns:a16="http://schemas.microsoft.com/office/drawing/2014/main" id="{6044AEE5-7F2F-78E6-A77F-4FCBEA356745}"/>
              </a:ext>
            </a:extLst>
          </p:cNvPr>
          <p:cNvSpPr/>
          <p:nvPr/>
        </p:nvSpPr>
        <p:spPr>
          <a:xfrm>
            <a:off x="3412796" y="1608331"/>
            <a:ext cx="659894" cy="224841"/>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MAY</a:t>
            </a:r>
          </a:p>
        </p:txBody>
      </p:sp>
      <p:sp>
        <p:nvSpPr>
          <p:cNvPr id="31" name="Chevron 19">
            <a:extLst>
              <a:ext uri="{FF2B5EF4-FFF2-40B4-BE49-F238E27FC236}">
                <a16:creationId xmlns:a16="http://schemas.microsoft.com/office/drawing/2014/main" id="{334523AD-D558-32AD-09CD-F8E6CDF43DFB}"/>
              </a:ext>
            </a:extLst>
          </p:cNvPr>
          <p:cNvSpPr/>
          <p:nvPr/>
        </p:nvSpPr>
        <p:spPr>
          <a:xfrm>
            <a:off x="4107599" y="1606194"/>
            <a:ext cx="659894" cy="213756"/>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JUN</a:t>
            </a:r>
          </a:p>
        </p:txBody>
      </p:sp>
      <p:sp>
        <p:nvSpPr>
          <p:cNvPr id="36" name="Chevron 19">
            <a:extLst>
              <a:ext uri="{FF2B5EF4-FFF2-40B4-BE49-F238E27FC236}">
                <a16:creationId xmlns:a16="http://schemas.microsoft.com/office/drawing/2014/main" id="{129C48B2-2DEB-4B86-8B82-91DFD6D9AA18}"/>
              </a:ext>
            </a:extLst>
          </p:cNvPr>
          <p:cNvSpPr/>
          <p:nvPr/>
        </p:nvSpPr>
        <p:spPr>
          <a:xfrm>
            <a:off x="6072900" y="1630140"/>
            <a:ext cx="659894" cy="224841"/>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SEP</a:t>
            </a:r>
          </a:p>
        </p:txBody>
      </p:sp>
      <p:sp>
        <p:nvSpPr>
          <p:cNvPr id="38" name="Chevron 19">
            <a:extLst>
              <a:ext uri="{FF2B5EF4-FFF2-40B4-BE49-F238E27FC236}">
                <a16:creationId xmlns:a16="http://schemas.microsoft.com/office/drawing/2014/main" id="{EF375FED-56EA-463E-B591-69A04CC4A659}"/>
              </a:ext>
            </a:extLst>
          </p:cNvPr>
          <p:cNvSpPr/>
          <p:nvPr/>
        </p:nvSpPr>
        <p:spPr>
          <a:xfrm>
            <a:off x="6748572" y="1638602"/>
            <a:ext cx="659894" cy="224841"/>
          </a:xfrm>
          <a:prstGeom prst="chevron">
            <a:avLst/>
          </a:prstGeom>
          <a:gradFill flip="none" rotWithShape="1">
            <a:gsLst>
              <a:gs pos="0">
                <a:srgbClr val="A2D3F3">
                  <a:tint val="66000"/>
                  <a:satMod val="160000"/>
                </a:srgbClr>
              </a:gs>
              <a:gs pos="50000">
                <a:srgbClr val="A2D3F3">
                  <a:tint val="44500"/>
                  <a:satMod val="160000"/>
                </a:srgbClr>
              </a:gs>
              <a:gs pos="100000">
                <a:srgbClr val="A2D3F3">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Lucida Sans Unicode"/>
                <a:ea typeface="+mn-ea"/>
                <a:cs typeface="+mn-cs"/>
              </a:rPr>
              <a:t>Oct</a:t>
            </a:r>
          </a:p>
        </p:txBody>
      </p:sp>
      <p:sp>
        <p:nvSpPr>
          <p:cNvPr id="45" name="Arrow: Pentagon 44">
            <a:extLst>
              <a:ext uri="{FF2B5EF4-FFF2-40B4-BE49-F238E27FC236}">
                <a16:creationId xmlns:a16="http://schemas.microsoft.com/office/drawing/2014/main" id="{3DC32DB0-29A1-7537-ACB7-24B4B4DFD1CA}"/>
              </a:ext>
            </a:extLst>
          </p:cNvPr>
          <p:cNvSpPr/>
          <p:nvPr/>
        </p:nvSpPr>
        <p:spPr>
          <a:xfrm>
            <a:off x="7584981" y="2885492"/>
            <a:ext cx="1729873" cy="456563"/>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Engagement I: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transparantie</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Lucida Sans Unicode"/>
                <a:ea typeface="+mn-ea"/>
                <a:cs typeface="+mn-cs"/>
              </a:rPr>
              <a:t>(1/11/22 - 31/12/22)</a:t>
            </a:r>
          </a:p>
        </p:txBody>
      </p:sp>
      <p:sp>
        <p:nvSpPr>
          <p:cNvPr id="6" name="Chevron 19">
            <a:extLst>
              <a:ext uri="{FF2B5EF4-FFF2-40B4-BE49-F238E27FC236}">
                <a16:creationId xmlns:a16="http://schemas.microsoft.com/office/drawing/2014/main" id="{5E7EDF1F-15A1-9AC5-F949-1073791FC62B}"/>
              </a:ext>
            </a:extLst>
          </p:cNvPr>
          <p:cNvSpPr/>
          <p:nvPr/>
        </p:nvSpPr>
        <p:spPr>
          <a:xfrm>
            <a:off x="10152938" y="1649727"/>
            <a:ext cx="608736" cy="169018"/>
          </a:xfrm>
          <a:prstGeom prst="chevron">
            <a:avLst/>
          </a:prstGeom>
          <a:gradFill flip="none" rotWithShape="1">
            <a:gsLst>
              <a:gs pos="0">
                <a:srgbClr val="E3EDCA">
                  <a:shade val="30000"/>
                  <a:satMod val="115000"/>
                </a:srgbClr>
              </a:gs>
              <a:gs pos="50000">
                <a:srgbClr val="E3EDCA">
                  <a:shade val="67500"/>
                  <a:satMod val="115000"/>
                </a:srgbClr>
              </a:gs>
              <a:gs pos="100000">
                <a:srgbClr val="E3EDCA">
                  <a:shade val="100000"/>
                  <a:satMod val="115000"/>
                </a:srgbClr>
              </a:gs>
            </a:gsLst>
            <a:lin ang="189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Lucida Sans Unicode"/>
                <a:ea typeface="+mn-ea"/>
                <a:cs typeface="+mn-cs"/>
              </a:rPr>
              <a:t>MARCH</a:t>
            </a:r>
          </a:p>
        </p:txBody>
      </p:sp>
      <p:sp>
        <p:nvSpPr>
          <p:cNvPr id="8" name="Chevron 19">
            <a:extLst>
              <a:ext uri="{FF2B5EF4-FFF2-40B4-BE49-F238E27FC236}">
                <a16:creationId xmlns:a16="http://schemas.microsoft.com/office/drawing/2014/main" id="{48851CF5-48CD-0444-FFEC-8090D2C6DAC8}"/>
              </a:ext>
            </a:extLst>
          </p:cNvPr>
          <p:cNvSpPr/>
          <p:nvPr/>
        </p:nvSpPr>
        <p:spPr>
          <a:xfrm>
            <a:off x="9049385" y="1636299"/>
            <a:ext cx="567731" cy="195874"/>
          </a:xfrm>
          <a:prstGeom prst="chevron">
            <a:avLst/>
          </a:prstGeom>
          <a:gradFill flip="none" rotWithShape="1">
            <a:gsLst>
              <a:gs pos="0">
                <a:srgbClr val="E3EDCA">
                  <a:shade val="30000"/>
                  <a:satMod val="115000"/>
                </a:srgbClr>
              </a:gs>
              <a:gs pos="50000">
                <a:srgbClr val="E3EDCA">
                  <a:shade val="67500"/>
                  <a:satMod val="115000"/>
                </a:srgbClr>
              </a:gs>
              <a:gs pos="100000">
                <a:srgbClr val="E3EDCA">
                  <a:shade val="100000"/>
                  <a:satMod val="115000"/>
                </a:srgbClr>
              </a:gs>
            </a:gsLst>
            <a:lin ang="189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Lucida Sans Unicode"/>
                <a:ea typeface="+mn-ea"/>
                <a:cs typeface="+mn-cs"/>
              </a:rPr>
              <a:t>JAN</a:t>
            </a:r>
          </a:p>
        </p:txBody>
      </p:sp>
      <p:sp>
        <p:nvSpPr>
          <p:cNvPr id="44" name="Chevron 19">
            <a:extLst>
              <a:ext uri="{FF2B5EF4-FFF2-40B4-BE49-F238E27FC236}">
                <a16:creationId xmlns:a16="http://schemas.microsoft.com/office/drawing/2014/main" id="{1030BF1E-B23C-BF9B-8BF5-F715326AA624}"/>
              </a:ext>
            </a:extLst>
          </p:cNvPr>
          <p:cNvSpPr/>
          <p:nvPr/>
        </p:nvSpPr>
        <p:spPr>
          <a:xfrm>
            <a:off x="9595384" y="1630944"/>
            <a:ext cx="567731" cy="195874"/>
          </a:xfrm>
          <a:prstGeom prst="chevron">
            <a:avLst/>
          </a:prstGeom>
          <a:gradFill flip="none" rotWithShape="1">
            <a:gsLst>
              <a:gs pos="0">
                <a:srgbClr val="E3EDCA">
                  <a:shade val="30000"/>
                  <a:satMod val="115000"/>
                </a:srgbClr>
              </a:gs>
              <a:gs pos="50000">
                <a:srgbClr val="E3EDCA">
                  <a:shade val="67500"/>
                  <a:satMod val="115000"/>
                </a:srgbClr>
              </a:gs>
              <a:gs pos="100000">
                <a:srgbClr val="E3EDCA">
                  <a:shade val="100000"/>
                  <a:satMod val="115000"/>
                </a:srgbClr>
              </a:gs>
            </a:gsLst>
            <a:lin ang="189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Lucida Sans Unicode"/>
                <a:ea typeface="+mn-ea"/>
                <a:cs typeface="+mn-cs"/>
              </a:rPr>
              <a:t>FEB</a:t>
            </a:r>
          </a:p>
        </p:txBody>
      </p:sp>
      <p:sp>
        <p:nvSpPr>
          <p:cNvPr id="48" name="Chevron 5">
            <a:extLst>
              <a:ext uri="{FF2B5EF4-FFF2-40B4-BE49-F238E27FC236}">
                <a16:creationId xmlns:a16="http://schemas.microsoft.com/office/drawing/2014/main" id="{3AD780E7-E1EB-F884-32EC-BADA9AE86789}"/>
              </a:ext>
            </a:extLst>
          </p:cNvPr>
          <p:cNvSpPr/>
          <p:nvPr/>
        </p:nvSpPr>
        <p:spPr>
          <a:xfrm>
            <a:off x="8973668" y="1144487"/>
            <a:ext cx="3162761" cy="391134"/>
          </a:xfrm>
          <a:prstGeom prst="chevron">
            <a:avLst/>
          </a:prstGeom>
          <a:solidFill>
            <a:srgbClr val="E3EDCA"/>
          </a:solidFill>
          <a:ln>
            <a:solidFill>
              <a:srgbClr val="E3EDC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lumMod val="75000"/>
                  <a:lumOff val="25000"/>
                </a:prstClr>
              </a:solidFill>
              <a:effectLst/>
              <a:uLnTx/>
              <a:uFillTx/>
              <a:latin typeface="Lucida Sans Unicod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75000"/>
                    <a:lumOff val="25000"/>
                  </a:prstClr>
                </a:solidFill>
                <a:effectLst/>
                <a:uLnTx/>
                <a:uFillTx/>
                <a:latin typeface="Lucida Sans Unicode"/>
                <a:ea typeface="+mn-ea"/>
                <a:cs typeface="+mn-cs"/>
              </a:rPr>
              <a:t>2023</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lumMod val="75000"/>
                  <a:lumOff val="25000"/>
                </a:prstClr>
              </a:solidFill>
              <a:effectLst/>
              <a:uLnTx/>
              <a:uFillTx/>
              <a:latin typeface="Lucida Sans Unicode"/>
              <a:ea typeface="+mn-ea"/>
              <a:cs typeface="+mn-cs"/>
            </a:endParaRPr>
          </a:p>
        </p:txBody>
      </p:sp>
      <p:sp>
        <p:nvSpPr>
          <p:cNvPr id="51" name="Rectangle 50">
            <a:extLst>
              <a:ext uri="{FF2B5EF4-FFF2-40B4-BE49-F238E27FC236}">
                <a16:creationId xmlns:a16="http://schemas.microsoft.com/office/drawing/2014/main" id="{7B97E50B-FA4A-718A-694A-5A2A62CB8020}"/>
              </a:ext>
            </a:extLst>
          </p:cNvPr>
          <p:cNvSpPr/>
          <p:nvPr/>
        </p:nvSpPr>
        <p:spPr>
          <a:xfrm>
            <a:off x="10595910" y="1900793"/>
            <a:ext cx="687849" cy="465282"/>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Accijns</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cliquet</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RES</a:t>
            </a:r>
          </a:p>
        </p:txBody>
      </p:sp>
      <p:sp>
        <p:nvSpPr>
          <p:cNvPr id="56" name="Arrow: Pentagon 55">
            <a:extLst>
              <a:ext uri="{FF2B5EF4-FFF2-40B4-BE49-F238E27FC236}">
                <a16:creationId xmlns:a16="http://schemas.microsoft.com/office/drawing/2014/main" id="{FE0B886A-B45A-4FBE-0FE6-0204577C7992}"/>
              </a:ext>
            </a:extLst>
          </p:cNvPr>
          <p:cNvSpPr/>
          <p:nvPr/>
        </p:nvSpPr>
        <p:spPr>
          <a:xfrm>
            <a:off x="9071497" y="1923213"/>
            <a:ext cx="1133217" cy="529616"/>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err="1">
                <a:ln>
                  <a:noFill/>
                </a:ln>
                <a:solidFill>
                  <a:prstClr val="black"/>
                </a:solidFill>
                <a:effectLst/>
                <a:uLnTx/>
                <a:uFillTx/>
                <a:latin typeface="Lucida Sans Unicode"/>
                <a:ea typeface="+mn-ea"/>
                <a:cs typeface="+mn-cs"/>
              </a:rPr>
              <a:t>Accijns-verlaging</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Prof.II</a:t>
            </a:r>
            <a:r>
              <a:rPr kumimoji="0" lang="en-GB" sz="800" b="0" i="0" u="none" strike="noStrike" kern="1200" cap="none" spc="0" normalizeH="0" baseline="0" noProof="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err="1">
                <a:ln>
                  <a:noFill/>
                </a:ln>
                <a:solidFill>
                  <a:prstClr val="black"/>
                </a:solidFill>
                <a:effectLst/>
                <a:uLnTx/>
                <a:uFillTx/>
                <a:latin typeface="Lucida Sans Unicode"/>
                <a:ea typeface="+mn-ea"/>
                <a:cs typeface="+mn-cs"/>
              </a:rPr>
              <a:t>verlenging</a:t>
            </a:r>
            <a:r>
              <a:rPr kumimoji="0" lang="en-GB" sz="800" b="0" i="0" u="none" strike="noStrike" kern="1200" cap="none" spc="0" normalizeH="0" baseline="0" noProof="0">
                <a:ln>
                  <a:noFill/>
                </a:ln>
                <a:solidFill>
                  <a:prstClr val="black"/>
                </a:solidFill>
                <a:effectLst/>
                <a:uLnTx/>
                <a:uFillTx/>
                <a:latin typeface="Lucida Sans Unicode"/>
                <a:ea typeface="+mn-ea"/>
                <a:cs typeface="+mn-cs"/>
              </a:rPr>
              <a:t> 1/1/23</a:t>
            </a:r>
          </a:p>
        </p:txBody>
      </p:sp>
      <p:sp>
        <p:nvSpPr>
          <p:cNvPr id="59" name="Arrow: Pentagon 58">
            <a:extLst>
              <a:ext uri="{FF2B5EF4-FFF2-40B4-BE49-F238E27FC236}">
                <a16:creationId xmlns:a16="http://schemas.microsoft.com/office/drawing/2014/main" id="{55C0A5BF-E97A-3C01-5F39-A32BB5AD0273}"/>
              </a:ext>
            </a:extLst>
          </p:cNvPr>
          <p:cNvSpPr/>
          <p:nvPr/>
        </p:nvSpPr>
        <p:spPr>
          <a:xfrm>
            <a:off x="9125668" y="2482381"/>
            <a:ext cx="2158091" cy="316834"/>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Basispakket</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II: EL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en</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G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Fase</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I+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Fase</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II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manueel</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a:t>
            </a:r>
          </a:p>
        </p:txBody>
      </p:sp>
      <p:sp>
        <p:nvSpPr>
          <p:cNvPr id="61" name="Chevron 19">
            <a:extLst>
              <a:ext uri="{FF2B5EF4-FFF2-40B4-BE49-F238E27FC236}">
                <a16:creationId xmlns:a16="http://schemas.microsoft.com/office/drawing/2014/main" id="{02339325-3E49-9513-40E3-975A20D184C4}"/>
              </a:ext>
            </a:extLst>
          </p:cNvPr>
          <p:cNvSpPr/>
          <p:nvPr/>
        </p:nvSpPr>
        <p:spPr>
          <a:xfrm>
            <a:off x="10721241" y="1636299"/>
            <a:ext cx="560483" cy="195874"/>
          </a:xfrm>
          <a:prstGeom prst="chevron">
            <a:avLst/>
          </a:prstGeom>
          <a:gradFill flip="none" rotWithShape="1">
            <a:gsLst>
              <a:gs pos="0">
                <a:srgbClr val="E3EDCA">
                  <a:shade val="30000"/>
                  <a:satMod val="115000"/>
                </a:srgbClr>
              </a:gs>
              <a:gs pos="50000">
                <a:srgbClr val="E3EDCA">
                  <a:shade val="67500"/>
                  <a:satMod val="115000"/>
                </a:srgbClr>
              </a:gs>
              <a:gs pos="100000">
                <a:srgbClr val="E3EDCA">
                  <a:shade val="100000"/>
                  <a:satMod val="115000"/>
                </a:srgbClr>
              </a:gs>
            </a:gsLst>
            <a:lin ang="189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black"/>
                </a:solidFill>
                <a:effectLst/>
                <a:uLnTx/>
                <a:uFillTx/>
                <a:latin typeface="Lucida Sans Unicode"/>
                <a:ea typeface="+mn-ea"/>
                <a:cs typeface="+mn-cs"/>
              </a:rPr>
              <a:t>APR</a:t>
            </a:r>
          </a:p>
        </p:txBody>
      </p:sp>
      <p:sp>
        <p:nvSpPr>
          <p:cNvPr id="67" name="Rectangle 66">
            <a:extLst>
              <a:ext uri="{FF2B5EF4-FFF2-40B4-BE49-F238E27FC236}">
                <a16:creationId xmlns:a16="http://schemas.microsoft.com/office/drawing/2014/main" id="{29623CBF-79FA-7E26-2AAE-B63874EC61B9}"/>
              </a:ext>
            </a:extLst>
          </p:cNvPr>
          <p:cNvSpPr/>
          <p:nvPr/>
        </p:nvSpPr>
        <p:spPr>
          <a:xfrm>
            <a:off x="11384280" y="2429216"/>
            <a:ext cx="719372" cy="351614"/>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BTW Gas PROF</a:t>
            </a:r>
          </a:p>
        </p:txBody>
      </p:sp>
      <p:sp>
        <p:nvSpPr>
          <p:cNvPr id="73" name="Rectangle 72">
            <a:extLst>
              <a:ext uri="{FF2B5EF4-FFF2-40B4-BE49-F238E27FC236}">
                <a16:creationId xmlns:a16="http://schemas.microsoft.com/office/drawing/2014/main" id="{EF7D8F22-7DED-F73A-87B6-D8261A519B11}"/>
              </a:ext>
            </a:extLst>
          </p:cNvPr>
          <p:cNvSpPr/>
          <p:nvPr/>
        </p:nvSpPr>
        <p:spPr>
          <a:xfrm>
            <a:off x="10166503" y="2827893"/>
            <a:ext cx="875754" cy="424891"/>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Engagement II: monitoring 31/3/23</a:t>
            </a:r>
          </a:p>
        </p:txBody>
      </p:sp>
      <p:sp>
        <p:nvSpPr>
          <p:cNvPr id="75" name="Rectangle 74">
            <a:extLst>
              <a:ext uri="{FF2B5EF4-FFF2-40B4-BE49-F238E27FC236}">
                <a16:creationId xmlns:a16="http://schemas.microsoft.com/office/drawing/2014/main" id="{1CEE1173-521A-E563-ACDE-14942CE93F1D}"/>
              </a:ext>
            </a:extLst>
          </p:cNvPr>
          <p:cNvSpPr/>
          <p:nvPr/>
        </p:nvSpPr>
        <p:spPr>
          <a:xfrm>
            <a:off x="10318048" y="4240883"/>
            <a:ext cx="764049" cy="494582"/>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Protocol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voorschot-verlaging</a:t>
            </a:r>
            <a:endParaRPr kumimoji="0" lang="en-GB" sz="800" b="0" i="0" u="none" strike="noStrike" kern="1200" cap="none" spc="0" normalizeH="0" baseline="0" noProof="0" dirty="0">
              <a:ln>
                <a:noFill/>
              </a:ln>
              <a:solidFill>
                <a:prstClr val="black"/>
              </a:solidFill>
              <a:effectLst/>
              <a:uLnTx/>
              <a:uFillTx/>
              <a:latin typeface="Lucida Sans Unicode"/>
              <a:ea typeface="+mn-ea"/>
              <a:cs typeface="+mn-cs"/>
            </a:endParaRPr>
          </a:p>
        </p:txBody>
      </p:sp>
      <p:sp>
        <p:nvSpPr>
          <p:cNvPr id="76" name="Chevron 19">
            <a:extLst>
              <a:ext uri="{FF2B5EF4-FFF2-40B4-BE49-F238E27FC236}">
                <a16:creationId xmlns:a16="http://schemas.microsoft.com/office/drawing/2014/main" id="{F4229E9C-2F3B-7288-566B-6DE14DD50ACA}"/>
              </a:ext>
            </a:extLst>
          </p:cNvPr>
          <p:cNvSpPr/>
          <p:nvPr/>
        </p:nvSpPr>
        <p:spPr>
          <a:xfrm>
            <a:off x="11514975" y="1645474"/>
            <a:ext cx="560483" cy="195874"/>
          </a:xfrm>
          <a:prstGeom prst="chevron">
            <a:avLst/>
          </a:prstGeom>
          <a:gradFill flip="none" rotWithShape="1">
            <a:gsLst>
              <a:gs pos="0">
                <a:srgbClr val="E3EDCA">
                  <a:shade val="30000"/>
                  <a:satMod val="115000"/>
                </a:srgbClr>
              </a:gs>
              <a:gs pos="50000">
                <a:srgbClr val="E3EDCA">
                  <a:shade val="67500"/>
                  <a:satMod val="115000"/>
                </a:srgbClr>
              </a:gs>
              <a:gs pos="100000">
                <a:srgbClr val="E3EDCA">
                  <a:shade val="100000"/>
                  <a:satMod val="115000"/>
                </a:srgbClr>
              </a:gs>
            </a:gsLst>
            <a:lin ang="189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2203" rIns="0" bIns="42203"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err="1">
                <a:ln>
                  <a:noFill/>
                </a:ln>
                <a:solidFill>
                  <a:prstClr val="black"/>
                </a:solidFill>
                <a:effectLst/>
                <a:uLnTx/>
                <a:uFillTx/>
                <a:latin typeface="Lucida Sans Unicode"/>
                <a:ea typeface="+mn-ea"/>
                <a:cs typeface="+mn-cs"/>
              </a:rPr>
              <a:t>juni</a:t>
            </a:r>
            <a:endParaRPr kumimoji="0" lang="en-GB" sz="900" b="1" i="0" u="none" strike="noStrike" kern="1200" cap="none" spc="0" normalizeH="0" baseline="0" noProof="0">
              <a:ln>
                <a:noFill/>
              </a:ln>
              <a:solidFill>
                <a:prstClr val="black"/>
              </a:solidFill>
              <a:effectLst/>
              <a:uLnTx/>
              <a:uFillTx/>
              <a:latin typeface="Lucida Sans Unicode"/>
              <a:ea typeface="+mn-ea"/>
              <a:cs typeface="+mn-cs"/>
            </a:endParaRPr>
          </a:p>
        </p:txBody>
      </p:sp>
      <p:sp>
        <p:nvSpPr>
          <p:cNvPr id="78" name="Rectangle 77">
            <a:extLst>
              <a:ext uri="{FF2B5EF4-FFF2-40B4-BE49-F238E27FC236}">
                <a16:creationId xmlns:a16="http://schemas.microsoft.com/office/drawing/2014/main" id="{ADF655FF-D1D2-61CC-A815-608FF36A03D1}"/>
              </a:ext>
            </a:extLst>
          </p:cNvPr>
          <p:cNvSpPr/>
          <p:nvPr/>
        </p:nvSpPr>
        <p:spPr>
          <a:xfrm>
            <a:off x="11316938" y="1890886"/>
            <a:ext cx="801910" cy="465282"/>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Hervorming</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fisciliteit</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Bt</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w- prof </a:t>
            </a:r>
          </a:p>
        </p:txBody>
      </p:sp>
      <p:sp>
        <p:nvSpPr>
          <p:cNvPr id="2" name="Slide Number Placeholder 5">
            <a:extLst>
              <a:ext uri="{FF2B5EF4-FFF2-40B4-BE49-F238E27FC236}">
                <a16:creationId xmlns:a16="http://schemas.microsoft.com/office/drawing/2014/main" id="{04EFF506-C3A4-5A4A-B13C-689FCBAA2A3D}"/>
              </a:ext>
            </a:extLst>
          </p:cNvPr>
          <p:cNvSpPr txBox="1">
            <a:spLocks/>
          </p:cNvSpPr>
          <p:nvPr/>
        </p:nvSpPr>
        <p:spPr>
          <a:xfrm>
            <a:off x="275953" y="6463567"/>
            <a:ext cx="589856" cy="276224"/>
          </a:xfrm>
          <a:prstGeom prst="rect">
            <a:avLst/>
          </a:prstGeom>
        </p:spPr>
        <p:txBody>
          <a:bodyPr/>
          <a:ls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BE375CD-4755-4D83-B134-E6AD5007676A}" type="slidenum">
              <a:rPr kumimoji="0" lang="nl-BE" sz="1100" b="0" i="0" u="none" strike="noStrike" kern="1200" cap="none" spc="0" normalizeH="0" baseline="0" noProof="0" smtClean="0">
                <a:ln>
                  <a:noFill/>
                </a:ln>
                <a:solidFill>
                  <a:srgbClr val="1A1A1A"/>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l-BE" sz="1100" b="0" i="0" u="none" strike="noStrike" kern="1200" cap="none" spc="0" normalizeH="0" baseline="0" noProof="0">
              <a:ln>
                <a:noFill/>
              </a:ln>
              <a:solidFill>
                <a:srgbClr val="1A1A1A"/>
              </a:solidFill>
              <a:effectLst/>
              <a:uLnTx/>
              <a:uFillTx/>
              <a:latin typeface="Arial"/>
              <a:ea typeface="+mn-ea"/>
              <a:cs typeface="+mn-cs"/>
            </a:endParaRPr>
          </a:p>
        </p:txBody>
      </p:sp>
      <p:sp>
        <p:nvSpPr>
          <p:cNvPr id="9" name="Title 2">
            <a:extLst>
              <a:ext uri="{FF2B5EF4-FFF2-40B4-BE49-F238E27FC236}">
                <a16:creationId xmlns:a16="http://schemas.microsoft.com/office/drawing/2014/main" id="{9FBD11D0-AE65-2319-D6AE-C1AA4D480E4D}"/>
              </a:ext>
            </a:extLst>
          </p:cNvPr>
          <p:cNvSpPr>
            <a:spLocks noGrp="1"/>
          </p:cNvSpPr>
          <p:nvPr>
            <p:ph type="title"/>
          </p:nvPr>
        </p:nvSpPr>
        <p:spPr>
          <a:xfrm>
            <a:off x="216898" y="57404"/>
            <a:ext cx="4792424" cy="678720"/>
          </a:xfrm>
        </p:spPr>
        <p:txBody>
          <a:bodyPr>
            <a:noAutofit/>
          </a:bodyPr>
          <a:lstStyle/>
          <a:p>
            <a:r>
              <a:rPr lang="en-GB" sz="1800" dirty="0"/>
              <a:t>TIJSDLIJN IMPLEMENTATIES </a:t>
            </a:r>
            <a:br>
              <a:rPr lang="en-GB" sz="1800" dirty="0"/>
            </a:br>
            <a:r>
              <a:rPr lang="en-GB" sz="1800" dirty="0"/>
              <a:t>2021, 2022 </a:t>
            </a:r>
            <a:r>
              <a:rPr lang="en-GB" sz="1800" dirty="0" err="1"/>
              <a:t>en</a:t>
            </a:r>
            <a:r>
              <a:rPr lang="en-GB" sz="1800" dirty="0"/>
              <a:t> Q1 2023</a:t>
            </a:r>
            <a:endParaRPr lang="en-BE" sz="1800" dirty="0"/>
          </a:p>
        </p:txBody>
      </p:sp>
      <p:sp>
        <p:nvSpPr>
          <p:cNvPr id="10" name="TextBox 9">
            <a:extLst>
              <a:ext uri="{FF2B5EF4-FFF2-40B4-BE49-F238E27FC236}">
                <a16:creationId xmlns:a16="http://schemas.microsoft.com/office/drawing/2014/main" id="{EE6CFEC2-7258-6F0C-BC35-CA24400AC870}"/>
              </a:ext>
            </a:extLst>
          </p:cNvPr>
          <p:cNvSpPr txBox="1"/>
          <p:nvPr/>
        </p:nvSpPr>
        <p:spPr>
          <a:xfrm>
            <a:off x="9749903" y="90943"/>
            <a:ext cx="2398707" cy="369332"/>
          </a:xfrm>
          <a:prstGeom prst="rect">
            <a:avLst/>
          </a:prstGeom>
          <a:solidFill>
            <a:srgbClr val="C62B37"/>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Lucida Sans Unicode"/>
                <a:ea typeface="+mn-ea"/>
                <a:cs typeface="+mn-cs"/>
              </a:rPr>
              <a:t>Update 14.2.2023</a:t>
            </a:r>
            <a:endParaRPr kumimoji="0" lang="en-BE" sz="1800" b="0" i="0" u="none" strike="noStrike" kern="1200" cap="none" spc="0" normalizeH="0" baseline="0" noProof="0" dirty="0">
              <a:ln>
                <a:noFill/>
              </a:ln>
              <a:solidFill>
                <a:prstClr val="white"/>
              </a:solidFill>
              <a:effectLst/>
              <a:uLnTx/>
              <a:uFillTx/>
              <a:latin typeface="Lucida Sans Unicode"/>
              <a:ea typeface="+mn-ea"/>
              <a:cs typeface="+mn-cs"/>
            </a:endParaRPr>
          </a:p>
        </p:txBody>
      </p:sp>
      <p:sp>
        <p:nvSpPr>
          <p:cNvPr id="20" name="Rectangle 19">
            <a:extLst>
              <a:ext uri="{FF2B5EF4-FFF2-40B4-BE49-F238E27FC236}">
                <a16:creationId xmlns:a16="http://schemas.microsoft.com/office/drawing/2014/main" id="{18487049-CDF9-9299-FAF3-CC6A0CA87E21}"/>
              </a:ext>
            </a:extLst>
          </p:cNvPr>
          <p:cNvSpPr/>
          <p:nvPr/>
        </p:nvSpPr>
        <p:spPr>
          <a:xfrm>
            <a:off x="10318048" y="3706355"/>
            <a:ext cx="764049" cy="494582"/>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BIM-</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aangepaste</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soctar</a:t>
            </a:r>
            <a:endParaRPr kumimoji="0" lang="en-GB" sz="800" b="0" i="0" u="none" strike="noStrike" kern="1200" cap="none" spc="0" normalizeH="0" baseline="0" noProof="0" dirty="0">
              <a:ln>
                <a:noFill/>
              </a:ln>
              <a:solidFill>
                <a:prstClr val="black"/>
              </a:solidFill>
              <a:effectLst/>
              <a:uLnTx/>
              <a:uFillTx/>
              <a:latin typeface="Lucida Sans Unicode"/>
              <a:ea typeface="+mn-ea"/>
              <a:cs typeface="+mn-cs"/>
            </a:endParaRPr>
          </a:p>
        </p:txBody>
      </p:sp>
      <p:sp>
        <p:nvSpPr>
          <p:cNvPr id="3" name="Rectangle 2">
            <a:extLst>
              <a:ext uri="{FF2B5EF4-FFF2-40B4-BE49-F238E27FC236}">
                <a16:creationId xmlns:a16="http://schemas.microsoft.com/office/drawing/2014/main" id="{021782F3-0083-027C-340C-E38F5561580D}"/>
              </a:ext>
            </a:extLst>
          </p:cNvPr>
          <p:cNvSpPr/>
          <p:nvPr/>
        </p:nvSpPr>
        <p:spPr>
          <a:xfrm>
            <a:off x="9021626" y="528268"/>
            <a:ext cx="437402" cy="527534"/>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Lucida Sans Unicod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Lucida Sans Unicode"/>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Lucida Sans Unicode"/>
              <a:ea typeface="+mn-ea"/>
              <a:cs typeface="+mn-cs"/>
            </a:endParaRPr>
          </a:p>
        </p:txBody>
      </p:sp>
      <p:sp>
        <p:nvSpPr>
          <p:cNvPr id="5" name="Rectangle 4">
            <a:extLst>
              <a:ext uri="{FF2B5EF4-FFF2-40B4-BE49-F238E27FC236}">
                <a16:creationId xmlns:a16="http://schemas.microsoft.com/office/drawing/2014/main" id="{754AEBE2-46D0-9C93-2643-C1518ACB7289}"/>
              </a:ext>
            </a:extLst>
          </p:cNvPr>
          <p:cNvSpPr/>
          <p:nvPr/>
        </p:nvSpPr>
        <p:spPr>
          <a:xfrm>
            <a:off x="11495942" y="4257928"/>
            <a:ext cx="598547" cy="412206"/>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TRD 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a:t>
            </a:r>
          </a:p>
        </p:txBody>
      </p:sp>
      <p:sp>
        <p:nvSpPr>
          <p:cNvPr id="21" name="Rectangle 20">
            <a:extLst>
              <a:ext uri="{FF2B5EF4-FFF2-40B4-BE49-F238E27FC236}">
                <a16:creationId xmlns:a16="http://schemas.microsoft.com/office/drawing/2014/main" id="{A8D9254B-32BF-5D22-31E8-93220E9A1AEC}"/>
              </a:ext>
            </a:extLst>
          </p:cNvPr>
          <p:cNvSpPr/>
          <p:nvPr/>
        </p:nvSpPr>
        <p:spPr>
          <a:xfrm>
            <a:off x="11505105" y="4800320"/>
            <a:ext cx="598547" cy="412206"/>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TRD 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a:t>
            </a:r>
          </a:p>
        </p:txBody>
      </p:sp>
      <p:sp>
        <p:nvSpPr>
          <p:cNvPr id="25" name="Rectangle 24">
            <a:extLst>
              <a:ext uri="{FF2B5EF4-FFF2-40B4-BE49-F238E27FC236}">
                <a16:creationId xmlns:a16="http://schemas.microsoft.com/office/drawing/2014/main" id="{27F7533C-6A20-456C-70F3-E4A57E8A491D}"/>
              </a:ext>
            </a:extLst>
          </p:cNvPr>
          <p:cNvSpPr/>
          <p:nvPr/>
        </p:nvSpPr>
        <p:spPr>
          <a:xfrm>
            <a:off x="11403132" y="3358426"/>
            <a:ext cx="744334" cy="351615"/>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a:ln>
                  <a:noFill/>
                </a:ln>
                <a:solidFill>
                  <a:prstClr val="black"/>
                </a:solidFill>
                <a:effectLst/>
                <a:uLnTx/>
                <a:uFillTx/>
                <a:latin typeface="Lucida Sans Unicode"/>
                <a:ea typeface="+mn-ea"/>
                <a:cs typeface="+mn-cs"/>
              </a:rPr>
              <a:t>Wijziging</a:t>
            </a:r>
            <a:r>
              <a:rPr kumimoji="0" lang="en-GB" sz="900" b="0" i="0" u="none" strike="noStrike" kern="1200" cap="none" spc="0" normalizeH="0" baseline="0" noProof="0" dirty="0">
                <a:ln>
                  <a:noFill/>
                </a:ln>
                <a:solidFill>
                  <a:prstClr val="black"/>
                </a:solidFill>
                <a:effectLst/>
                <a:uLnTx/>
                <a:uFillTx/>
                <a:latin typeface="Lucida Sans Unicode"/>
                <a:ea typeface="+mn-ea"/>
                <a:cs typeface="+mn-cs"/>
              </a:rPr>
              <a:t>  </a:t>
            </a:r>
            <a:r>
              <a:rPr kumimoji="0" lang="en-GB" sz="900" b="0" i="0" u="none" strike="noStrike" kern="1200" cap="none" spc="0" normalizeH="0" baseline="0" noProof="0" dirty="0" err="1">
                <a:ln>
                  <a:noFill/>
                </a:ln>
                <a:solidFill>
                  <a:prstClr val="black"/>
                </a:solidFill>
                <a:effectLst/>
                <a:uLnTx/>
                <a:uFillTx/>
                <a:latin typeface="Lucida Sans Unicode"/>
                <a:ea typeface="+mn-ea"/>
                <a:cs typeface="+mn-cs"/>
              </a:rPr>
              <a:t>Boek</a:t>
            </a:r>
            <a:r>
              <a:rPr kumimoji="0" lang="en-GB" sz="900" b="0" i="0" u="none" strike="noStrike" kern="1200" cap="none" spc="0" normalizeH="0" baseline="0" noProof="0" dirty="0">
                <a:ln>
                  <a:noFill/>
                </a:ln>
                <a:solidFill>
                  <a:prstClr val="black"/>
                </a:solidFill>
                <a:effectLst/>
                <a:uLnTx/>
                <a:uFillTx/>
                <a:latin typeface="Lucida Sans Unicode"/>
                <a:ea typeface="+mn-ea"/>
                <a:cs typeface="+mn-cs"/>
              </a:rPr>
              <a:t> XIX WER </a:t>
            </a:r>
            <a:r>
              <a:rPr kumimoji="0" lang="en-GB" sz="900" b="1" i="0" u="none" strike="noStrike" kern="1200" cap="none" spc="0" normalizeH="0" baseline="0" noProof="0" dirty="0">
                <a:ln>
                  <a:noFill/>
                </a:ln>
                <a:solidFill>
                  <a:prstClr val="black"/>
                </a:solidFill>
                <a:effectLst/>
                <a:uLnTx/>
                <a:uFillTx/>
                <a:latin typeface="Lucida Sans Unicode"/>
                <a:ea typeface="+mn-ea"/>
                <a:cs typeface="+mn-cs"/>
              </a:rPr>
              <a:t>?</a:t>
            </a:r>
          </a:p>
        </p:txBody>
      </p:sp>
      <p:sp>
        <p:nvSpPr>
          <p:cNvPr id="26" name="Rectangle 25">
            <a:extLst>
              <a:ext uri="{FF2B5EF4-FFF2-40B4-BE49-F238E27FC236}">
                <a16:creationId xmlns:a16="http://schemas.microsoft.com/office/drawing/2014/main" id="{435F4B91-6C79-36D5-4A16-0B39BEE79210}"/>
              </a:ext>
            </a:extLst>
          </p:cNvPr>
          <p:cNvSpPr/>
          <p:nvPr/>
        </p:nvSpPr>
        <p:spPr>
          <a:xfrm>
            <a:off x="10227514" y="564282"/>
            <a:ext cx="831156" cy="495142"/>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ucida Sans Unicode"/>
                <a:ea typeface="+mn-ea"/>
                <a:cs typeface="+mn-cs"/>
              </a:rPr>
              <a:t>Chart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ucida Sans Unicode"/>
                <a:ea typeface="+mn-ea"/>
                <a:cs typeface="+mn-cs"/>
              </a:rPr>
              <a:t>Happy Customer ? </a:t>
            </a:r>
            <a:endParaRPr kumimoji="0" lang="en-GB" sz="900" b="1" i="0" u="none" strike="noStrike" kern="1200" cap="none" spc="0" normalizeH="0" baseline="0" noProof="0" dirty="0">
              <a:ln>
                <a:noFill/>
              </a:ln>
              <a:solidFill>
                <a:prstClr val="black"/>
              </a:solidFill>
              <a:effectLst/>
              <a:uLnTx/>
              <a:uFillTx/>
              <a:latin typeface="Lucida Sans Unicode"/>
              <a:ea typeface="+mn-ea"/>
              <a:cs typeface="+mn-cs"/>
            </a:endParaRPr>
          </a:p>
        </p:txBody>
      </p:sp>
      <p:sp>
        <p:nvSpPr>
          <p:cNvPr id="28" name="Rectangle 27">
            <a:extLst>
              <a:ext uri="{FF2B5EF4-FFF2-40B4-BE49-F238E27FC236}">
                <a16:creationId xmlns:a16="http://schemas.microsoft.com/office/drawing/2014/main" id="{0B0FC309-582E-712F-100C-54093A0F971A}"/>
              </a:ext>
            </a:extLst>
          </p:cNvPr>
          <p:cNvSpPr/>
          <p:nvPr/>
        </p:nvSpPr>
        <p:spPr>
          <a:xfrm>
            <a:off x="9511910" y="558303"/>
            <a:ext cx="738414" cy="497452"/>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Lucida Sans Unicode"/>
                <a:ea typeface="+mn-ea"/>
                <a:cs typeface="+mn-cs"/>
              </a:rPr>
              <a:t>KMO </a:t>
            </a:r>
            <a:r>
              <a:rPr kumimoji="0" lang="en-GB" sz="900" b="0" i="0" u="none" strike="noStrike" kern="1200" cap="none" spc="0" normalizeH="0" baseline="0" noProof="0" dirty="0" err="1">
                <a:ln>
                  <a:noFill/>
                </a:ln>
                <a:solidFill>
                  <a:prstClr val="black"/>
                </a:solidFill>
                <a:effectLst/>
                <a:uLnTx/>
                <a:uFillTx/>
                <a:latin typeface="Lucida Sans Unicode"/>
                <a:ea typeface="+mn-ea"/>
                <a:cs typeface="+mn-cs"/>
              </a:rPr>
              <a:t>Gedrags</a:t>
            </a:r>
            <a:r>
              <a:rPr kumimoji="0" lang="en-GB" sz="900" b="0" i="0" u="none" strike="noStrike" kern="1200" cap="none" spc="0" normalizeH="0" baseline="0" noProof="0" dirty="0">
                <a:ln>
                  <a:noFill/>
                </a:ln>
                <a:solidFill>
                  <a:prstClr val="black"/>
                </a:solidFill>
                <a:effectLst/>
                <a:uLnTx/>
                <a:uFillTx/>
                <a:latin typeface="Lucida Sans Unicode"/>
                <a:ea typeface="+mn-ea"/>
                <a:cs typeface="+mn-cs"/>
              </a:rPr>
              <a:t>-code? </a:t>
            </a:r>
            <a:endParaRPr kumimoji="0" lang="en-GB" sz="900" b="1" i="0" u="none" strike="noStrike" kern="1200" cap="none" spc="0" normalizeH="0" baseline="0" noProof="0" dirty="0">
              <a:ln>
                <a:noFill/>
              </a:ln>
              <a:solidFill>
                <a:prstClr val="black"/>
              </a:solidFill>
              <a:effectLst/>
              <a:uLnTx/>
              <a:uFillTx/>
              <a:latin typeface="Lucida Sans Unicode"/>
              <a:ea typeface="+mn-ea"/>
              <a:cs typeface="+mn-cs"/>
            </a:endParaRPr>
          </a:p>
        </p:txBody>
      </p:sp>
      <p:sp>
        <p:nvSpPr>
          <p:cNvPr id="35" name="Rectangle 34">
            <a:extLst>
              <a:ext uri="{FF2B5EF4-FFF2-40B4-BE49-F238E27FC236}">
                <a16:creationId xmlns:a16="http://schemas.microsoft.com/office/drawing/2014/main" id="{944E2F23-5141-AF85-24A9-4F9135A90B16}"/>
              </a:ext>
            </a:extLst>
          </p:cNvPr>
          <p:cNvSpPr/>
          <p:nvPr/>
        </p:nvSpPr>
        <p:spPr>
          <a:xfrm>
            <a:off x="10673751" y="3311685"/>
            <a:ext cx="687849" cy="361354"/>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CMS release MIG6</a:t>
            </a:r>
          </a:p>
        </p:txBody>
      </p:sp>
      <p:sp>
        <p:nvSpPr>
          <p:cNvPr id="49" name="Rectangle 48">
            <a:extLst>
              <a:ext uri="{FF2B5EF4-FFF2-40B4-BE49-F238E27FC236}">
                <a16:creationId xmlns:a16="http://schemas.microsoft.com/office/drawing/2014/main" id="{8CA7569E-BAE5-C315-291B-E14889BF57EC}"/>
              </a:ext>
            </a:extLst>
          </p:cNvPr>
          <p:cNvSpPr/>
          <p:nvPr/>
        </p:nvSpPr>
        <p:spPr>
          <a:xfrm>
            <a:off x="11064691" y="5408346"/>
            <a:ext cx="1029798" cy="610333"/>
          </a:xfrm>
          <a:prstGeom prst="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Partage de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l’énergies</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sur les </a:t>
            </a:r>
            <a:r>
              <a:rPr kumimoji="0" lang="en-GB" sz="800" b="0" i="0" u="none" strike="noStrike" kern="1200" cap="none" spc="0" normalizeH="0" baseline="0" noProof="0" dirty="0" err="1">
                <a:ln>
                  <a:noFill/>
                </a:ln>
                <a:solidFill>
                  <a:prstClr val="black"/>
                </a:solidFill>
                <a:effectLst/>
                <a:uLnTx/>
                <a:uFillTx/>
                <a:latin typeface="Lucida Sans Unicode"/>
                <a:ea typeface="+mn-ea"/>
                <a:cs typeface="+mn-cs"/>
              </a:rPr>
              <a:t>communautés</a:t>
            </a:r>
            <a:r>
              <a:rPr kumimoji="0" lang="en-GB" sz="800" b="0" i="0" u="none" strike="noStrike" kern="1200" cap="none" spc="0" normalizeH="0" baseline="0" noProof="0" dirty="0">
                <a:ln>
                  <a:noFill/>
                </a:ln>
                <a:solidFill>
                  <a:prstClr val="black"/>
                </a:solidFill>
                <a:effectLst/>
                <a:uLnTx/>
                <a:uFillTx/>
                <a:latin typeface="Lucida Sans Unicode"/>
                <a:ea typeface="+mn-ea"/>
                <a:cs typeface="+mn-cs"/>
              </a:rPr>
              <a:t> 01/6/23 (?)</a:t>
            </a:r>
          </a:p>
        </p:txBody>
      </p:sp>
      <p:sp>
        <p:nvSpPr>
          <p:cNvPr id="55" name="Rectangle 54">
            <a:extLst>
              <a:ext uri="{FF2B5EF4-FFF2-40B4-BE49-F238E27FC236}">
                <a16:creationId xmlns:a16="http://schemas.microsoft.com/office/drawing/2014/main" id="{405DA5DF-28DC-465D-07CF-DA404217FF66}"/>
              </a:ext>
            </a:extLst>
          </p:cNvPr>
          <p:cNvSpPr/>
          <p:nvPr/>
        </p:nvSpPr>
        <p:spPr>
          <a:xfrm>
            <a:off x="11115650" y="564282"/>
            <a:ext cx="1031816" cy="487831"/>
          </a:xfrm>
          <a:prstGeom prst="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a:ln>
                  <a:noFill/>
                </a:ln>
                <a:solidFill>
                  <a:prstClr val="black"/>
                </a:solidFill>
                <a:effectLst/>
                <a:uLnTx/>
                <a:uFillTx/>
                <a:latin typeface="Lucida Sans Unicode"/>
                <a:ea typeface="+mn-ea"/>
                <a:cs typeface="+mn-cs"/>
              </a:rPr>
              <a:t>Consumenten</a:t>
            </a:r>
            <a:r>
              <a:rPr kumimoji="0" lang="en-GB" sz="900" b="0" i="0" u="none" strike="noStrike" kern="1200" cap="none" spc="0" normalizeH="0" baseline="0" noProof="0" dirty="0">
                <a:ln>
                  <a:noFill/>
                </a:ln>
                <a:solidFill>
                  <a:prstClr val="black"/>
                </a:solidFill>
                <a:effectLst/>
                <a:uLnTx/>
                <a:uFillTx/>
                <a:latin typeface="Lucida Sans Unicode"/>
                <a:ea typeface="+mn-ea"/>
                <a:cs typeface="+mn-cs"/>
              </a:rPr>
              <a:t>- </a:t>
            </a:r>
            <a:r>
              <a:rPr kumimoji="0" lang="en-GB" sz="900" b="0" i="0" u="none" strike="noStrike" kern="1200" cap="none" spc="0" normalizeH="0" baseline="0" noProof="0" dirty="0" err="1">
                <a:ln>
                  <a:noFill/>
                </a:ln>
                <a:solidFill>
                  <a:prstClr val="black"/>
                </a:solidFill>
                <a:effectLst/>
                <a:uLnTx/>
                <a:uFillTx/>
                <a:latin typeface="Lucida Sans Unicode"/>
                <a:ea typeface="+mn-ea"/>
                <a:cs typeface="+mn-cs"/>
              </a:rPr>
              <a:t>akkoord</a:t>
            </a:r>
            <a:r>
              <a:rPr kumimoji="0" lang="en-GB" sz="900" b="0" i="0" u="none" strike="noStrike" kern="1200" cap="none" spc="0" normalizeH="0" baseline="0" noProof="0" dirty="0">
                <a:ln>
                  <a:noFill/>
                </a:ln>
                <a:solidFill>
                  <a:prstClr val="black"/>
                </a:solidFill>
                <a:effectLst/>
                <a:uLnTx/>
                <a:uFillTx/>
                <a:latin typeface="Lucida Sans Unicode"/>
                <a:ea typeface="+mn-ea"/>
                <a:cs typeface="+mn-cs"/>
              </a:rPr>
              <a:t> ?</a:t>
            </a:r>
            <a:endParaRPr kumimoji="0" lang="en-GB" sz="900" b="1" i="0" u="none" strike="noStrike" kern="1200" cap="none" spc="0" normalizeH="0" baseline="0" noProof="0" dirty="0">
              <a:ln>
                <a:noFill/>
              </a:ln>
              <a:solidFill>
                <a:prstClr val="black"/>
              </a:solidFill>
              <a:effectLst/>
              <a:uLnTx/>
              <a:uFillTx/>
              <a:latin typeface="Lucida Sans Unicode"/>
              <a:ea typeface="+mn-ea"/>
              <a:cs typeface="+mn-cs"/>
            </a:endParaRPr>
          </a:p>
        </p:txBody>
      </p:sp>
    </p:spTree>
    <p:extLst>
      <p:ext uri="{BB962C8B-B14F-4D97-AF65-F5344CB8AC3E}">
        <p14:creationId xmlns:p14="http://schemas.microsoft.com/office/powerpoint/2010/main" val="19939501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62BBD1FE-B5D5-13E7-455F-5E51F9F84622}"/>
              </a:ext>
            </a:extLst>
          </p:cNvPr>
          <p:cNvSpPr>
            <a:spLocks noGrp="1"/>
          </p:cNvSpPr>
          <p:nvPr>
            <p:ph type="title"/>
          </p:nvPr>
        </p:nvSpPr>
        <p:spPr>
          <a:xfrm>
            <a:off x="609600" y="730560"/>
            <a:ext cx="10972800" cy="565200"/>
          </a:xfrm>
        </p:spPr>
        <p:txBody>
          <a:bodyPr/>
          <a:lstStyle/>
          <a:p>
            <a:r>
              <a:rPr lang="en-US" dirty="0"/>
              <a:t>New contracts residential tariffs =&gt; normalization  </a:t>
            </a:r>
          </a:p>
        </p:txBody>
      </p:sp>
      <p:sp>
        <p:nvSpPr>
          <p:cNvPr id="3" name="Date Placeholder 2">
            <a:extLst>
              <a:ext uri="{FF2B5EF4-FFF2-40B4-BE49-F238E27FC236}">
                <a16:creationId xmlns:a16="http://schemas.microsoft.com/office/drawing/2014/main" id="{F4CE598E-88BC-44AB-E858-A97EE0170D8B}"/>
              </a:ext>
            </a:extLst>
          </p:cNvPr>
          <p:cNvSpPr>
            <a:spLocks noGrp="1"/>
          </p:cNvSpPr>
          <p:nvPr>
            <p:ph type="dt" sz="half" idx="10"/>
          </p:nvPr>
        </p:nvSpPr>
        <p:spPr>
          <a:xfrm>
            <a:off x="1198966" y="6400801"/>
            <a:ext cx="917701" cy="276224"/>
          </a:xfrm>
        </p:spPr>
        <p:txBody>
          <a:bodyPr anchor="b">
            <a:normAutofit/>
          </a:bodyPr>
          <a:lstStyle/>
          <a:p>
            <a:pPr>
              <a:spcAft>
                <a:spcPts val="600"/>
              </a:spcAft>
            </a:pPr>
            <a:fld id="{FA320BFA-507D-427A-A204-9635D9E8251B}" type="datetime1">
              <a:rPr lang="nl-BE" smtClean="0"/>
              <a:pPr>
                <a:spcAft>
                  <a:spcPts val="600"/>
                </a:spcAft>
              </a:pPr>
              <a:t>30/05/2023</a:t>
            </a:fld>
            <a:endParaRPr lang="nl-BE"/>
          </a:p>
        </p:txBody>
      </p:sp>
      <p:sp>
        <p:nvSpPr>
          <p:cNvPr id="27" name="Footer Placeholder 4">
            <a:extLst>
              <a:ext uri="{FF2B5EF4-FFF2-40B4-BE49-F238E27FC236}">
                <a16:creationId xmlns:a16="http://schemas.microsoft.com/office/drawing/2014/main" id="{F3ACE06E-98CA-F0EB-C6C8-82A142A9C591}"/>
              </a:ext>
            </a:extLst>
          </p:cNvPr>
          <p:cNvSpPr>
            <a:spLocks noGrp="1"/>
          </p:cNvSpPr>
          <p:nvPr>
            <p:ph type="ftr" sz="quarter" idx="11"/>
          </p:nvPr>
        </p:nvSpPr>
        <p:spPr>
          <a:xfrm>
            <a:off x="2116667" y="6400801"/>
            <a:ext cx="8313605" cy="276224"/>
          </a:xfrm>
        </p:spPr>
        <p:txBody>
          <a:bodyPr/>
          <a:lstStyle/>
          <a:p>
            <a:endParaRPr lang="nl-BE"/>
          </a:p>
        </p:txBody>
      </p:sp>
      <p:sp>
        <p:nvSpPr>
          <p:cNvPr id="5" name="Slide Number Placeholder 4">
            <a:extLst>
              <a:ext uri="{FF2B5EF4-FFF2-40B4-BE49-F238E27FC236}">
                <a16:creationId xmlns:a16="http://schemas.microsoft.com/office/drawing/2014/main" id="{7A0477D3-3EC0-7FC8-8B32-466BD32C71E5}"/>
              </a:ext>
            </a:extLst>
          </p:cNvPr>
          <p:cNvSpPr>
            <a:spLocks noGrp="1"/>
          </p:cNvSpPr>
          <p:nvPr>
            <p:ph type="sldNum" sz="quarter" idx="12"/>
          </p:nvPr>
        </p:nvSpPr>
        <p:spPr>
          <a:xfrm>
            <a:off x="609600" y="6400801"/>
            <a:ext cx="589856" cy="276224"/>
          </a:xfrm>
        </p:spPr>
        <p:txBody>
          <a:bodyPr anchor="b">
            <a:normAutofit/>
          </a:bodyPr>
          <a:lstStyle/>
          <a:p>
            <a:pPr>
              <a:spcAft>
                <a:spcPts val="600"/>
              </a:spcAft>
            </a:pPr>
            <a:fld id="{9BE375CD-4755-4D83-B134-E6AD5007676A}" type="slidenum">
              <a:rPr lang="nl-BE" smtClean="0"/>
              <a:pPr>
                <a:spcAft>
                  <a:spcPts val="600"/>
                </a:spcAft>
              </a:pPr>
              <a:t>16</a:t>
            </a:fld>
            <a:endParaRPr lang="nl-BE"/>
          </a:p>
        </p:txBody>
      </p:sp>
      <p:graphicFrame>
        <p:nvGraphicFramePr>
          <p:cNvPr id="14" name="Graphique 1">
            <a:extLst>
              <a:ext uri="{FF2B5EF4-FFF2-40B4-BE49-F238E27FC236}">
                <a16:creationId xmlns:a16="http://schemas.microsoft.com/office/drawing/2014/main" id="{75950D2B-4AC6-4227-8287-530E0DC6824F}"/>
              </a:ext>
            </a:extLst>
          </p:cNvPr>
          <p:cNvGraphicFramePr>
            <a:graphicFrameLocks/>
          </p:cNvGraphicFramePr>
          <p:nvPr>
            <p:extLst>
              <p:ext uri="{D42A27DB-BD31-4B8C-83A1-F6EECF244321}">
                <p14:modId xmlns:p14="http://schemas.microsoft.com/office/powerpoint/2010/main" val="506067804"/>
              </p:ext>
            </p:extLst>
          </p:nvPr>
        </p:nvGraphicFramePr>
        <p:xfrm>
          <a:off x="609600" y="1623061"/>
          <a:ext cx="10972800" cy="4525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068012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5BCA0-2C90-43D8-BC29-7BC7212E6FAD}"/>
              </a:ext>
            </a:extLst>
          </p:cNvPr>
          <p:cNvSpPr>
            <a:spLocks noGrp="1"/>
          </p:cNvSpPr>
          <p:nvPr>
            <p:ph type="title"/>
          </p:nvPr>
        </p:nvSpPr>
        <p:spPr/>
        <p:txBody>
          <a:bodyPr/>
          <a:lstStyle/>
          <a:p>
            <a:r>
              <a:rPr lang="en-GB"/>
              <a:t>The average EBIT margin has not recovered from 2021</a:t>
            </a:r>
            <a:br>
              <a:rPr lang="en-GB"/>
            </a:br>
            <a:r>
              <a:rPr lang="en-GB"/>
              <a:t>and fell further into the negatives</a:t>
            </a:r>
            <a:endParaRPr lang="en-BE"/>
          </a:p>
        </p:txBody>
      </p:sp>
      <p:graphicFrame>
        <p:nvGraphicFramePr>
          <p:cNvPr id="24" name="Chart 23">
            <a:extLst>
              <a:ext uri="{FF2B5EF4-FFF2-40B4-BE49-F238E27FC236}">
                <a16:creationId xmlns:a16="http://schemas.microsoft.com/office/drawing/2014/main" id="{6197031F-6F5F-CDAA-767B-552D2B117D9F}"/>
              </a:ext>
            </a:extLst>
          </p:cNvPr>
          <p:cNvGraphicFramePr>
            <a:graphicFrameLocks/>
          </p:cNvGraphicFramePr>
          <p:nvPr/>
        </p:nvGraphicFramePr>
        <p:xfrm>
          <a:off x="698500" y="1973509"/>
          <a:ext cx="10587200" cy="2807067"/>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a:extLst>
              <a:ext uri="{FF2B5EF4-FFF2-40B4-BE49-F238E27FC236}">
                <a16:creationId xmlns:a16="http://schemas.microsoft.com/office/drawing/2014/main" id="{774C88B5-386E-FA5C-29B8-77F006EAA9D5}"/>
              </a:ext>
            </a:extLst>
          </p:cNvPr>
          <p:cNvSpPr txBox="1"/>
          <p:nvPr/>
        </p:nvSpPr>
        <p:spPr>
          <a:xfrm>
            <a:off x="8802816" y="3568258"/>
            <a:ext cx="408461" cy="153888"/>
          </a:xfrm>
          <a:prstGeom prst="rect">
            <a:avLst/>
          </a:prstGeom>
          <a:solidFill>
            <a:srgbClr val="C000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cs typeface="Arial"/>
                <a:sym typeface="Arial"/>
              </a:rPr>
              <a:t>2021</a:t>
            </a:r>
          </a:p>
        </p:txBody>
      </p:sp>
      <p:sp>
        <p:nvSpPr>
          <p:cNvPr id="27" name="TextBox 26">
            <a:extLst>
              <a:ext uri="{FF2B5EF4-FFF2-40B4-BE49-F238E27FC236}">
                <a16:creationId xmlns:a16="http://schemas.microsoft.com/office/drawing/2014/main" id="{7FD32EFC-FB01-F52E-DDFB-31E7704C3F08}"/>
              </a:ext>
            </a:extLst>
          </p:cNvPr>
          <p:cNvSpPr txBox="1"/>
          <p:nvPr/>
        </p:nvSpPr>
        <p:spPr>
          <a:xfrm>
            <a:off x="10210689" y="3567975"/>
            <a:ext cx="445631" cy="153888"/>
          </a:xfrm>
          <a:prstGeom prst="rect">
            <a:avLst/>
          </a:prstGeom>
          <a:solidFill>
            <a:srgbClr val="C0000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a:ln>
                  <a:noFill/>
                </a:ln>
                <a:solidFill>
                  <a:srgbClr val="FFFFFF"/>
                </a:solidFill>
                <a:effectLst/>
                <a:uLnTx/>
                <a:uFillTx/>
                <a:latin typeface="Arial"/>
                <a:cs typeface="Arial"/>
                <a:sym typeface="Arial"/>
              </a:rPr>
              <a:t>2022</a:t>
            </a:r>
          </a:p>
        </p:txBody>
      </p:sp>
      <p:sp>
        <p:nvSpPr>
          <p:cNvPr id="28" name="TextBox 27">
            <a:extLst>
              <a:ext uri="{FF2B5EF4-FFF2-40B4-BE49-F238E27FC236}">
                <a16:creationId xmlns:a16="http://schemas.microsoft.com/office/drawing/2014/main" id="{D873B551-753D-7B1E-9882-19EEF652B55F}"/>
              </a:ext>
            </a:extLst>
          </p:cNvPr>
          <p:cNvSpPr txBox="1"/>
          <p:nvPr/>
        </p:nvSpPr>
        <p:spPr>
          <a:xfrm>
            <a:off x="800100" y="1601073"/>
            <a:ext cx="6087810" cy="21544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a:ln>
                  <a:noFill/>
                </a:ln>
                <a:solidFill>
                  <a:srgbClr val="6A6A6A"/>
                </a:solidFill>
                <a:effectLst/>
                <a:uLnTx/>
                <a:uFillTx/>
                <a:latin typeface="Arial"/>
                <a:cs typeface="Arial"/>
                <a:sym typeface="Arial"/>
              </a:rPr>
              <a:t>Average EBIT to revenue ratio (or EBIT margin), period 2016-2022 (%)</a:t>
            </a:r>
          </a:p>
        </p:txBody>
      </p:sp>
      <p:sp>
        <p:nvSpPr>
          <p:cNvPr id="29" name="Rectangle 28">
            <a:extLst>
              <a:ext uri="{FF2B5EF4-FFF2-40B4-BE49-F238E27FC236}">
                <a16:creationId xmlns:a16="http://schemas.microsoft.com/office/drawing/2014/main" id="{7F927F5E-788C-C25B-86EB-63AB86E73075}"/>
              </a:ext>
            </a:extLst>
          </p:cNvPr>
          <p:cNvSpPr/>
          <p:nvPr/>
        </p:nvSpPr>
        <p:spPr>
          <a:xfrm>
            <a:off x="800101" y="4897793"/>
            <a:ext cx="10329718" cy="1366273"/>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just" defTabSz="914400" rtl="0" eaLnBrk="1" fontAlgn="auto" latinLnBrk="0" hangingPunct="1">
              <a:lnSpc>
                <a:spcPct val="100000"/>
              </a:lnSpc>
              <a:spcBef>
                <a:spcPts val="0"/>
              </a:spcBef>
              <a:spcAft>
                <a:spcPts val="0"/>
              </a:spcAft>
              <a:buClr>
                <a:srgbClr val="000000"/>
              </a:buClr>
              <a:buSzTx/>
              <a:buFont typeface="Arial"/>
              <a:buBlip>
                <a:blip r:embed="rId4">
                  <a:extLst>
                    <a:ext uri="{96DAC541-7B7A-43D3-8B79-37D633B846F1}">
                      <asvg:svgBlip xmlns:asvg="http://schemas.microsoft.com/office/drawing/2016/SVG/main" r:embed="rId5"/>
                    </a:ext>
                  </a:extLst>
                </a:blip>
              </a:buBlip>
              <a:tabLst/>
              <a:defRPr/>
            </a:pPr>
            <a:r>
              <a:rPr kumimoji="0" lang="en-US" sz="1400" b="0" i="0" u="none" strike="noStrike" kern="0" cap="none" spc="0" normalizeH="0" baseline="0" noProof="0">
                <a:ln>
                  <a:noFill/>
                </a:ln>
                <a:solidFill>
                  <a:srgbClr val="383838"/>
                </a:solidFill>
                <a:effectLst/>
                <a:uLnTx/>
                <a:uFillTx/>
                <a:latin typeface="Arial"/>
                <a:ea typeface="+mn-ea"/>
                <a:cs typeface="+mn-cs"/>
                <a:sym typeface="Arial"/>
              </a:rPr>
              <a:t>After remaining consistently low during the period 2016-2020, the average EBIT margin</a:t>
            </a:r>
            <a:r>
              <a:rPr kumimoji="0" lang="en-US" sz="1400" b="0" i="0" u="none" strike="noStrike" kern="0" cap="none" spc="0" normalizeH="0" baseline="30000" noProof="0">
                <a:ln>
                  <a:noFill/>
                </a:ln>
                <a:solidFill>
                  <a:srgbClr val="383838"/>
                </a:solidFill>
                <a:effectLst/>
                <a:uLnTx/>
                <a:uFillTx/>
                <a:latin typeface="Arial"/>
                <a:ea typeface="+mn-ea"/>
                <a:cs typeface="+mn-cs"/>
                <a:sym typeface="Arial"/>
              </a:rPr>
              <a:t>1</a:t>
            </a:r>
            <a:r>
              <a:rPr kumimoji="0" lang="en-US" sz="1400" b="0" i="0" u="none" strike="noStrike" kern="0" cap="none" spc="0" normalizeH="0" baseline="0" noProof="0">
                <a:ln>
                  <a:noFill/>
                </a:ln>
                <a:solidFill>
                  <a:srgbClr val="383838"/>
                </a:solidFill>
                <a:effectLst/>
                <a:uLnTx/>
                <a:uFillTx/>
                <a:latin typeface="Arial"/>
                <a:ea typeface="+mn-ea"/>
                <a:cs typeface="+mn-cs"/>
                <a:sym typeface="Arial"/>
              </a:rPr>
              <a:t> of energy suppliers turned negative in 2021 and </a:t>
            </a:r>
            <a:r>
              <a:rPr kumimoji="0" lang="en-US" sz="1400" b="1" i="0" u="none" strike="noStrike" kern="0" cap="none" spc="0" normalizeH="0" baseline="0" noProof="0">
                <a:ln>
                  <a:noFill/>
                </a:ln>
                <a:solidFill>
                  <a:srgbClr val="383838"/>
                </a:solidFill>
                <a:effectLst/>
                <a:uLnTx/>
                <a:uFillTx/>
                <a:latin typeface="Arial"/>
                <a:ea typeface="+mn-ea"/>
                <a:cs typeface="+mn-cs"/>
                <a:sym typeface="Arial"/>
              </a:rPr>
              <a:t>declined further in 2022</a:t>
            </a:r>
            <a:r>
              <a:rPr kumimoji="0" lang="en-US" sz="1400" b="0" i="0" u="none" strike="noStrike" kern="0" cap="none" spc="0" normalizeH="0" baseline="0" noProof="0">
                <a:ln>
                  <a:noFill/>
                </a:ln>
                <a:solidFill>
                  <a:srgbClr val="383838"/>
                </a:solidFill>
                <a:effectLst/>
                <a:uLnTx/>
                <a:uFillTx/>
                <a:latin typeface="Arial"/>
                <a:ea typeface="+mn-ea"/>
                <a:cs typeface="+mn-cs"/>
                <a:sym typeface="Arial"/>
              </a:rPr>
              <a:t>.</a:t>
            </a:r>
            <a:endParaRPr kumimoji="0" lang="en-US" sz="1400" b="0" i="0" u="none" strike="noStrike" kern="0" cap="none" spc="0" normalizeH="0" baseline="0" noProof="0">
              <a:ln>
                <a:noFill/>
              </a:ln>
              <a:solidFill>
                <a:srgbClr val="383838"/>
              </a:solidFill>
              <a:effectLst/>
              <a:uLnTx/>
              <a:uFillTx/>
              <a:latin typeface="Arial"/>
              <a:ea typeface="+mn-ea"/>
              <a:cs typeface="Arial"/>
              <a:sym typeface="Arial"/>
            </a:endParaRPr>
          </a:p>
          <a:p>
            <a:pPr marL="285750" marR="0" lvl="0" indent="-285750" algn="just" defTabSz="914400" rtl="0" eaLnBrk="1" fontAlgn="auto" latinLnBrk="0" hangingPunct="1">
              <a:lnSpc>
                <a:spcPct val="100000"/>
              </a:lnSpc>
              <a:spcBef>
                <a:spcPts val="0"/>
              </a:spcBef>
              <a:spcAft>
                <a:spcPts val="0"/>
              </a:spcAft>
              <a:buClr>
                <a:srgbClr val="000000"/>
              </a:buClr>
              <a:buSzTx/>
              <a:buFont typeface="Arial"/>
              <a:buBlip>
                <a:blip r:embed="rId4">
                  <a:extLst>
                    <a:ext uri="{96DAC541-7B7A-43D3-8B79-37D633B846F1}">
                      <asvg:svgBlip xmlns:asvg="http://schemas.microsoft.com/office/drawing/2016/SVG/main" r:embed="rId5"/>
                    </a:ext>
                  </a:extLst>
                </a:blip>
              </a:buBlip>
              <a:tabLst/>
              <a:defRPr/>
            </a:pPr>
            <a:r>
              <a:rPr kumimoji="0" lang="en-US" sz="1400" b="0" i="0" u="none" strike="noStrike" kern="0" cap="none" spc="0" normalizeH="0" baseline="0" noProof="0">
                <a:ln>
                  <a:noFill/>
                </a:ln>
                <a:solidFill>
                  <a:srgbClr val="383838"/>
                </a:solidFill>
                <a:effectLst/>
                <a:uLnTx/>
                <a:uFillTx/>
                <a:latin typeface="Arial"/>
                <a:ea typeface="+mn-ea"/>
                <a:cs typeface="+mn-cs"/>
                <a:sym typeface="Arial"/>
              </a:rPr>
              <a:t>This comes after </a:t>
            </a:r>
            <a:r>
              <a:rPr kumimoji="0" lang="en-US" sz="1400" b="1" i="0" u="none" strike="noStrike" kern="0" cap="none" spc="0" normalizeH="0" baseline="0" noProof="0">
                <a:ln>
                  <a:noFill/>
                </a:ln>
                <a:solidFill>
                  <a:srgbClr val="383838"/>
                </a:solidFill>
                <a:effectLst/>
                <a:uLnTx/>
                <a:uFillTx/>
                <a:latin typeface="Arial"/>
                <a:ea typeface="+mn-ea"/>
                <a:cs typeface="+mn-cs"/>
                <a:sym typeface="Arial"/>
              </a:rPr>
              <a:t>energy prices skyrocketed </a:t>
            </a:r>
            <a:r>
              <a:rPr kumimoji="0" lang="en-US" sz="1400" b="0" i="0" u="none" strike="noStrike" kern="0" cap="none" spc="0" normalizeH="0" baseline="0" noProof="0">
                <a:ln>
                  <a:noFill/>
                </a:ln>
                <a:solidFill>
                  <a:srgbClr val="383838"/>
                </a:solidFill>
                <a:effectLst/>
                <a:uLnTx/>
                <a:uFillTx/>
                <a:latin typeface="Arial"/>
                <a:ea typeface="+mn-ea"/>
                <a:cs typeface="+mn-cs"/>
                <a:sym typeface="Arial"/>
              </a:rPr>
              <a:t>in the wake of the sanitary crisis.</a:t>
            </a:r>
            <a:endParaRPr kumimoji="0" lang="en-US" sz="1400" b="0" i="0" u="none" strike="noStrike" kern="0" cap="none" spc="0" normalizeH="0" baseline="0" noProof="0">
              <a:ln>
                <a:noFill/>
              </a:ln>
              <a:solidFill>
                <a:srgbClr val="383838"/>
              </a:solidFill>
              <a:effectLst/>
              <a:uLnTx/>
              <a:uFillTx/>
              <a:latin typeface="Arial"/>
              <a:ea typeface="+mn-ea"/>
              <a:cs typeface="Arial"/>
              <a:sym typeface="Arial"/>
            </a:endParaRPr>
          </a:p>
          <a:p>
            <a:pPr marL="285750" marR="0" lvl="0" indent="-285750" algn="just" defTabSz="914400" rtl="0" eaLnBrk="1" fontAlgn="auto" latinLnBrk="0" hangingPunct="1">
              <a:lnSpc>
                <a:spcPct val="100000"/>
              </a:lnSpc>
              <a:spcBef>
                <a:spcPts val="0"/>
              </a:spcBef>
              <a:spcAft>
                <a:spcPts val="0"/>
              </a:spcAft>
              <a:buClr>
                <a:srgbClr val="000000"/>
              </a:buClr>
              <a:buSzTx/>
              <a:buFont typeface="Arial"/>
              <a:buBlip>
                <a:blip r:embed="rId4">
                  <a:extLst>
                    <a:ext uri="{96DAC541-7B7A-43D3-8B79-37D633B846F1}">
                      <asvg:svgBlip xmlns:asvg="http://schemas.microsoft.com/office/drawing/2016/SVG/main" r:embed="rId5"/>
                    </a:ext>
                  </a:extLst>
                </a:blip>
              </a:buBlip>
              <a:tabLst/>
              <a:defRPr/>
            </a:pPr>
            <a:r>
              <a:rPr kumimoji="0" lang="en-US" sz="1400" b="0" i="0" u="none" strike="noStrike" kern="0" cap="none" spc="0" normalizeH="0" baseline="0" noProof="0">
                <a:ln>
                  <a:noFill/>
                </a:ln>
                <a:solidFill>
                  <a:srgbClr val="383838"/>
                </a:solidFill>
                <a:effectLst/>
                <a:uLnTx/>
                <a:uFillTx/>
                <a:latin typeface="Arial"/>
                <a:ea typeface="+mn-ea"/>
                <a:cs typeface="+mn-cs"/>
                <a:sym typeface="Arial"/>
              </a:rPr>
              <a:t>The negative values can be explained, among other reasons, by fixed contracts that are not entirely hedged, high balancing (profiling &amp; imbalance) costs and the expansion (doubling) of the number of social tariff beneficiaries.</a:t>
            </a:r>
            <a:endParaRPr kumimoji="0" lang="en-US" sz="1400" b="0" i="0" u="none" strike="noStrike" kern="0" cap="none" spc="0" normalizeH="0" baseline="0" noProof="0">
              <a:ln>
                <a:noFill/>
              </a:ln>
              <a:solidFill>
                <a:srgbClr val="383838"/>
              </a:solidFill>
              <a:effectLst/>
              <a:uLnTx/>
              <a:uFillTx/>
              <a:latin typeface="Arial"/>
              <a:ea typeface="+mn-ea"/>
              <a:cs typeface="Arial"/>
              <a:sym typeface="Arial"/>
            </a:endParaRPr>
          </a:p>
        </p:txBody>
      </p:sp>
      <p:sp>
        <p:nvSpPr>
          <p:cNvPr id="34" name="TextBox 33">
            <a:extLst>
              <a:ext uri="{FF2B5EF4-FFF2-40B4-BE49-F238E27FC236}">
                <a16:creationId xmlns:a16="http://schemas.microsoft.com/office/drawing/2014/main" id="{9338E4A8-8A5B-E2B7-5E54-81DC8AA28274}"/>
              </a:ext>
            </a:extLst>
          </p:cNvPr>
          <p:cNvSpPr txBox="1"/>
          <p:nvPr/>
        </p:nvSpPr>
        <p:spPr>
          <a:xfrm>
            <a:off x="9443115" y="6381281"/>
            <a:ext cx="202534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a:ln>
                  <a:noFill/>
                </a:ln>
                <a:solidFill>
                  <a:srgbClr val="6A6A6A"/>
                </a:solidFill>
                <a:effectLst/>
                <a:uLnTx/>
                <a:uFillTx/>
                <a:latin typeface="Arial"/>
                <a:cs typeface="Arial"/>
                <a:sym typeface="Arial"/>
              </a:rPr>
              <a:t>See methodology on slide 4.</a:t>
            </a:r>
          </a:p>
        </p:txBody>
      </p:sp>
      <p:sp>
        <p:nvSpPr>
          <p:cNvPr id="5" name="TextBox 4">
            <a:extLst>
              <a:ext uri="{FF2B5EF4-FFF2-40B4-BE49-F238E27FC236}">
                <a16:creationId xmlns:a16="http://schemas.microsoft.com/office/drawing/2014/main" id="{5906D982-7846-8F19-BDFC-7B08DE1A7974}"/>
              </a:ext>
            </a:extLst>
          </p:cNvPr>
          <p:cNvSpPr txBox="1"/>
          <p:nvPr/>
        </p:nvSpPr>
        <p:spPr>
          <a:xfrm>
            <a:off x="3049881" y="6286032"/>
            <a:ext cx="6393234" cy="553998"/>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30000" noProof="0" dirty="0">
                <a:ln>
                  <a:noFill/>
                </a:ln>
                <a:solidFill>
                  <a:srgbClr val="6A6A6A"/>
                </a:solidFill>
                <a:effectLst/>
                <a:uLnTx/>
                <a:uFillTx/>
                <a:latin typeface="Arial"/>
                <a:cs typeface="Arial"/>
                <a:sym typeface="Arial"/>
              </a:rPr>
              <a:t>1</a:t>
            </a:r>
            <a:r>
              <a:rPr kumimoji="0" lang="en-US" sz="1000" b="0" i="0" u="none" strike="noStrike" kern="0" cap="none" spc="0" normalizeH="0" baseline="0" noProof="0" dirty="0">
                <a:ln>
                  <a:noFill/>
                </a:ln>
                <a:solidFill>
                  <a:srgbClr val="6A6A6A"/>
                </a:solidFill>
                <a:effectLst/>
                <a:uLnTx/>
                <a:uFillTx/>
                <a:latin typeface="Arial"/>
                <a:cs typeface="Arial"/>
                <a:sym typeface="Arial"/>
              </a:rPr>
              <a:t>The EBIT margin is a financial ratio to measure profitability. Revenue includes the full value of sales (commodity, distribution, taxes, etc.) for retail activities, whilst EBIT corresponds to earnings before interest and taxes. </a:t>
            </a:r>
            <a:endParaRPr kumimoji="0" lang="en-US" sz="1000" b="0" i="0" u="none" strike="noStrike" kern="0" cap="none" spc="0" normalizeH="0" baseline="0" noProof="0">
              <a:ln>
                <a:noFill/>
              </a:ln>
              <a:solidFill>
                <a:srgbClr val="6A6A6A"/>
              </a:solidFill>
              <a:effectLst/>
              <a:uLnTx/>
              <a:uFillTx/>
              <a:latin typeface="Arial"/>
              <a:cs typeface="Arial"/>
              <a:sym typeface="Arial"/>
            </a:endParaRPr>
          </a:p>
        </p:txBody>
      </p:sp>
    </p:spTree>
    <p:extLst>
      <p:ext uri="{BB962C8B-B14F-4D97-AF65-F5344CB8AC3E}">
        <p14:creationId xmlns:p14="http://schemas.microsoft.com/office/powerpoint/2010/main" val="22399336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F53F5772-9D0A-BB76-FBE0-E657521996C7}"/>
              </a:ext>
            </a:extLst>
          </p:cNvPr>
          <p:cNvPicPr>
            <a:picLocks noChangeAspect="1"/>
          </p:cNvPicPr>
          <p:nvPr/>
        </p:nvPicPr>
        <p:blipFill>
          <a:blip r:embed="rId2"/>
          <a:stretch>
            <a:fillRect/>
          </a:stretch>
        </p:blipFill>
        <p:spPr>
          <a:xfrm>
            <a:off x="9662518" y="5492416"/>
            <a:ext cx="962621" cy="489227"/>
          </a:xfrm>
          <a:prstGeom prst="rect">
            <a:avLst/>
          </a:prstGeom>
        </p:spPr>
      </p:pic>
      <p:sp>
        <p:nvSpPr>
          <p:cNvPr id="8" name="Tijdelijke aanduiding voor dianummer 7">
            <a:extLst>
              <a:ext uri="{FF2B5EF4-FFF2-40B4-BE49-F238E27FC236}">
                <a16:creationId xmlns:a16="http://schemas.microsoft.com/office/drawing/2014/main" id="{08D293DB-31BE-4E2B-84E5-63571A5CCD7D}"/>
              </a:ext>
            </a:extLst>
          </p:cNvPr>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94918E1-5C2D-4B61-B8EB-091E2E1E0D19}" type="slidenum">
              <a:rPr kumimoji="0" lang="nl-B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8</a:t>
            </a:fld>
            <a:endParaRPr kumimoji="0" lang="nl-B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42313C2-B92F-BC9C-C653-ECB671FC7DBA}"/>
              </a:ext>
            </a:extLst>
          </p:cNvPr>
          <p:cNvSpPr txBox="1"/>
          <p:nvPr/>
        </p:nvSpPr>
        <p:spPr>
          <a:xfrm>
            <a:off x="1524000" y="857250"/>
            <a:ext cx="9144000" cy="253916"/>
          </a:xfrm>
          <a:prstGeom prst="rect">
            <a:avLst/>
          </a:prstGeom>
          <a:solidFill>
            <a:srgbClr val="C30A2B"/>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prstClr val="white"/>
                </a:solidFill>
                <a:effectLst/>
                <a:uLnTx/>
                <a:uFillTx/>
                <a:latin typeface="Lucida Sans" panose="020B0602030504020204" pitchFamily="34" charset="0"/>
                <a:ea typeface="+mn-ea"/>
                <a:cs typeface="+mn-cs"/>
              </a:rPr>
              <a:t>Statistiques</a:t>
            </a:r>
            <a:r>
              <a:rPr kumimoji="0" lang="en-GB" sz="1050" b="0" i="0" u="none" strike="noStrike" kern="1200" cap="none" spc="0" normalizeH="0" baseline="0" noProof="0" dirty="0">
                <a:ln>
                  <a:noFill/>
                </a:ln>
                <a:solidFill>
                  <a:prstClr val="white"/>
                </a:solidFill>
                <a:effectLst/>
                <a:uLnTx/>
                <a:uFillTx/>
                <a:latin typeface="Lucida Sans" panose="020B0602030504020204" pitchFamily="34" charset="0"/>
                <a:ea typeface="+mn-ea"/>
                <a:cs typeface="+mn-cs"/>
              </a:rPr>
              <a:t> </a:t>
            </a:r>
            <a:r>
              <a:rPr kumimoji="0" lang="en-GB" sz="1050" b="0" i="0" u="none" strike="noStrike" kern="1200" cap="none" spc="0" normalizeH="0" baseline="0" noProof="0" dirty="0" err="1">
                <a:ln>
                  <a:noFill/>
                </a:ln>
                <a:solidFill>
                  <a:prstClr val="white"/>
                </a:solidFill>
                <a:effectLst/>
                <a:uLnTx/>
                <a:uFillTx/>
                <a:latin typeface="Lucida Sans" panose="020B0602030504020204" pitchFamily="34" charset="0"/>
                <a:ea typeface="+mn-ea"/>
                <a:cs typeface="+mn-cs"/>
              </a:rPr>
              <a:t>sociales</a:t>
            </a:r>
            <a:r>
              <a:rPr kumimoji="0" lang="en-GB" sz="1050" b="0" i="0" u="none" strike="noStrike" kern="1200" cap="none" spc="0" normalizeH="0" baseline="0" noProof="0" dirty="0">
                <a:ln>
                  <a:noFill/>
                </a:ln>
                <a:solidFill>
                  <a:prstClr val="white"/>
                </a:solidFill>
                <a:effectLst/>
                <a:uLnTx/>
                <a:uFillTx/>
                <a:latin typeface="Lucida Sans" panose="020B0602030504020204" pitchFamily="34" charset="0"/>
                <a:ea typeface="+mn-ea"/>
                <a:cs typeface="+mn-cs"/>
              </a:rPr>
              <a:t> (2022-12)</a:t>
            </a:r>
            <a:endParaRPr kumimoji="0" lang="en-BE" sz="1050" b="0" i="0" u="none" strike="noStrike" kern="1200" cap="none" spc="0" normalizeH="0" baseline="0" noProof="0" dirty="0">
              <a:ln>
                <a:noFill/>
              </a:ln>
              <a:solidFill>
                <a:prstClr val="white"/>
              </a:solidFill>
              <a:effectLst/>
              <a:uLnTx/>
              <a:uFillTx/>
              <a:latin typeface="Lucida Sans" panose="020B0602030504020204" pitchFamily="34" charset="0"/>
              <a:ea typeface="+mn-ea"/>
              <a:cs typeface="+mn-cs"/>
            </a:endParaRPr>
          </a:p>
        </p:txBody>
      </p:sp>
      <p:pic>
        <p:nvPicPr>
          <p:cNvPr id="9" name="Picture 8" descr="Icon&#10;&#10;Description automatically generated">
            <a:extLst>
              <a:ext uri="{FF2B5EF4-FFF2-40B4-BE49-F238E27FC236}">
                <a16:creationId xmlns:a16="http://schemas.microsoft.com/office/drawing/2014/main" id="{A4946F25-BEB0-C357-5A86-248629F9E6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8190" y="1088920"/>
            <a:ext cx="618307" cy="618307"/>
          </a:xfrm>
          <a:prstGeom prst="rect">
            <a:avLst/>
          </a:prstGeom>
        </p:spPr>
      </p:pic>
      <p:pic>
        <p:nvPicPr>
          <p:cNvPr id="2" name="Picture 1" descr="Background pattern&#10;&#10;Description automatically generated">
            <a:extLst>
              <a:ext uri="{FF2B5EF4-FFF2-40B4-BE49-F238E27FC236}">
                <a16:creationId xmlns:a16="http://schemas.microsoft.com/office/drawing/2014/main" id="{8AA082F3-15AC-CA13-2EE4-EEC316A3800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70948" y="1126994"/>
            <a:ext cx="354190" cy="561255"/>
          </a:xfrm>
          <a:prstGeom prst="rect">
            <a:avLst/>
          </a:prstGeom>
        </p:spPr>
      </p:pic>
      <p:sp>
        <p:nvSpPr>
          <p:cNvPr id="19" name="TextBox 18">
            <a:extLst>
              <a:ext uri="{FF2B5EF4-FFF2-40B4-BE49-F238E27FC236}">
                <a16:creationId xmlns:a16="http://schemas.microsoft.com/office/drawing/2014/main" id="{EB4AD8D1-148D-FBC0-8C08-96BD56C2D1C7}"/>
              </a:ext>
            </a:extLst>
          </p:cNvPr>
          <p:cNvSpPr txBox="1"/>
          <p:nvPr/>
        </p:nvSpPr>
        <p:spPr>
          <a:xfrm>
            <a:off x="2866921" y="5571764"/>
            <a:ext cx="6748061" cy="213585"/>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788" b="0" i="1" u="none" strike="noStrike" kern="1200" cap="none" spc="0" normalizeH="0" baseline="0" noProof="0" err="1">
                <a:ln>
                  <a:noFill/>
                </a:ln>
                <a:solidFill>
                  <a:prstClr val="black"/>
                </a:solidFill>
                <a:effectLst/>
                <a:uLnTx/>
                <a:uFillTx/>
                <a:latin typeface="Lucida Sans" panose="020B0602030504020204" pitchFamily="34" charset="0"/>
                <a:ea typeface="+mn-ea"/>
                <a:cs typeface="+mn-cs"/>
              </a:rPr>
              <a:t>Deze</a:t>
            </a:r>
            <a:r>
              <a:rPr kumimoji="0" lang="en-GB" sz="788" b="0" i="1" u="none" strike="noStrike" kern="1200" cap="none" spc="0" normalizeH="0" baseline="0" noProof="0">
                <a:ln>
                  <a:noFill/>
                </a:ln>
                <a:solidFill>
                  <a:prstClr val="black"/>
                </a:solidFill>
                <a:effectLst/>
                <a:uLnTx/>
                <a:uFillTx/>
                <a:latin typeface="Lucida Sans" panose="020B0602030504020204" pitchFamily="34" charset="0"/>
                <a:ea typeface="+mn-ea"/>
                <a:cs typeface="+mn-cs"/>
              </a:rPr>
              <a:t> indicator </a:t>
            </a:r>
            <a:r>
              <a:rPr kumimoji="0" lang="en-GB" sz="788" b="0" i="1" u="none" strike="noStrike" kern="1200" cap="none" spc="0" normalizeH="0" baseline="0" noProof="0" err="1">
                <a:ln>
                  <a:noFill/>
                </a:ln>
                <a:solidFill>
                  <a:prstClr val="black"/>
                </a:solidFill>
                <a:effectLst/>
                <a:uLnTx/>
                <a:uFillTx/>
                <a:latin typeface="Lucida Sans" panose="020B0602030504020204" pitchFamily="34" charset="0"/>
                <a:ea typeface="+mn-ea"/>
                <a:cs typeface="+mn-cs"/>
              </a:rPr>
              <a:t>wijst</a:t>
            </a:r>
            <a:r>
              <a:rPr kumimoji="0" lang="en-GB" sz="788" b="0" i="1" u="none" strike="noStrike" kern="1200" cap="none" spc="0" normalizeH="0" baseline="0" noProof="0">
                <a:ln>
                  <a:noFill/>
                </a:ln>
                <a:solidFill>
                  <a:prstClr val="black"/>
                </a:solidFill>
                <a:effectLst/>
                <a:uLnTx/>
                <a:uFillTx/>
                <a:latin typeface="Lucida Sans" panose="020B0602030504020204" pitchFamily="34" charset="0"/>
                <a:ea typeface="+mn-ea"/>
                <a:cs typeface="+mn-cs"/>
              </a:rPr>
              <a:t> op de </a:t>
            </a:r>
            <a:r>
              <a:rPr kumimoji="0" lang="en-GB" sz="788" b="0" i="1" u="none" strike="noStrike" kern="1200" cap="none" spc="0" normalizeH="0" baseline="0" noProof="0" err="1">
                <a:ln>
                  <a:noFill/>
                </a:ln>
                <a:solidFill>
                  <a:prstClr val="black"/>
                </a:solidFill>
                <a:effectLst/>
                <a:uLnTx/>
                <a:uFillTx/>
                <a:latin typeface="Lucida Sans" panose="020B0602030504020204" pitchFamily="34" charset="0"/>
                <a:ea typeface="+mn-ea"/>
                <a:cs typeface="+mn-cs"/>
              </a:rPr>
              <a:t>lopende</a:t>
            </a:r>
            <a:r>
              <a:rPr kumimoji="0" lang="en-GB" sz="788" b="0" i="1" u="none" strike="noStrike" kern="1200" cap="none" spc="0" normalizeH="0" baseline="0" noProof="0">
                <a:ln>
                  <a:noFill/>
                </a:ln>
                <a:solidFill>
                  <a:prstClr val="black"/>
                </a:solidFill>
                <a:effectLst/>
                <a:uLnTx/>
                <a:uFillTx/>
                <a:latin typeface="Lucida Sans" panose="020B0602030504020204" pitchFamily="34" charset="0"/>
                <a:ea typeface="+mn-ea"/>
                <a:cs typeface="+mn-cs"/>
              </a:rPr>
              <a:t> </a:t>
            </a:r>
            <a:r>
              <a:rPr kumimoji="0" lang="en-GB" sz="788" b="0" i="1" u="none" strike="noStrike" kern="1200" cap="none" spc="0" normalizeH="0" baseline="0" noProof="0" err="1">
                <a:ln>
                  <a:noFill/>
                </a:ln>
                <a:solidFill>
                  <a:prstClr val="black"/>
                </a:solidFill>
                <a:effectLst/>
                <a:uLnTx/>
                <a:uFillTx/>
                <a:latin typeface="Lucida Sans" panose="020B0602030504020204" pitchFamily="34" charset="0"/>
                <a:ea typeface="+mn-ea"/>
                <a:cs typeface="+mn-cs"/>
              </a:rPr>
              <a:t>contracten</a:t>
            </a:r>
            <a:r>
              <a:rPr kumimoji="0" lang="en-GB" sz="788" b="0" i="1" u="none" strike="noStrike" kern="1200" cap="none" spc="0" normalizeH="0" baseline="0" noProof="0">
                <a:ln>
                  <a:noFill/>
                </a:ln>
                <a:solidFill>
                  <a:prstClr val="black"/>
                </a:solidFill>
                <a:effectLst/>
                <a:uLnTx/>
                <a:uFillTx/>
                <a:latin typeface="Lucida Sans" panose="020B0602030504020204" pitchFamily="34" charset="0"/>
                <a:ea typeface="+mn-ea"/>
                <a:cs typeface="+mn-cs"/>
              </a:rPr>
              <a:t>, </a:t>
            </a:r>
            <a:r>
              <a:rPr kumimoji="0" lang="en-GB" sz="788" b="0" i="1" u="none" strike="noStrike" kern="1200" cap="none" spc="0" normalizeH="0" baseline="0" noProof="0" err="1">
                <a:ln>
                  <a:noFill/>
                </a:ln>
                <a:solidFill>
                  <a:prstClr val="black"/>
                </a:solidFill>
                <a:effectLst/>
                <a:uLnTx/>
                <a:uFillTx/>
                <a:latin typeface="Lucida Sans" panose="020B0602030504020204" pitchFamily="34" charset="0"/>
                <a:ea typeface="+mn-ea"/>
                <a:cs typeface="+mn-cs"/>
              </a:rPr>
              <a:t>niet</a:t>
            </a:r>
            <a:r>
              <a:rPr kumimoji="0" lang="en-GB" sz="788" b="0" i="1" u="none" strike="noStrike" kern="1200" cap="none" spc="0" normalizeH="0" baseline="0" noProof="0">
                <a:ln>
                  <a:noFill/>
                </a:ln>
                <a:solidFill>
                  <a:prstClr val="black"/>
                </a:solidFill>
                <a:effectLst/>
                <a:uLnTx/>
                <a:uFillTx/>
                <a:latin typeface="Lucida Sans" panose="020B0602030504020204" pitchFamily="34" charset="0"/>
                <a:ea typeface="+mn-ea"/>
                <a:cs typeface="+mn-cs"/>
              </a:rPr>
              <a:t> de </a:t>
            </a:r>
            <a:r>
              <a:rPr kumimoji="0" lang="en-GB" sz="788" b="0" i="1" u="none" strike="noStrike" kern="1200" cap="none" spc="0" normalizeH="0" baseline="0" noProof="0" err="1">
                <a:ln>
                  <a:noFill/>
                </a:ln>
                <a:solidFill>
                  <a:prstClr val="black"/>
                </a:solidFill>
                <a:effectLst/>
                <a:uLnTx/>
                <a:uFillTx/>
                <a:latin typeface="Lucida Sans" panose="020B0602030504020204" pitchFamily="34" charset="0"/>
                <a:ea typeface="+mn-ea"/>
                <a:cs typeface="+mn-cs"/>
              </a:rPr>
              <a:t>nieuw</a:t>
            </a:r>
            <a:r>
              <a:rPr kumimoji="0" lang="en-GB" sz="788" b="0" i="1" u="none" strike="noStrike" kern="1200" cap="none" spc="0" normalizeH="0" baseline="0" noProof="0">
                <a:ln>
                  <a:noFill/>
                </a:ln>
                <a:solidFill>
                  <a:prstClr val="black"/>
                </a:solidFill>
                <a:effectLst/>
                <a:uLnTx/>
                <a:uFillTx/>
                <a:latin typeface="Lucida Sans" panose="020B0602030504020204" pitchFamily="34" charset="0"/>
                <a:ea typeface="+mn-ea"/>
                <a:cs typeface="+mn-cs"/>
              </a:rPr>
              <a:t> </a:t>
            </a:r>
            <a:r>
              <a:rPr kumimoji="0" lang="en-GB" sz="788" b="0" i="1" u="none" strike="noStrike" kern="1200" cap="none" spc="0" normalizeH="0" baseline="0" noProof="0" err="1">
                <a:ln>
                  <a:noFill/>
                </a:ln>
                <a:solidFill>
                  <a:prstClr val="black"/>
                </a:solidFill>
                <a:effectLst/>
                <a:uLnTx/>
                <a:uFillTx/>
                <a:latin typeface="Lucida Sans" panose="020B0602030504020204" pitchFamily="34" charset="0"/>
                <a:ea typeface="+mn-ea"/>
                <a:cs typeface="+mn-cs"/>
              </a:rPr>
              <a:t>opgestarte</a:t>
            </a:r>
            <a:r>
              <a:rPr kumimoji="0" lang="en-GB" sz="788" b="0" i="1" u="none" strike="noStrike" kern="1200" cap="none" spc="0" normalizeH="0" baseline="0" noProof="0">
                <a:ln>
                  <a:noFill/>
                </a:ln>
                <a:solidFill>
                  <a:prstClr val="black"/>
                </a:solidFill>
                <a:effectLst/>
                <a:uLnTx/>
                <a:uFillTx/>
                <a:latin typeface="Lucida Sans" panose="020B0602030504020204" pitchFamily="34" charset="0"/>
                <a:ea typeface="+mn-ea"/>
                <a:cs typeface="+mn-cs"/>
              </a:rPr>
              <a:t> </a:t>
            </a:r>
            <a:r>
              <a:rPr kumimoji="0" lang="en-GB" sz="788" b="0" i="1" u="none" strike="noStrike" kern="1200" cap="none" spc="0" normalizeH="0" baseline="0" noProof="0" err="1">
                <a:ln>
                  <a:noFill/>
                </a:ln>
                <a:solidFill>
                  <a:prstClr val="black"/>
                </a:solidFill>
                <a:effectLst/>
                <a:uLnTx/>
                <a:uFillTx/>
                <a:latin typeface="Lucida Sans" panose="020B0602030504020204" pitchFamily="34" charset="0"/>
                <a:ea typeface="+mn-ea"/>
                <a:cs typeface="+mn-cs"/>
              </a:rPr>
              <a:t>contracten</a:t>
            </a:r>
            <a:r>
              <a:rPr kumimoji="0" lang="en-GB" sz="788" b="0" i="1" u="none" strike="noStrike" kern="1200" cap="none" spc="0" normalizeH="0" baseline="0" noProof="0">
                <a:ln>
                  <a:noFill/>
                </a:ln>
                <a:solidFill>
                  <a:prstClr val="black"/>
                </a:solidFill>
                <a:effectLst/>
                <a:uLnTx/>
                <a:uFillTx/>
                <a:latin typeface="Lucida Sans" panose="020B0602030504020204" pitchFamily="34" charset="0"/>
                <a:ea typeface="+mn-ea"/>
                <a:cs typeface="+mn-cs"/>
              </a:rPr>
              <a:t>.</a:t>
            </a:r>
            <a:endParaRPr kumimoji="0" lang="en-BE" sz="788" b="0" i="1" u="none" strike="noStrike" kern="1200" cap="none" spc="0" normalizeH="0" baseline="0" noProof="0">
              <a:ln>
                <a:noFill/>
              </a:ln>
              <a:solidFill>
                <a:prstClr val="black"/>
              </a:solidFill>
              <a:effectLst/>
              <a:uLnTx/>
              <a:uFillTx/>
              <a:latin typeface="Lucida Sans" panose="020B0602030504020204" pitchFamily="34" charset="0"/>
              <a:ea typeface="+mn-ea"/>
              <a:cs typeface="+mn-cs"/>
            </a:endParaRPr>
          </a:p>
        </p:txBody>
      </p:sp>
      <p:pic>
        <p:nvPicPr>
          <p:cNvPr id="10" name="Picture 9">
            <a:extLst>
              <a:ext uri="{FF2B5EF4-FFF2-40B4-BE49-F238E27FC236}">
                <a16:creationId xmlns:a16="http://schemas.microsoft.com/office/drawing/2014/main" id="{5962460B-0BDB-260D-3C53-91C6B030BBF8}"/>
              </a:ext>
            </a:extLst>
          </p:cNvPr>
          <p:cNvPicPr>
            <a:picLocks noChangeAspect="1"/>
          </p:cNvPicPr>
          <p:nvPr/>
        </p:nvPicPr>
        <p:blipFill>
          <a:blip r:embed="rId5"/>
          <a:stretch>
            <a:fillRect/>
          </a:stretch>
        </p:blipFill>
        <p:spPr>
          <a:xfrm>
            <a:off x="1981201" y="2105008"/>
            <a:ext cx="6722269" cy="2900363"/>
          </a:xfrm>
          <a:prstGeom prst="rect">
            <a:avLst/>
          </a:prstGeom>
        </p:spPr>
      </p:pic>
      <p:grpSp>
        <p:nvGrpSpPr>
          <p:cNvPr id="21" name="Group 20">
            <a:extLst>
              <a:ext uri="{FF2B5EF4-FFF2-40B4-BE49-F238E27FC236}">
                <a16:creationId xmlns:a16="http://schemas.microsoft.com/office/drawing/2014/main" id="{F1C0B0BD-8236-C622-1220-A512EF702D81}"/>
              </a:ext>
            </a:extLst>
          </p:cNvPr>
          <p:cNvGrpSpPr/>
          <p:nvPr/>
        </p:nvGrpSpPr>
        <p:grpSpPr>
          <a:xfrm>
            <a:off x="8959075" y="2591979"/>
            <a:ext cx="1107281" cy="1880186"/>
            <a:chOff x="9806899" y="2339604"/>
            <a:chExt cx="1476375" cy="2506915"/>
          </a:xfrm>
        </p:grpSpPr>
        <p:pic>
          <p:nvPicPr>
            <p:cNvPr id="12" name="Picture 11">
              <a:extLst>
                <a:ext uri="{FF2B5EF4-FFF2-40B4-BE49-F238E27FC236}">
                  <a16:creationId xmlns:a16="http://schemas.microsoft.com/office/drawing/2014/main" id="{1D1C529C-4C2B-83A6-96B0-3EA67D052CCC}"/>
                </a:ext>
              </a:extLst>
            </p:cNvPr>
            <p:cNvPicPr>
              <a:picLocks noChangeAspect="1"/>
            </p:cNvPicPr>
            <p:nvPr/>
          </p:nvPicPr>
          <p:blipFill>
            <a:blip r:embed="rId6"/>
            <a:stretch>
              <a:fillRect/>
            </a:stretch>
          </p:blipFill>
          <p:spPr>
            <a:xfrm>
              <a:off x="9806899" y="2360494"/>
              <a:ext cx="542925" cy="2486025"/>
            </a:xfrm>
            <a:prstGeom prst="rect">
              <a:avLst/>
            </a:prstGeom>
          </p:spPr>
        </p:pic>
        <p:pic>
          <p:nvPicPr>
            <p:cNvPr id="15" name="Picture 14">
              <a:extLst>
                <a:ext uri="{FF2B5EF4-FFF2-40B4-BE49-F238E27FC236}">
                  <a16:creationId xmlns:a16="http://schemas.microsoft.com/office/drawing/2014/main" id="{7AF3049E-F886-E88E-946D-3611175B69A9}"/>
                </a:ext>
              </a:extLst>
            </p:cNvPr>
            <p:cNvPicPr>
              <a:picLocks noChangeAspect="1"/>
            </p:cNvPicPr>
            <p:nvPr/>
          </p:nvPicPr>
          <p:blipFill>
            <a:blip r:embed="rId7"/>
            <a:stretch>
              <a:fillRect/>
            </a:stretch>
          </p:blipFill>
          <p:spPr>
            <a:xfrm>
              <a:off x="10349824" y="2339604"/>
              <a:ext cx="438150" cy="2495550"/>
            </a:xfrm>
            <a:prstGeom prst="rect">
              <a:avLst/>
            </a:prstGeom>
          </p:spPr>
        </p:pic>
        <p:pic>
          <p:nvPicPr>
            <p:cNvPr id="20" name="Picture 19">
              <a:extLst>
                <a:ext uri="{FF2B5EF4-FFF2-40B4-BE49-F238E27FC236}">
                  <a16:creationId xmlns:a16="http://schemas.microsoft.com/office/drawing/2014/main" id="{943E9CF9-121C-710C-E92B-5DC428C50F0D}"/>
                </a:ext>
              </a:extLst>
            </p:cNvPr>
            <p:cNvPicPr>
              <a:picLocks noChangeAspect="1"/>
            </p:cNvPicPr>
            <p:nvPr/>
          </p:nvPicPr>
          <p:blipFill>
            <a:blip r:embed="rId8"/>
            <a:stretch>
              <a:fillRect/>
            </a:stretch>
          </p:blipFill>
          <p:spPr>
            <a:xfrm>
              <a:off x="10787974" y="2339604"/>
              <a:ext cx="495300" cy="2457450"/>
            </a:xfrm>
            <a:prstGeom prst="rect">
              <a:avLst/>
            </a:prstGeom>
          </p:spPr>
        </p:pic>
      </p:grpSp>
      <p:sp>
        <p:nvSpPr>
          <p:cNvPr id="3" name="Title 1">
            <a:extLst>
              <a:ext uri="{FF2B5EF4-FFF2-40B4-BE49-F238E27FC236}">
                <a16:creationId xmlns:a16="http://schemas.microsoft.com/office/drawing/2014/main" id="{EC26BAD2-C1D5-AF8F-BA40-F8B6F3C76183}"/>
              </a:ext>
            </a:extLst>
          </p:cNvPr>
          <p:cNvSpPr txBox="1">
            <a:spLocks/>
          </p:cNvSpPr>
          <p:nvPr/>
        </p:nvSpPr>
        <p:spPr>
          <a:xfrm>
            <a:off x="609600" y="273393"/>
            <a:ext cx="10972800" cy="565200"/>
          </a:xfrm>
          <a:prstGeom prst="rect">
            <a:avLst/>
          </a:prstGeom>
        </p:spPr>
        <p:txBody>
          <a:bodyPr vert="horz" lIns="91440" tIns="45720" rIns="91440" bIns="45720" rtlCol="0" anchor="b">
            <a:normAutofit fontScale="5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dirty="0"/>
              <a:t>&gt;50% SOHO clients protected </a:t>
            </a:r>
            <a:r>
              <a:rPr lang="en-US" dirty="0" err="1"/>
              <a:t>thnx</a:t>
            </a:r>
            <a:r>
              <a:rPr lang="en-US" dirty="0"/>
              <a:t> to fixed price contracts  </a:t>
            </a:r>
          </a:p>
        </p:txBody>
      </p:sp>
    </p:spTree>
    <p:extLst>
      <p:ext uri="{BB962C8B-B14F-4D97-AF65-F5344CB8AC3E}">
        <p14:creationId xmlns:p14="http://schemas.microsoft.com/office/powerpoint/2010/main" val="42294820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F53F5772-9D0A-BB76-FBE0-E657521996C7}"/>
              </a:ext>
            </a:extLst>
          </p:cNvPr>
          <p:cNvPicPr>
            <a:picLocks noChangeAspect="1"/>
          </p:cNvPicPr>
          <p:nvPr/>
        </p:nvPicPr>
        <p:blipFill>
          <a:blip r:embed="rId2"/>
          <a:stretch>
            <a:fillRect/>
          </a:stretch>
        </p:blipFill>
        <p:spPr>
          <a:xfrm>
            <a:off x="9662518" y="5492416"/>
            <a:ext cx="962621" cy="489227"/>
          </a:xfrm>
          <a:prstGeom prst="rect">
            <a:avLst/>
          </a:prstGeom>
        </p:spPr>
      </p:pic>
      <p:sp>
        <p:nvSpPr>
          <p:cNvPr id="12" name="Tijdelijke aanduiding voor dianummer 11">
            <a:extLst>
              <a:ext uri="{FF2B5EF4-FFF2-40B4-BE49-F238E27FC236}">
                <a16:creationId xmlns:a16="http://schemas.microsoft.com/office/drawing/2014/main" id="{A7F8C0A5-3822-E63C-108F-77F5B1DCC625}"/>
              </a:ext>
            </a:extLst>
          </p:cNvPr>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94918E1-5C2D-4B61-B8EB-091E2E1E0D19}" type="slidenum">
              <a:rPr kumimoji="0" lang="nl-B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nl-B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2AD51C0-E8F7-8D35-0D58-21C02E136558}"/>
              </a:ext>
            </a:extLst>
          </p:cNvPr>
          <p:cNvSpPr txBox="1"/>
          <p:nvPr/>
        </p:nvSpPr>
        <p:spPr>
          <a:xfrm>
            <a:off x="1524000" y="857250"/>
            <a:ext cx="9144000" cy="253916"/>
          </a:xfrm>
          <a:prstGeom prst="rect">
            <a:avLst/>
          </a:prstGeom>
          <a:solidFill>
            <a:srgbClr val="C30A2B"/>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err="1">
                <a:ln>
                  <a:noFill/>
                </a:ln>
                <a:solidFill>
                  <a:prstClr val="white"/>
                </a:solidFill>
                <a:effectLst/>
                <a:uLnTx/>
                <a:uFillTx/>
                <a:latin typeface="Lucida Sans" panose="020B0602030504020204" pitchFamily="34" charset="0"/>
                <a:ea typeface="+mn-ea"/>
                <a:cs typeface="+mn-cs"/>
              </a:rPr>
              <a:t>Sociale</a:t>
            </a:r>
            <a:r>
              <a:rPr kumimoji="0" lang="en-GB" sz="1050" b="0" i="0" u="none" strike="noStrike" kern="1200" cap="none" spc="0" normalizeH="0" baseline="0" noProof="0">
                <a:ln>
                  <a:noFill/>
                </a:ln>
                <a:solidFill>
                  <a:prstClr val="white"/>
                </a:solidFill>
                <a:effectLst/>
                <a:uLnTx/>
                <a:uFillTx/>
                <a:latin typeface="Lucida Sans" panose="020B0602030504020204" pitchFamily="34" charset="0"/>
                <a:ea typeface="+mn-ea"/>
                <a:cs typeface="+mn-cs"/>
              </a:rPr>
              <a:t> </a:t>
            </a:r>
            <a:r>
              <a:rPr kumimoji="0" lang="en-GB" sz="1050" b="0" i="0" u="none" strike="noStrike" kern="1200" cap="none" spc="0" normalizeH="0" baseline="0" noProof="0" err="1">
                <a:ln>
                  <a:noFill/>
                </a:ln>
                <a:solidFill>
                  <a:prstClr val="white"/>
                </a:solidFill>
                <a:effectLst/>
                <a:uLnTx/>
                <a:uFillTx/>
                <a:latin typeface="Lucida Sans" panose="020B0602030504020204" pitchFamily="34" charset="0"/>
                <a:ea typeface="+mn-ea"/>
                <a:cs typeface="+mn-cs"/>
              </a:rPr>
              <a:t>statistieken</a:t>
            </a:r>
            <a:r>
              <a:rPr kumimoji="0" lang="en-GB" sz="1050" b="0" i="0" u="none" strike="noStrike" kern="1200" cap="none" spc="0" normalizeH="0" baseline="0" noProof="0">
                <a:ln>
                  <a:noFill/>
                </a:ln>
                <a:solidFill>
                  <a:prstClr val="white"/>
                </a:solidFill>
                <a:effectLst/>
                <a:uLnTx/>
                <a:uFillTx/>
                <a:latin typeface="Lucida Sans" panose="020B0602030504020204" pitchFamily="34" charset="0"/>
                <a:ea typeface="+mn-ea"/>
                <a:cs typeface="+mn-cs"/>
              </a:rPr>
              <a:t> (2022-12)</a:t>
            </a:r>
            <a:endParaRPr kumimoji="0" lang="en-BE" sz="1050" b="0" i="0" u="none" strike="noStrike" kern="1200" cap="none" spc="0" normalizeH="0" baseline="0" noProof="0">
              <a:ln>
                <a:noFill/>
              </a:ln>
              <a:solidFill>
                <a:prstClr val="white"/>
              </a:solidFill>
              <a:effectLst/>
              <a:uLnTx/>
              <a:uFillTx/>
              <a:latin typeface="Lucida Sans" panose="020B0602030504020204" pitchFamily="34" charset="0"/>
              <a:ea typeface="+mn-ea"/>
              <a:cs typeface="+mn-cs"/>
            </a:endParaRPr>
          </a:p>
        </p:txBody>
      </p:sp>
      <p:pic>
        <p:nvPicPr>
          <p:cNvPr id="2" name="Picture 1" descr="Icon&#10;&#10;Description automatically generated">
            <a:extLst>
              <a:ext uri="{FF2B5EF4-FFF2-40B4-BE49-F238E27FC236}">
                <a16:creationId xmlns:a16="http://schemas.microsoft.com/office/drawing/2014/main" id="{E7C9D8A1-63FC-EC35-A4F8-AF2396F5929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8190" y="1088920"/>
            <a:ext cx="618307" cy="618307"/>
          </a:xfrm>
          <a:prstGeom prst="rect">
            <a:avLst/>
          </a:prstGeom>
        </p:spPr>
      </p:pic>
      <p:pic>
        <p:nvPicPr>
          <p:cNvPr id="4" name="Picture 3" descr="Background pattern&#10;&#10;Description automatically generated">
            <a:extLst>
              <a:ext uri="{FF2B5EF4-FFF2-40B4-BE49-F238E27FC236}">
                <a16:creationId xmlns:a16="http://schemas.microsoft.com/office/drawing/2014/main" id="{8FC4FC59-342A-4E07-71AD-FA0D25C9908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70948" y="1126994"/>
            <a:ext cx="354190" cy="561255"/>
          </a:xfrm>
          <a:prstGeom prst="rect">
            <a:avLst/>
          </a:prstGeom>
        </p:spPr>
      </p:pic>
      <p:sp>
        <p:nvSpPr>
          <p:cNvPr id="5" name="TextBox 4">
            <a:extLst>
              <a:ext uri="{FF2B5EF4-FFF2-40B4-BE49-F238E27FC236}">
                <a16:creationId xmlns:a16="http://schemas.microsoft.com/office/drawing/2014/main" id="{612C6B96-B6C0-66ED-4C52-366B7AC46EC6}"/>
              </a:ext>
            </a:extLst>
          </p:cNvPr>
          <p:cNvSpPr txBox="1"/>
          <p:nvPr/>
        </p:nvSpPr>
        <p:spPr>
          <a:xfrm>
            <a:off x="2531270" y="5099613"/>
            <a:ext cx="6880860" cy="69249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Zowel</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voor</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SOHO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als</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B2B is het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aantal</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opgestarte</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afbetalingsplannen</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opnieuw</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gestegen</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in Q4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na</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de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daling</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in Q3. </a:t>
            </a:r>
            <a:r>
              <a:rPr kumimoji="0" lang="en-GB" sz="135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T</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o.v</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januari</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is he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aantal</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niuew</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opgestarte</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afbetalingsplannen</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srgbClr val="C00000"/>
                </a:solidFill>
                <a:effectLst/>
                <a:uLnTx/>
                <a:uFillTx/>
                <a:latin typeface="Lucida Sans" panose="020B0602030504020204" pitchFamily="34" charset="0"/>
                <a:ea typeface="+mn-ea"/>
                <a:cs typeface="+mn-cs"/>
              </a:rPr>
              <a:t>verhoogd</a:t>
            </a:r>
            <a:r>
              <a:rPr kumimoji="0" lang="en-GB" sz="1200" b="0" i="0" u="none" strike="noStrike" kern="1200" cap="none" spc="0" normalizeH="0" baseline="0" noProof="0" dirty="0">
                <a:ln>
                  <a:noFill/>
                </a:ln>
                <a:solidFill>
                  <a:srgbClr val="C00000"/>
                </a:solidFill>
                <a:effectLst/>
                <a:uLnTx/>
                <a:uFillTx/>
                <a:latin typeface="Lucida Sans" panose="020B0602030504020204" pitchFamily="34" charset="0"/>
                <a:ea typeface="+mn-ea"/>
                <a:cs typeface="+mn-cs"/>
              </a:rPr>
              <a:t> met </a:t>
            </a:r>
            <a:r>
              <a:rPr kumimoji="0" lang="en-GB" sz="1200" b="0" i="0" u="none" strike="noStrike" kern="1200" cap="none" spc="0" normalizeH="0" baseline="0" noProof="0" dirty="0" err="1">
                <a:ln>
                  <a:noFill/>
                </a:ln>
                <a:solidFill>
                  <a:srgbClr val="C00000"/>
                </a:solidFill>
                <a:effectLst/>
                <a:uLnTx/>
                <a:uFillTx/>
                <a:latin typeface="Lucida Sans" panose="020B0602030504020204" pitchFamily="34" charset="0"/>
                <a:ea typeface="+mn-ea"/>
                <a:cs typeface="+mn-cs"/>
              </a:rPr>
              <a:t>een</a:t>
            </a:r>
            <a:r>
              <a:rPr kumimoji="0" lang="en-GB" sz="1200" b="0" i="0" u="none" strike="noStrike" kern="1200" cap="none" spc="0" normalizeH="0" baseline="0" noProof="0" dirty="0">
                <a:ln>
                  <a:noFill/>
                </a:ln>
                <a:solidFill>
                  <a:srgbClr val="C00000"/>
                </a:solidFill>
                <a:effectLst/>
                <a:uLnTx/>
                <a:uFillTx/>
                <a:latin typeface="Lucida Sans" panose="020B0602030504020204" pitchFamily="34" charset="0"/>
                <a:ea typeface="+mn-ea"/>
                <a:cs typeface="+mn-cs"/>
              </a:rPr>
              <a:t> factor van 3 (</a:t>
            </a:r>
            <a:r>
              <a:rPr kumimoji="0" lang="en-GB" sz="1200" b="0" i="0" u="none" strike="noStrike" kern="1200" cap="none" spc="0" normalizeH="0" baseline="0" noProof="0" dirty="0" err="1">
                <a:ln>
                  <a:noFill/>
                </a:ln>
                <a:solidFill>
                  <a:srgbClr val="C00000"/>
                </a:solidFill>
                <a:effectLst/>
                <a:uLnTx/>
                <a:uFillTx/>
                <a:latin typeface="Lucida Sans" panose="020B0602030504020204" pitchFamily="34" charset="0"/>
                <a:ea typeface="+mn-ea"/>
                <a:cs typeface="+mn-cs"/>
              </a:rPr>
              <a:t>zowel</a:t>
            </a:r>
            <a:r>
              <a:rPr kumimoji="0" lang="en-GB" sz="1200" b="0" i="0" u="none" strike="noStrike" kern="1200" cap="none" spc="0" normalizeH="0" baseline="0" noProof="0" dirty="0">
                <a:ln>
                  <a:noFill/>
                </a:ln>
                <a:solidFill>
                  <a:srgbClr val="C00000"/>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srgbClr val="C00000"/>
                </a:solidFill>
                <a:effectLst/>
                <a:uLnTx/>
                <a:uFillTx/>
                <a:latin typeface="Lucida Sans" panose="020B0602030504020204" pitchFamily="34" charset="0"/>
                <a:ea typeface="+mn-ea"/>
                <a:cs typeface="+mn-cs"/>
              </a:rPr>
              <a:t>voor</a:t>
            </a:r>
            <a:r>
              <a:rPr kumimoji="0" lang="en-GB" sz="1200" b="0" i="0" u="none" strike="noStrike" kern="1200" cap="none" spc="0" normalizeH="0" baseline="0" noProof="0" dirty="0">
                <a:ln>
                  <a:noFill/>
                </a:ln>
                <a:solidFill>
                  <a:srgbClr val="C00000"/>
                </a:solidFill>
                <a:effectLst/>
                <a:uLnTx/>
                <a:uFillTx/>
                <a:latin typeface="Lucida Sans" panose="020B0602030504020204" pitchFamily="34" charset="0"/>
                <a:ea typeface="+mn-ea"/>
                <a:cs typeface="+mn-cs"/>
              </a:rPr>
              <a:t> SOHO </a:t>
            </a:r>
            <a:r>
              <a:rPr kumimoji="0" lang="en-GB" sz="1200" b="0" i="0" u="none" strike="noStrike" kern="1200" cap="none" spc="0" normalizeH="0" baseline="0" noProof="0" dirty="0" err="1">
                <a:ln>
                  <a:noFill/>
                </a:ln>
                <a:solidFill>
                  <a:srgbClr val="C00000"/>
                </a:solidFill>
                <a:effectLst/>
                <a:uLnTx/>
                <a:uFillTx/>
                <a:latin typeface="Lucida Sans" panose="020B0602030504020204" pitchFamily="34" charset="0"/>
                <a:ea typeface="+mn-ea"/>
                <a:cs typeface="+mn-cs"/>
              </a:rPr>
              <a:t>als</a:t>
            </a:r>
            <a:r>
              <a:rPr kumimoji="0" lang="en-GB" sz="1200" b="0" i="0" u="none" strike="noStrike" kern="1200" cap="none" spc="0" normalizeH="0" baseline="0" noProof="0" dirty="0">
                <a:ln>
                  <a:noFill/>
                </a:ln>
                <a:solidFill>
                  <a:srgbClr val="C00000"/>
                </a:solidFill>
                <a:effectLst/>
                <a:uLnTx/>
                <a:uFillTx/>
                <a:latin typeface="Lucida Sans" panose="020B0602030504020204" pitchFamily="34" charset="0"/>
                <a:ea typeface="+mn-ea"/>
                <a:cs typeface="+mn-cs"/>
              </a:rPr>
              <a:t> B2B)</a:t>
            </a:r>
            <a:r>
              <a:rPr kumimoji="0" lang="en-GB" sz="1200" b="0" i="0" u="none" strike="noStrike" kern="1200" cap="none" spc="0" normalizeH="0" baseline="0" noProof="0" dirty="0">
                <a:ln>
                  <a:noFill/>
                </a:ln>
                <a:solidFill>
                  <a:srgbClr val="FF0000"/>
                </a:solidFill>
                <a:effectLst/>
                <a:uLnTx/>
                <a:uFillTx/>
                <a:latin typeface="Lucida Sans" panose="020B0602030504020204" pitchFamily="34" charset="0"/>
                <a:ea typeface="+mn-ea"/>
                <a:cs typeface="+mn-cs"/>
              </a:rPr>
              <a:t>. </a:t>
            </a:r>
            <a:endParaRPr kumimoji="0" lang="en-BE" sz="1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44DB9EEF-68D7-498F-19A6-703F56935E06}"/>
              </a:ext>
            </a:extLst>
          </p:cNvPr>
          <p:cNvPicPr>
            <a:picLocks noChangeAspect="1"/>
          </p:cNvPicPr>
          <p:nvPr/>
        </p:nvPicPr>
        <p:blipFill>
          <a:blip r:embed="rId5"/>
          <a:stretch>
            <a:fillRect/>
          </a:stretch>
        </p:blipFill>
        <p:spPr>
          <a:xfrm>
            <a:off x="2724150" y="1294024"/>
            <a:ext cx="6743700" cy="3757613"/>
          </a:xfrm>
          <a:prstGeom prst="rect">
            <a:avLst/>
          </a:prstGeom>
        </p:spPr>
      </p:pic>
    </p:spTree>
    <p:extLst>
      <p:ext uri="{BB962C8B-B14F-4D97-AF65-F5344CB8AC3E}">
        <p14:creationId xmlns:p14="http://schemas.microsoft.com/office/powerpoint/2010/main" val="40555632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83432" y="723069"/>
            <a:ext cx="10972800" cy="565200"/>
          </a:xfrm>
        </p:spPr>
        <p:txBody>
          <a:bodyPr/>
          <a:lstStyle/>
          <a:p>
            <a:r>
              <a:rPr lang="en-US" dirty="0"/>
              <a:t>MEMBERS</a:t>
            </a:r>
            <a:endParaRPr lang="nl-BE" dirty="0"/>
          </a:p>
        </p:txBody>
      </p:sp>
    </p:spTree>
    <p:extLst>
      <p:ext uri="{BB962C8B-B14F-4D97-AF65-F5344CB8AC3E}">
        <p14:creationId xmlns:p14="http://schemas.microsoft.com/office/powerpoint/2010/main" val="32233601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F53F5772-9D0A-BB76-FBE0-E657521996C7}"/>
              </a:ext>
            </a:extLst>
          </p:cNvPr>
          <p:cNvPicPr>
            <a:picLocks noChangeAspect="1"/>
          </p:cNvPicPr>
          <p:nvPr/>
        </p:nvPicPr>
        <p:blipFill>
          <a:blip r:embed="rId2"/>
          <a:stretch>
            <a:fillRect/>
          </a:stretch>
        </p:blipFill>
        <p:spPr>
          <a:xfrm>
            <a:off x="9704494" y="5537898"/>
            <a:ext cx="962621" cy="489227"/>
          </a:xfrm>
          <a:prstGeom prst="rect">
            <a:avLst/>
          </a:prstGeom>
        </p:spPr>
      </p:pic>
      <p:sp>
        <p:nvSpPr>
          <p:cNvPr id="12" name="Tijdelijke aanduiding voor dianummer 11">
            <a:extLst>
              <a:ext uri="{FF2B5EF4-FFF2-40B4-BE49-F238E27FC236}">
                <a16:creationId xmlns:a16="http://schemas.microsoft.com/office/drawing/2014/main" id="{A7F8C0A5-3822-E63C-108F-77F5B1DCC625}"/>
              </a:ext>
            </a:extLst>
          </p:cNvPr>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94918E1-5C2D-4B61-B8EB-091E2E1E0D19}" type="slidenum">
              <a:rPr kumimoji="0" lang="nl-B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nl-B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2AD51C0-E8F7-8D35-0D58-21C02E136558}"/>
              </a:ext>
            </a:extLst>
          </p:cNvPr>
          <p:cNvSpPr txBox="1"/>
          <p:nvPr/>
        </p:nvSpPr>
        <p:spPr>
          <a:xfrm>
            <a:off x="1524000" y="857250"/>
            <a:ext cx="9144000" cy="253916"/>
          </a:xfrm>
          <a:prstGeom prst="rect">
            <a:avLst/>
          </a:prstGeom>
          <a:solidFill>
            <a:srgbClr val="C30A2B"/>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err="1">
                <a:ln>
                  <a:noFill/>
                </a:ln>
                <a:solidFill>
                  <a:prstClr val="white"/>
                </a:solidFill>
                <a:effectLst/>
                <a:uLnTx/>
                <a:uFillTx/>
                <a:latin typeface="Lucida Sans" panose="020B0602030504020204" pitchFamily="34" charset="0"/>
                <a:ea typeface="+mn-ea"/>
                <a:cs typeface="+mn-cs"/>
              </a:rPr>
              <a:t>Sociale</a:t>
            </a:r>
            <a:r>
              <a:rPr kumimoji="0" lang="en-GB" sz="1050" b="0" i="0" u="none" strike="noStrike" kern="1200" cap="none" spc="0" normalizeH="0" baseline="0" noProof="0">
                <a:ln>
                  <a:noFill/>
                </a:ln>
                <a:solidFill>
                  <a:prstClr val="white"/>
                </a:solidFill>
                <a:effectLst/>
                <a:uLnTx/>
                <a:uFillTx/>
                <a:latin typeface="Lucida Sans" panose="020B0602030504020204" pitchFamily="34" charset="0"/>
                <a:ea typeface="+mn-ea"/>
                <a:cs typeface="+mn-cs"/>
              </a:rPr>
              <a:t> </a:t>
            </a:r>
            <a:r>
              <a:rPr kumimoji="0" lang="en-GB" sz="1050" b="0" i="0" u="none" strike="noStrike" kern="1200" cap="none" spc="0" normalizeH="0" baseline="0" noProof="0" err="1">
                <a:ln>
                  <a:noFill/>
                </a:ln>
                <a:solidFill>
                  <a:prstClr val="white"/>
                </a:solidFill>
                <a:effectLst/>
                <a:uLnTx/>
                <a:uFillTx/>
                <a:latin typeface="Lucida Sans" panose="020B0602030504020204" pitchFamily="34" charset="0"/>
                <a:ea typeface="+mn-ea"/>
                <a:cs typeface="+mn-cs"/>
              </a:rPr>
              <a:t>statistieken</a:t>
            </a:r>
            <a:r>
              <a:rPr kumimoji="0" lang="en-GB" sz="1050" b="0" i="0" u="none" strike="noStrike" kern="1200" cap="none" spc="0" normalizeH="0" baseline="0" noProof="0">
                <a:ln>
                  <a:noFill/>
                </a:ln>
                <a:solidFill>
                  <a:prstClr val="white"/>
                </a:solidFill>
                <a:effectLst/>
                <a:uLnTx/>
                <a:uFillTx/>
                <a:latin typeface="Lucida Sans" panose="020B0602030504020204" pitchFamily="34" charset="0"/>
                <a:ea typeface="+mn-ea"/>
                <a:cs typeface="+mn-cs"/>
              </a:rPr>
              <a:t> (2022-12)</a:t>
            </a:r>
            <a:endParaRPr kumimoji="0" lang="en-BE" sz="1050" b="0" i="0" u="none" strike="noStrike" kern="1200" cap="none" spc="0" normalizeH="0" baseline="0" noProof="0">
              <a:ln>
                <a:noFill/>
              </a:ln>
              <a:solidFill>
                <a:prstClr val="white"/>
              </a:solidFill>
              <a:effectLst/>
              <a:uLnTx/>
              <a:uFillTx/>
              <a:latin typeface="Lucida Sans" panose="020B0602030504020204" pitchFamily="34" charset="0"/>
              <a:ea typeface="+mn-ea"/>
              <a:cs typeface="+mn-cs"/>
            </a:endParaRPr>
          </a:p>
        </p:txBody>
      </p:sp>
      <p:pic>
        <p:nvPicPr>
          <p:cNvPr id="2" name="Picture 1" descr="Icon&#10;&#10;Description automatically generated">
            <a:extLst>
              <a:ext uri="{FF2B5EF4-FFF2-40B4-BE49-F238E27FC236}">
                <a16:creationId xmlns:a16="http://schemas.microsoft.com/office/drawing/2014/main" id="{E7C9D8A1-63FC-EC35-A4F8-AF2396F5929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8190" y="1088920"/>
            <a:ext cx="618307" cy="618307"/>
          </a:xfrm>
          <a:prstGeom prst="rect">
            <a:avLst/>
          </a:prstGeom>
        </p:spPr>
      </p:pic>
      <p:pic>
        <p:nvPicPr>
          <p:cNvPr id="4" name="Picture 3" descr="Background pattern&#10;&#10;Description automatically generated">
            <a:extLst>
              <a:ext uri="{FF2B5EF4-FFF2-40B4-BE49-F238E27FC236}">
                <a16:creationId xmlns:a16="http://schemas.microsoft.com/office/drawing/2014/main" id="{8FC4FC59-342A-4E07-71AD-FA0D25C9908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70948" y="1126994"/>
            <a:ext cx="354190" cy="561255"/>
          </a:xfrm>
          <a:prstGeom prst="rect">
            <a:avLst/>
          </a:prstGeom>
        </p:spPr>
      </p:pic>
      <p:sp>
        <p:nvSpPr>
          <p:cNvPr id="5" name="TextBox 4">
            <a:extLst>
              <a:ext uri="{FF2B5EF4-FFF2-40B4-BE49-F238E27FC236}">
                <a16:creationId xmlns:a16="http://schemas.microsoft.com/office/drawing/2014/main" id="{A99D102B-F2C4-A652-4821-45B3E48038BC}"/>
              </a:ext>
            </a:extLst>
          </p:cNvPr>
          <p:cNvSpPr txBox="1"/>
          <p:nvPr/>
        </p:nvSpPr>
        <p:spPr>
          <a:xfrm>
            <a:off x="2138910" y="5214493"/>
            <a:ext cx="7731528" cy="900246"/>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Zowel</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voor</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SOHO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als</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B2B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zijn</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de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opgestarte</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afbetalingsplannen</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in EUR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opnieuw</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gestegen</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in Q4 met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sterke</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stijging</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in </a:t>
            </a:r>
            <a:r>
              <a:rPr kumimoji="0" lang="en-GB" sz="1350" b="0" i="0" u="none" strike="noStrike" kern="1200" cap="none" spc="0" normalizeH="0" baseline="0" noProof="0" dirty="0" err="1">
                <a:ln>
                  <a:noFill/>
                </a:ln>
                <a:solidFill>
                  <a:prstClr val="black"/>
                </a:solidFill>
                <a:effectLst/>
                <a:uLnTx/>
                <a:uFillTx/>
                <a:latin typeface="Calibri" panose="020F0502020204030204"/>
                <a:ea typeface="+mn-ea"/>
                <a:cs typeface="+mn-cs"/>
              </a:rPr>
              <a:t>december</a:t>
            </a:r>
            <a:r>
              <a:rPr kumimoji="0" lang="en-GB" sz="135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De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aantallen</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stijgen</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maar de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bedragen</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in EUR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stijgen</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meer</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Voor</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a:ln>
                  <a:noFill/>
                </a:ln>
                <a:solidFill>
                  <a:srgbClr val="C00000"/>
                </a:solidFill>
                <a:effectLst/>
                <a:uLnTx/>
                <a:uFillTx/>
                <a:latin typeface="Lucida Sans" panose="020B0602030504020204" pitchFamily="34" charset="0"/>
                <a:ea typeface="+mn-ea"/>
                <a:cs typeface="+mn-cs"/>
              </a:rPr>
              <a:t>SOHO</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zijn</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de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afbetalingsplannen</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in </a:t>
            </a:r>
            <a:r>
              <a:rPr kumimoji="0" lang="fr-FR"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EUR</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verhoogd</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me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een</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factor van </a:t>
            </a:r>
            <a:r>
              <a:rPr kumimoji="0" lang="en-GB" sz="1200" b="0" i="0" u="none" strike="noStrike" kern="1200" cap="none" spc="0" normalizeH="0" baseline="0" noProof="0" dirty="0">
                <a:ln>
                  <a:noFill/>
                </a:ln>
                <a:solidFill>
                  <a:srgbClr val="C00000"/>
                </a:solidFill>
                <a:effectLst/>
                <a:uLnTx/>
                <a:uFillTx/>
                <a:latin typeface="Lucida Sans" panose="020B0602030504020204" pitchFamily="34" charset="0"/>
                <a:ea typeface="+mn-ea"/>
                <a:cs typeface="+mn-cs"/>
              </a:rPr>
              <a:t>4,9 (</a:t>
            </a:r>
            <a:r>
              <a:rPr kumimoji="0" lang="en-GB" sz="1200" b="0" i="0" u="none" strike="noStrike" kern="1200" cap="none" spc="0" normalizeH="0" baseline="0" noProof="0" dirty="0" err="1">
                <a:ln>
                  <a:noFill/>
                </a:ln>
                <a:solidFill>
                  <a:srgbClr val="C00000"/>
                </a:solidFill>
                <a:effectLst/>
                <a:uLnTx/>
                <a:uFillTx/>
                <a:latin typeface="Lucida Sans" panose="020B0602030504020204" pitchFamily="34" charset="0"/>
                <a:ea typeface="+mn-ea"/>
                <a:cs typeface="+mn-cs"/>
              </a:rPr>
              <a:t>voor</a:t>
            </a:r>
            <a:r>
              <a:rPr kumimoji="0" lang="en-GB" sz="1200" b="0" i="0" u="none" strike="noStrike" kern="1200" cap="none" spc="0" normalizeH="0" baseline="0" noProof="0" dirty="0">
                <a:ln>
                  <a:noFill/>
                </a:ln>
                <a:solidFill>
                  <a:srgbClr val="C00000"/>
                </a:solidFill>
                <a:effectLst/>
                <a:uLnTx/>
                <a:uFillTx/>
                <a:latin typeface="Lucida Sans" panose="020B0602030504020204" pitchFamily="34" charset="0"/>
                <a:ea typeface="+mn-ea"/>
                <a:cs typeface="+mn-cs"/>
              </a:rPr>
              <a:t> B2B x 3,4)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t.o.v</a:t>
            </a:r>
            <a:r>
              <a:rPr kumimoji="0" lang="en-GB" sz="1200" b="0" i="0" u="none" strike="noStrike" kern="1200" cap="none" spc="0" normalizeH="0" baseline="0" noProof="0" dirty="0">
                <a:ln>
                  <a:noFill/>
                </a:ln>
                <a:solidFill>
                  <a:prstClr val="black"/>
                </a:solidFill>
                <a:effectLst/>
                <a:uLnTx/>
                <a:uFillTx/>
                <a:latin typeface="Lucida Sans" panose="020B0602030504020204" pitchFamily="34" charset="0"/>
                <a:ea typeface="+mn-ea"/>
                <a:cs typeface="+mn-cs"/>
              </a:rPr>
              <a:t>. </a:t>
            </a:r>
            <a:r>
              <a:rPr kumimoji="0" lang="en-GB" sz="1200" b="0" i="0" u="none" strike="noStrike" kern="1200" cap="none" spc="0" normalizeH="0" baseline="0" noProof="0" dirty="0" err="1">
                <a:ln>
                  <a:noFill/>
                </a:ln>
                <a:solidFill>
                  <a:prstClr val="black"/>
                </a:solidFill>
                <a:effectLst/>
                <a:uLnTx/>
                <a:uFillTx/>
                <a:latin typeface="Lucida Sans" panose="020B0602030504020204" pitchFamily="34" charset="0"/>
                <a:ea typeface="+mn-ea"/>
                <a:cs typeface="+mn-cs"/>
              </a:rPr>
              <a:t>januari</a:t>
            </a:r>
            <a:r>
              <a:rPr kumimoji="0" lang="en-GB" sz="1200" b="0" i="0" u="none" strike="noStrike" kern="1200" cap="none" spc="0" normalizeH="0" baseline="0" noProof="0" dirty="0">
                <a:ln>
                  <a:noFill/>
                </a:ln>
                <a:solidFill>
                  <a:srgbClr val="C00000"/>
                </a:solidFill>
                <a:effectLst/>
                <a:uLnTx/>
                <a:uFillTx/>
                <a:latin typeface="Lucida Sans" panose="020B0602030504020204" pitchFamily="34" charset="0"/>
                <a:ea typeface="+mn-ea"/>
                <a:cs typeface="+mn-cs"/>
              </a:rPr>
              <a:t>.</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BE"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3D31DA34-18CB-65BD-4AAC-3640E03C4E78}"/>
              </a:ext>
            </a:extLst>
          </p:cNvPr>
          <p:cNvPicPr>
            <a:picLocks noChangeAspect="1"/>
          </p:cNvPicPr>
          <p:nvPr/>
        </p:nvPicPr>
        <p:blipFill>
          <a:blip r:embed="rId5"/>
          <a:stretch>
            <a:fillRect/>
          </a:stretch>
        </p:blipFill>
        <p:spPr>
          <a:xfrm>
            <a:off x="2650685" y="1093859"/>
            <a:ext cx="6707981" cy="2957513"/>
          </a:xfrm>
          <a:prstGeom prst="rect">
            <a:avLst/>
          </a:prstGeom>
        </p:spPr>
      </p:pic>
      <p:pic>
        <p:nvPicPr>
          <p:cNvPr id="24" name="Picture 23">
            <a:extLst>
              <a:ext uri="{FF2B5EF4-FFF2-40B4-BE49-F238E27FC236}">
                <a16:creationId xmlns:a16="http://schemas.microsoft.com/office/drawing/2014/main" id="{C572F175-88B8-E3F9-0935-410A8F4E6941}"/>
              </a:ext>
            </a:extLst>
          </p:cNvPr>
          <p:cNvPicPr>
            <a:picLocks noChangeAspect="1"/>
          </p:cNvPicPr>
          <p:nvPr/>
        </p:nvPicPr>
        <p:blipFill>
          <a:blip r:embed="rId6"/>
          <a:stretch>
            <a:fillRect/>
          </a:stretch>
        </p:blipFill>
        <p:spPr>
          <a:xfrm>
            <a:off x="3484426" y="4283101"/>
            <a:ext cx="535781" cy="392906"/>
          </a:xfrm>
          <a:prstGeom prst="rect">
            <a:avLst/>
          </a:prstGeom>
        </p:spPr>
      </p:pic>
      <p:grpSp>
        <p:nvGrpSpPr>
          <p:cNvPr id="27" name="Group 26">
            <a:extLst>
              <a:ext uri="{FF2B5EF4-FFF2-40B4-BE49-F238E27FC236}">
                <a16:creationId xmlns:a16="http://schemas.microsoft.com/office/drawing/2014/main" id="{0E8B16BE-7F19-A0F8-5305-AB5BDFFBDE10}"/>
              </a:ext>
            </a:extLst>
          </p:cNvPr>
          <p:cNvGrpSpPr/>
          <p:nvPr/>
        </p:nvGrpSpPr>
        <p:grpSpPr>
          <a:xfrm>
            <a:off x="2675318" y="3977113"/>
            <a:ext cx="7139489" cy="1226113"/>
            <a:chOff x="1821461" y="4324401"/>
            <a:chExt cx="9519319" cy="1634817"/>
          </a:xfrm>
        </p:grpSpPr>
        <p:pic>
          <p:nvPicPr>
            <p:cNvPr id="16" name="Picture 15">
              <a:extLst>
                <a:ext uri="{FF2B5EF4-FFF2-40B4-BE49-F238E27FC236}">
                  <a16:creationId xmlns:a16="http://schemas.microsoft.com/office/drawing/2014/main" id="{BF6AF092-2ECC-9A33-03F7-DD4DFF880B56}"/>
                </a:ext>
              </a:extLst>
            </p:cNvPr>
            <p:cNvPicPr>
              <a:picLocks noChangeAspect="1"/>
            </p:cNvPicPr>
            <p:nvPr/>
          </p:nvPicPr>
          <p:blipFill>
            <a:blip r:embed="rId7"/>
            <a:stretch>
              <a:fillRect/>
            </a:stretch>
          </p:blipFill>
          <p:spPr>
            <a:xfrm>
              <a:off x="1821461" y="4595178"/>
              <a:ext cx="752475" cy="523875"/>
            </a:xfrm>
            <a:prstGeom prst="rect">
              <a:avLst/>
            </a:prstGeom>
          </p:spPr>
        </p:pic>
        <p:pic>
          <p:nvPicPr>
            <p:cNvPr id="18" name="Picture 17">
              <a:extLst>
                <a:ext uri="{FF2B5EF4-FFF2-40B4-BE49-F238E27FC236}">
                  <a16:creationId xmlns:a16="http://schemas.microsoft.com/office/drawing/2014/main" id="{0F1188FE-194F-76E1-46BF-3DC0BD71C439}"/>
                </a:ext>
              </a:extLst>
            </p:cNvPr>
            <p:cNvPicPr>
              <a:picLocks noChangeAspect="1"/>
            </p:cNvPicPr>
            <p:nvPr/>
          </p:nvPicPr>
          <p:blipFill>
            <a:blip r:embed="rId8"/>
            <a:stretch>
              <a:fillRect/>
            </a:stretch>
          </p:blipFill>
          <p:spPr>
            <a:xfrm>
              <a:off x="2497747" y="4324401"/>
              <a:ext cx="7201278" cy="767274"/>
            </a:xfrm>
            <a:prstGeom prst="rect">
              <a:avLst/>
            </a:prstGeom>
          </p:spPr>
        </p:pic>
        <p:pic>
          <p:nvPicPr>
            <p:cNvPr id="20" name="Picture 19">
              <a:extLst>
                <a:ext uri="{FF2B5EF4-FFF2-40B4-BE49-F238E27FC236}">
                  <a16:creationId xmlns:a16="http://schemas.microsoft.com/office/drawing/2014/main" id="{98632061-8713-B290-8215-495DD4A3A6D7}"/>
                </a:ext>
              </a:extLst>
            </p:cNvPr>
            <p:cNvPicPr>
              <a:picLocks noChangeAspect="1"/>
            </p:cNvPicPr>
            <p:nvPr/>
          </p:nvPicPr>
          <p:blipFill>
            <a:blip r:embed="rId9"/>
            <a:stretch>
              <a:fillRect/>
            </a:stretch>
          </p:blipFill>
          <p:spPr>
            <a:xfrm>
              <a:off x="2573936" y="5146432"/>
              <a:ext cx="7044126" cy="758029"/>
            </a:xfrm>
            <a:prstGeom prst="rect">
              <a:avLst/>
            </a:prstGeom>
          </p:spPr>
        </p:pic>
        <p:pic>
          <p:nvPicPr>
            <p:cNvPr id="22" name="Picture 21">
              <a:extLst>
                <a:ext uri="{FF2B5EF4-FFF2-40B4-BE49-F238E27FC236}">
                  <a16:creationId xmlns:a16="http://schemas.microsoft.com/office/drawing/2014/main" id="{ADBE12CF-5CE9-C21B-A77F-9F0B5142F721}"/>
                </a:ext>
              </a:extLst>
            </p:cNvPr>
            <p:cNvPicPr>
              <a:picLocks noChangeAspect="1"/>
            </p:cNvPicPr>
            <p:nvPr/>
          </p:nvPicPr>
          <p:blipFill>
            <a:blip r:embed="rId6"/>
            <a:stretch>
              <a:fillRect/>
            </a:stretch>
          </p:blipFill>
          <p:spPr>
            <a:xfrm>
              <a:off x="10626405" y="4763952"/>
              <a:ext cx="714375" cy="523875"/>
            </a:xfrm>
            <a:prstGeom prst="rect">
              <a:avLst/>
            </a:prstGeom>
          </p:spPr>
        </p:pic>
        <p:pic>
          <p:nvPicPr>
            <p:cNvPr id="25" name="Picture 24">
              <a:extLst>
                <a:ext uri="{FF2B5EF4-FFF2-40B4-BE49-F238E27FC236}">
                  <a16:creationId xmlns:a16="http://schemas.microsoft.com/office/drawing/2014/main" id="{8CD82D1D-BE90-7133-E630-A9EE12B55826}"/>
                </a:ext>
              </a:extLst>
            </p:cNvPr>
            <p:cNvPicPr>
              <a:picLocks noChangeAspect="1"/>
            </p:cNvPicPr>
            <p:nvPr/>
          </p:nvPicPr>
          <p:blipFill>
            <a:blip r:embed="rId7"/>
            <a:stretch>
              <a:fillRect/>
            </a:stretch>
          </p:blipFill>
          <p:spPr>
            <a:xfrm>
              <a:off x="1821461" y="5435343"/>
              <a:ext cx="752475" cy="523875"/>
            </a:xfrm>
            <a:prstGeom prst="rect">
              <a:avLst/>
            </a:prstGeom>
          </p:spPr>
        </p:pic>
        <p:pic>
          <p:nvPicPr>
            <p:cNvPr id="26" name="Picture 25">
              <a:extLst>
                <a:ext uri="{FF2B5EF4-FFF2-40B4-BE49-F238E27FC236}">
                  <a16:creationId xmlns:a16="http://schemas.microsoft.com/office/drawing/2014/main" id="{4CB77592-8869-7CE5-FB52-D1D00E862E3A}"/>
                </a:ext>
              </a:extLst>
            </p:cNvPr>
            <p:cNvPicPr>
              <a:picLocks noChangeAspect="1"/>
            </p:cNvPicPr>
            <p:nvPr/>
          </p:nvPicPr>
          <p:blipFill>
            <a:blip r:embed="rId7"/>
            <a:stretch>
              <a:fillRect/>
            </a:stretch>
          </p:blipFill>
          <p:spPr>
            <a:xfrm>
              <a:off x="9873930" y="4779670"/>
              <a:ext cx="752475" cy="523875"/>
            </a:xfrm>
            <a:prstGeom prst="rect">
              <a:avLst/>
            </a:prstGeom>
          </p:spPr>
        </p:pic>
      </p:grpSp>
    </p:spTree>
    <p:extLst>
      <p:ext uri="{BB962C8B-B14F-4D97-AF65-F5344CB8AC3E}">
        <p14:creationId xmlns:p14="http://schemas.microsoft.com/office/powerpoint/2010/main" val="29512262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2D1927-9775-C373-D6F1-C56BEDA21B29}"/>
              </a:ext>
            </a:extLst>
          </p:cNvPr>
          <p:cNvSpPr>
            <a:spLocks noGrp="1"/>
          </p:cNvSpPr>
          <p:nvPr>
            <p:ph type="title"/>
          </p:nvPr>
        </p:nvSpPr>
        <p:spPr>
          <a:xfrm>
            <a:off x="609600" y="730560"/>
            <a:ext cx="10972800" cy="565200"/>
          </a:xfrm>
        </p:spPr>
        <p:txBody>
          <a:bodyPr anchor="t">
            <a:normAutofit/>
          </a:bodyPr>
          <a:lstStyle/>
          <a:p>
            <a:r>
              <a:rPr lang="en-GB" dirty="0"/>
              <a:t>Supply – conclusion </a:t>
            </a:r>
            <a:endParaRPr lang="en-BE" dirty="0"/>
          </a:p>
        </p:txBody>
      </p:sp>
      <p:sp>
        <p:nvSpPr>
          <p:cNvPr id="18" name="Date Placeholder 3">
            <a:extLst>
              <a:ext uri="{FF2B5EF4-FFF2-40B4-BE49-F238E27FC236}">
                <a16:creationId xmlns:a16="http://schemas.microsoft.com/office/drawing/2014/main" id="{8EA1AD58-1971-A1DB-0A7F-E3641CDA4BF7}"/>
              </a:ext>
            </a:extLst>
          </p:cNvPr>
          <p:cNvSpPr>
            <a:spLocks noGrp="1"/>
          </p:cNvSpPr>
          <p:nvPr>
            <p:ph type="dt" sz="half" idx="10"/>
          </p:nvPr>
        </p:nvSpPr>
        <p:spPr>
          <a:xfrm>
            <a:off x="1198966" y="6400801"/>
            <a:ext cx="917701" cy="276224"/>
          </a:xfrm>
        </p:spPr>
        <p:txBody>
          <a:bodyPr/>
          <a:lstStyle/>
          <a:p>
            <a:pPr>
              <a:spcAft>
                <a:spcPts val="600"/>
              </a:spcAft>
            </a:pPr>
            <a:fld id="{A5BF5FAA-1273-48C9-A418-A52A86AE5014}" type="datetime1">
              <a:rPr lang="nl-BE" smtClean="0"/>
              <a:pPr>
                <a:spcAft>
                  <a:spcPts val="600"/>
                </a:spcAft>
              </a:pPr>
              <a:t>30/05/2023</a:t>
            </a:fld>
            <a:endParaRPr lang="nl-BE"/>
          </a:p>
        </p:txBody>
      </p:sp>
      <p:sp>
        <p:nvSpPr>
          <p:cNvPr id="19" name="Footer Placeholder 4">
            <a:extLst>
              <a:ext uri="{FF2B5EF4-FFF2-40B4-BE49-F238E27FC236}">
                <a16:creationId xmlns:a16="http://schemas.microsoft.com/office/drawing/2014/main" id="{3832FFEC-3097-F664-ABFC-6382E8FDA8CD}"/>
              </a:ext>
            </a:extLst>
          </p:cNvPr>
          <p:cNvSpPr>
            <a:spLocks noGrp="1"/>
          </p:cNvSpPr>
          <p:nvPr>
            <p:ph type="ftr" sz="quarter" idx="11"/>
          </p:nvPr>
        </p:nvSpPr>
        <p:spPr>
          <a:xfrm>
            <a:off x="2116667" y="6400801"/>
            <a:ext cx="8313605" cy="276224"/>
          </a:xfrm>
        </p:spPr>
        <p:txBody>
          <a:bodyPr/>
          <a:lstStyle/>
          <a:p>
            <a:endParaRPr lang="nl-BE"/>
          </a:p>
        </p:txBody>
      </p:sp>
      <p:sp>
        <p:nvSpPr>
          <p:cNvPr id="4" name="Slide Number Placeholder 3">
            <a:extLst>
              <a:ext uri="{FF2B5EF4-FFF2-40B4-BE49-F238E27FC236}">
                <a16:creationId xmlns:a16="http://schemas.microsoft.com/office/drawing/2014/main" id="{669E0B1D-70E0-DC31-4533-199862415C2C}"/>
              </a:ext>
            </a:extLst>
          </p:cNvPr>
          <p:cNvSpPr>
            <a:spLocks noGrp="1"/>
          </p:cNvSpPr>
          <p:nvPr>
            <p:ph type="sldNum" sz="quarter" idx="12"/>
          </p:nvPr>
        </p:nvSpPr>
        <p:spPr>
          <a:xfrm>
            <a:off x="609600" y="6400801"/>
            <a:ext cx="589856" cy="276224"/>
          </a:xfrm>
        </p:spPr>
        <p:txBody>
          <a:bodyPr anchor="b">
            <a:normAutofit/>
          </a:bodyPr>
          <a:lstStyle/>
          <a:p>
            <a:pPr>
              <a:spcAft>
                <a:spcPts val="600"/>
              </a:spcAft>
            </a:pPr>
            <a:fld id="{D94918E1-5C2D-4B61-B8EB-091E2E1E0D19}" type="slidenum">
              <a:rPr lang="nl-BE" smtClean="0"/>
              <a:pPr>
                <a:spcAft>
                  <a:spcPts val="600"/>
                </a:spcAft>
              </a:pPr>
              <a:t>21</a:t>
            </a:fld>
            <a:endParaRPr lang="nl-BE"/>
          </a:p>
        </p:txBody>
      </p:sp>
      <p:graphicFrame>
        <p:nvGraphicFramePr>
          <p:cNvPr id="20" name="Content Placeholder 5">
            <a:extLst>
              <a:ext uri="{FF2B5EF4-FFF2-40B4-BE49-F238E27FC236}">
                <a16:creationId xmlns:a16="http://schemas.microsoft.com/office/drawing/2014/main" id="{A5732F52-5775-5231-FD87-9345A6B88C14}"/>
              </a:ext>
            </a:extLst>
          </p:cNvPr>
          <p:cNvGraphicFramePr>
            <a:graphicFrameLocks noGrp="1"/>
          </p:cNvGraphicFramePr>
          <p:nvPr>
            <p:ph idx="1"/>
            <p:extLst>
              <p:ext uri="{D42A27DB-BD31-4B8C-83A1-F6EECF244321}">
                <p14:modId xmlns:p14="http://schemas.microsoft.com/office/powerpoint/2010/main" val="158489834"/>
              </p:ext>
            </p:extLst>
          </p:nvPr>
        </p:nvGraphicFramePr>
        <p:xfrm>
          <a:off x="609600" y="1623061"/>
          <a:ext cx="6134472"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Content Placeholder 2">
            <a:extLst>
              <a:ext uri="{FF2B5EF4-FFF2-40B4-BE49-F238E27FC236}">
                <a16:creationId xmlns:a16="http://schemas.microsoft.com/office/drawing/2014/main" id="{BCF747D1-BB7B-CE6D-2911-7A4182B26B92}"/>
              </a:ext>
            </a:extLst>
          </p:cNvPr>
          <p:cNvSpPr txBox="1">
            <a:spLocks/>
          </p:cNvSpPr>
          <p:nvPr/>
        </p:nvSpPr>
        <p:spPr>
          <a:xfrm>
            <a:off x="7104112" y="1623061"/>
            <a:ext cx="4478288" cy="4326219"/>
          </a:xfrm>
          <a:prstGeom prst="rect">
            <a:avLst/>
          </a:prstGeom>
        </p:spPr>
        <p:txBody>
          <a:bodyPr vert="horz" lIns="486000" tIns="45720" rIns="91440" bIns="45720" rtlCol="0">
            <a:normAutofit fontScale="62500" lnSpcReduction="20000"/>
          </a:bodyPr>
          <a:lstStyle>
            <a:lvl1pPr marL="182563" indent="-182563" algn="l" defTabSz="914400" rtl="0" eaLnBrk="1" latinLnBrk="0" hangingPunct="1">
              <a:spcBef>
                <a:spcPts val="700"/>
              </a:spcBef>
              <a:buClr>
                <a:srgbClr val="A2D3F3"/>
              </a:buClr>
              <a:buSzPct val="90000"/>
              <a:buFont typeface="Wingdings 2" panose="05020102010507070707" pitchFamily="18" charset="2"/>
              <a:buChar char=""/>
              <a:defRPr sz="1800" kern="1200" spc="40" baseline="0">
                <a:solidFill>
                  <a:schemeClr val="tx1"/>
                </a:solidFill>
                <a:latin typeface="+mn-lt"/>
                <a:ea typeface="+mn-ea"/>
                <a:cs typeface="+mn-cs"/>
              </a:defRPr>
            </a:lvl1pPr>
            <a:lvl2pPr marL="625475" indent="-168275" algn="l" defTabSz="914400" rtl="0" eaLnBrk="1" latinLnBrk="0" hangingPunct="1">
              <a:spcBef>
                <a:spcPct val="20000"/>
              </a:spcBef>
              <a:buClr>
                <a:srgbClr val="A2D3F3"/>
              </a:buClr>
              <a:buSzPct val="90000"/>
              <a:buFont typeface="Wingdings 2" panose="05020102010507070707" pitchFamily="18" charset="2"/>
              <a:buChar char=""/>
              <a:defRPr sz="1800" kern="1200" spc="20" baseline="0">
                <a:solidFill>
                  <a:schemeClr val="tx1"/>
                </a:solidFill>
                <a:latin typeface="+mn-lt"/>
                <a:ea typeface="+mn-ea"/>
                <a:cs typeface="+mn-cs"/>
              </a:defRPr>
            </a:lvl2pPr>
            <a:lvl3pPr marL="1074738" indent="-160338" algn="l" defTabSz="914400" rtl="0" eaLnBrk="1" latinLnBrk="0" hangingPunct="1">
              <a:spcBef>
                <a:spcPct val="20000"/>
              </a:spcBef>
              <a:buClr>
                <a:srgbClr val="A2D3F3"/>
              </a:buClr>
              <a:buSzPct val="90000"/>
              <a:buFont typeface="Wingdings 2" panose="05020102010507070707" pitchFamily="18" charset="2"/>
              <a:buChar char=""/>
              <a:defRPr sz="1600" kern="1200" spc="20" baseline="0">
                <a:solidFill>
                  <a:schemeClr val="tx1"/>
                </a:solidFill>
                <a:latin typeface="+mn-lt"/>
                <a:ea typeface="+mn-ea"/>
                <a:cs typeface="+mn-cs"/>
              </a:defRPr>
            </a:lvl3pPr>
            <a:lvl4pPr marL="1524000" indent="-152400" algn="l" defTabSz="914400" rtl="0" eaLnBrk="1" latinLnBrk="0" hangingPunct="1">
              <a:spcBef>
                <a:spcPct val="20000"/>
              </a:spcBef>
              <a:buClr>
                <a:srgbClr val="A2D3F3"/>
              </a:buClr>
              <a:buSzPct val="90000"/>
              <a:buFont typeface="Wingdings 2" panose="05020102010507070707" pitchFamily="18" charset="2"/>
              <a:buChar char=""/>
              <a:defRPr sz="1400" kern="1200" spc="20" baseline="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spc="2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dirty="0"/>
              <a:t>Germany </a:t>
            </a:r>
          </a:p>
          <a:p>
            <a:r>
              <a:rPr lang="en-GB" dirty="0"/>
              <a:t>gas and heat price cap :</a:t>
            </a:r>
          </a:p>
          <a:p>
            <a:pPr lvl="1">
              <a:buFont typeface="Arial" panose="020B0604020202020204" pitchFamily="34" charset="0"/>
              <a:buChar char="•"/>
            </a:pPr>
            <a:r>
              <a:rPr lang="en-GB" dirty="0"/>
              <a:t>For private households and companies with a gas consumption &lt; 1.5 million kWh/y, the gas price is to be capped at 12 </a:t>
            </a:r>
            <a:r>
              <a:rPr lang="en-GB" dirty="0" err="1"/>
              <a:t>ct</a:t>
            </a:r>
            <a:r>
              <a:rPr lang="en-GB" dirty="0"/>
              <a:t>/kWh (</a:t>
            </a:r>
            <a:r>
              <a:rPr lang="en-GB" dirty="0" err="1"/>
              <a:t>inc</a:t>
            </a:r>
            <a:r>
              <a:rPr lang="en-GB" dirty="0"/>
              <a:t> taxes, levies etc). Applies to 80% of the previous year's consumption</a:t>
            </a:r>
          </a:p>
          <a:p>
            <a:pPr lvl="1">
              <a:buFont typeface="Arial" panose="020B0604020202020204" pitchFamily="34" charset="0"/>
              <a:buChar char="•"/>
            </a:pPr>
            <a:r>
              <a:rPr lang="en-GB" dirty="0"/>
              <a:t>For industrial customers, the gas price is to be capped at 7 </a:t>
            </a:r>
            <a:r>
              <a:rPr lang="en-GB" dirty="0" err="1"/>
              <a:t>ct</a:t>
            </a:r>
            <a:r>
              <a:rPr lang="en-GB" dirty="0"/>
              <a:t>/kWh (excluding all taxes, levies, surcharges and network charges)  Applies to 70% of the previous year's consumption </a:t>
            </a:r>
          </a:p>
          <a:p>
            <a:pPr lvl="1"/>
            <a:r>
              <a:rPr lang="en-GB" dirty="0"/>
              <a:t>budget spending EUR 56 billion for 2023 and 2024. </a:t>
            </a:r>
          </a:p>
          <a:p>
            <a:r>
              <a:rPr lang="en-GB" dirty="0"/>
              <a:t>electricity price cap :</a:t>
            </a:r>
          </a:p>
          <a:p>
            <a:pPr lvl="1">
              <a:buFont typeface="Arial" panose="020B0604020202020204" pitchFamily="34" charset="0"/>
              <a:buChar char="•"/>
            </a:pPr>
            <a:r>
              <a:rPr lang="en-GB" dirty="0"/>
              <a:t>The electricity price for private consumers as well as &lt;  30,000 kWh/y will be capped at 40 </a:t>
            </a:r>
            <a:r>
              <a:rPr lang="en-GB" dirty="0" err="1"/>
              <a:t>ct</a:t>
            </a:r>
            <a:r>
              <a:rPr lang="en-GB" dirty="0"/>
              <a:t>/kWh (including all taxes, levies, surcharges and network fees). This applies to the baseline requirement of 80% of historical consumption </a:t>
            </a:r>
          </a:p>
          <a:p>
            <a:pPr lvl="1">
              <a:buFont typeface="Arial" panose="020B0604020202020204" pitchFamily="34" charset="0"/>
              <a:buChar char="•"/>
            </a:pPr>
            <a:r>
              <a:rPr lang="en-GB" dirty="0"/>
              <a:t>Consumption &gt; 30,000 kWh (mainly medium-sized and large companies), the cap is 13 </a:t>
            </a:r>
            <a:r>
              <a:rPr lang="en-GB" dirty="0" err="1"/>
              <a:t>ct</a:t>
            </a:r>
            <a:r>
              <a:rPr lang="en-GB" dirty="0"/>
              <a:t>/kWh (excl. taxes, levies and surcharges) for 70 percent of historical consumption</a:t>
            </a:r>
          </a:p>
          <a:p>
            <a:r>
              <a:rPr lang="en-GB" dirty="0"/>
              <a:t>Budget EUR 43 billion</a:t>
            </a:r>
          </a:p>
          <a:p>
            <a:endParaRPr lang="en-BE" dirty="0"/>
          </a:p>
        </p:txBody>
      </p:sp>
    </p:spTree>
    <p:extLst>
      <p:ext uri="{BB962C8B-B14F-4D97-AF65-F5344CB8AC3E}">
        <p14:creationId xmlns:p14="http://schemas.microsoft.com/office/powerpoint/2010/main" val="30913769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64C65D-EE86-40CD-9B9C-3C5AE0843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4" name="Object 3" hidden="1">
                        <a:extLst>
                          <a:ext uri="{FF2B5EF4-FFF2-40B4-BE49-F238E27FC236}">
                            <a16:creationId xmlns:a16="http://schemas.microsoft.com/office/drawing/2014/main" id="{6564C65D-EE86-40CD-9B9C-3C5AE0843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1C57A4-B8F8-49CE-BF65-D6A2B89AE634}"/>
              </a:ext>
            </a:extLst>
          </p:cNvPr>
          <p:cNvSpPr>
            <a:spLocks noGrp="1"/>
          </p:cNvSpPr>
          <p:nvPr>
            <p:ph type="title"/>
          </p:nvPr>
        </p:nvSpPr>
        <p:spPr>
          <a:xfrm>
            <a:off x="119336" y="730560"/>
            <a:ext cx="12762119" cy="394184"/>
          </a:xfrm>
        </p:spPr>
        <p:txBody>
          <a:bodyPr vert="horz">
            <a:normAutofit fontScale="90000"/>
          </a:bodyPr>
          <a:lstStyle/>
          <a:p>
            <a:r>
              <a:rPr lang="fr-BE" dirty="0"/>
              <a:t>E. The challenge of the </a:t>
            </a:r>
            <a:r>
              <a:rPr lang="fr-BE" dirty="0" err="1"/>
              <a:t>energy</a:t>
            </a:r>
            <a:r>
              <a:rPr lang="fr-BE" dirty="0"/>
              <a:t> transition</a:t>
            </a:r>
          </a:p>
        </p:txBody>
      </p:sp>
    </p:spTree>
    <p:extLst>
      <p:ext uri="{BB962C8B-B14F-4D97-AF65-F5344CB8AC3E}">
        <p14:creationId xmlns:p14="http://schemas.microsoft.com/office/powerpoint/2010/main" val="36235008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nl-BE"/>
              <a:t>24/10/2018</a:t>
            </a:r>
            <a:endParaRPr lang="nl-BE" dirty="0"/>
          </a:p>
        </p:txBody>
      </p:sp>
      <p:sp>
        <p:nvSpPr>
          <p:cNvPr id="6" name="Slide Number Placeholder 5"/>
          <p:cNvSpPr>
            <a:spLocks noGrp="1"/>
          </p:cNvSpPr>
          <p:nvPr>
            <p:ph type="sldNum" sz="quarter" idx="12"/>
          </p:nvPr>
        </p:nvSpPr>
        <p:spPr/>
        <p:txBody>
          <a:bodyPr/>
          <a:lstStyle/>
          <a:p>
            <a:fld id="{9BE375CD-4755-4D83-B134-E6AD5007676A}" type="slidenum">
              <a:rPr lang="nl-BE" smtClean="0"/>
              <a:t>23</a:t>
            </a:fld>
            <a:endParaRPr lang="nl-BE"/>
          </a:p>
        </p:txBody>
      </p:sp>
      <p:sp>
        <p:nvSpPr>
          <p:cNvPr id="2" name="Title 1"/>
          <p:cNvSpPr>
            <a:spLocks noGrp="1"/>
          </p:cNvSpPr>
          <p:nvPr>
            <p:ph type="title"/>
          </p:nvPr>
        </p:nvSpPr>
        <p:spPr>
          <a:xfrm>
            <a:off x="1791205" y="530076"/>
            <a:ext cx="8834101" cy="517632"/>
          </a:xfrm>
        </p:spPr>
        <p:txBody>
          <a:bodyPr>
            <a:noAutofit/>
          </a:bodyPr>
          <a:lstStyle/>
          <a:p>
            <a:r>
              <a:rPr lang="en-US" dirty="0"/>
              <a:t>Megatrends …</a:t>
            </a:r>
            <a:endParaRPr lang="nl-BE" dirty="0">
              <a:solidFill>
                <a:schemeClr val="tx2"/>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88630" y="1939637"/>
            <a:ext cx="2772314" cy="1872000"/>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84776" y="1961814"/>
            <a:ext cx="2780110" cy="1872000"/>
          </a:xfrm>
          <a:prstGeom prst="rect">
            <a:avLst/>
          </a:prstGeom>
        </p:spPr>
      </p:pic>
      <p:pic>
        <p:nvPicPr>
          <p:cNvPr id="10" name="Picture 9"/>
          <p:cNvPicPr>
            <a:picLocks/>
          </p:cNvPicPr>
          <p:nvPr/>
        </p:nvPicPr>
        <p:blipFill rotWithShape="1">
          <a:blip r:embed="rId5">
            <a:extLst>
              <a:ext uri="{28A0092B-C50C-407E-A947-70E740481C1C}">
                <a14:useLocalDpi xmlns:a14="http://schemas.microsoft.com/office/drawing/2010/main" val="0"/>
              </a:ext>
            </a:extLst>
          </a:blip>
          <a:srcRect r="1449"/>
          <a:stretch/>
        </p:blipFill>
        <p:spPr>
          <a:xfrm>
            <a:off x="1688633" y="3945089"/>
            <a:ext cx="2772000" cy="1872000"/>
          </a:xfrm>
          <a:prstGeom prst="rect">
            <a:avLst/>
          </a:prstGeom>
        </p:spPr>
      </p:pic>
      <p:sp>
        <p:nvSpPr>
          <p:cNvPr id="11" name="Rectangle 10"/>
          <p:cNvSpPr/>
          <p:nvPr/>
        </p:nvSpPr>
        <p:spPr>
          <a:xfrm>
            <a:off x="1641602" y="1486275"/>
            <a:ext cx="2772003" cy="4755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a:t>
            </a:r>
            <a:r>
              <a:rPr lang="en-US" sz="1600" baseline="-25000" dirty="0"/>
              <a:t>2</a:t>
            </a:r>
            <a:r>
              <a:rPr lang="en-US" sz="1600" dirty="0"/>
              <a:t> low society</a:t>
            </a:r>
            <a:endParaRPr lang="nl-BE" sz="1600" dirty="0"/>
          </a:p>
        </p:txBody>
      </p:sp>
      <p:sp>
        <p:nvSpPr>
          <p:cNvPr id="12" name="Rectangle 11"/>
          <p:cNvSpPr/>
          <p:nvPr/>
        </p:nvSpPr>
        <p:spPr>
          <a:xfrm>
            <a:off x="4784776" y="1486274"/>
            <a:ext cx="2780110" cy="4755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Decentralisation</a:t>
            </a:r>
            <a:endParaRPr lang="nl-BE" sz="1600" dirty="0"/>
          </a:p>
        </p:txBody>
      </p:sp>
      <p:sp>
        <p:nvSpPr>
          <p:cNvPr id="13" name="Rectangle 12"/>
          <p:cNvSpPr/>
          <p:nvPr/>
        </p:nvSpPr>
        <p:spPr>
          <a:xfrm>
            <a:off x="1688630" y="5807163"/>
            <a:ext cx="2772004" cy="3330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nergy efficiency</a:t>
            </a:r>
            <a:endParaRPr lang="nl-BE" sz="1600" dirty="0"/>
          </a:p>
        </p:txBody>
      </p:sp>
      <p:sp>
        <p:nvSpPr>
          <p:cNvPr id="14" name="Rectangle 13"/>
          <p:cNvSpPr/>
          <p:nvPr/>
        </p:nvSpPr>
        <p:spPr>
          <a:xfrm>
            <a:off x="4761422" y="5807162"/>
            <a:ext cx="2772000" cy="3330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Digitalisation</a:t>
            </a:r>
            <a:endParaRPr lang="nl-BE" sz="1600" dirty="0"/>
          </a:p>
        </p:txBody>
      </p:sp>
      <p:sp>
        <p:nvSpPr>
          <p:cNvPr id="15" name="Right Arrow 14"/>
          <p:cNvSpPr/>
          <p:nvPr/>
        </p:nvSpPr>
        <p:spPr>
          <a:xfrm rot="1724995">
            <a:off x="1622341" y="4770854"/>
            <a:ext cx="2812870" cy="118353"/>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nl-BE"/>
          </a:p>
        </p:txBody>
      </p:sp>
      <p:pic>
        <p:nvPicPr>
          <p:cNvPr id="16" name="Grafik 10"/>
          <p:cNvPicPr>
            <a:picLocks/>
          </p:cNvPicPr>
          <p:nvPr/>
        </p:nvPicPr>
        <p:blipFill rotWithShape="1">
          <a:blip r:embed="rId6" cstate="email">
            <a:extLst>
              <a:ext uri="{28A0092B-C50C-407E-A947-70E740481C1C}">
                <a14:useLocalDpi xmlns:a14="http://schemas.microsoft.com/office/drawing/2010/main"/>
              </a:ext>
            </a:extLst>
          </a:blip>
          <a:srcRect l="15150" r="12660"/>
          <a:stretch/>
        </p:blipFill>
        <p:spPr>
          <a:xfrm>
            <a:off x="4784973" y="3986075"/>
            <a:ext cx="2772000" cy="1757971"/>
          </a:xfrm>
          <a:prstGeom prst="rect">
            <a:avLst/>
          </a:prstGeom>
        </p:spPr>
      </p:pic>
      <p:pic>
        <p:nvPicPr>
          <p:cNvPr id="3" name="Picture 2"/>
          <p:cNvPicPr>
            <a:picLocks/>
          </p:cNvPicPr>
          <p:nvPr/>
        </p:nvPicPr>
        <p:blipFill>
          <a:blip r:embed="rId7">
            <a:extLst>
              <a:ext uri="{28A0092B-C50C-407E-A947-70E740481C1C}">
                <a14:useLocalDpi xmlns:a14="http://schemas.microsoft.com/office/drawing/2010/main" val="0"/>
              </a:ext>
            </a:extLst>
          </a:blip>
          <a:stretch>
            <a:fillRect/>
          </a:stretch>
        </p:blipFill>
        <p:spPr>
          <a:xfrm>
            <a:off x="8135826" y="3915917"/>
            <a:ext cx="2065273" cy="1872000"/>
          </a:xfrm>
          <a:prstGeom prst="rect">
            <a:avLst/>
          </a:prstGeom>
        </p:spPr>
      </p:pic>
      <p:sp>
        <p:nvSpPr>
          <p:cNvPr id="18" name="Rectangle 17"/>
          <p:cNvSpPr/>
          <p:nvPr/>
        </p:nvSpPr>
        <p:spPr>
          <a:xfrm>
            <a:off x="7782461" y="5787917"/>
            <a:ext cx="2772000" cy="33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Environmental conscience</a:t>
            </a:r>
            <a:endParaRPr lang="nl-BE" sz="1600" dirty="0"/>
          </a:p>
        </p:txBody>
      </p:sp>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37104" y="1905685"/>
            <a:ext cx="2756558" cy="1872000"/>
          </a:xfrm>
          <a:prstGeom prst="rect">
            <a:avLst/>
          </a:prstGeom>
        </p:spPr>
      </p:pic>
      <p:sp>
        <p:nvSpPr>
          <p:cNvPr id="19" name="Rectangle 18"/>
          <p:cNvSpPr/>
          <p:nvPr/>
        </p:nvSpPr>
        <p:spPr>
          <a:xfrm>
            <a:off x="7713552" y="1464097"/>
            <a:ext cx="2780110" cy="4755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Technological evolutions</a:t>
            </a:r>
            <a:endParaRPr lang="nl-BE" sz="1600" dirty="0"/>
          </a:p>
        </p:txBody>
      </p:sp>
      <p:sp>
        <p:nvSpPr>
          <p:cNvPr id="21" name="Title 1"/>
          <p:cNvSpPr txBox="1">
            <a:spLocks/>
          </p:cNvSpPr>
          <p:nvPr/>
        </p:nvSpPr>
        <p:spPr>
          <a:xfrm>
            <a:off x="3719736" y="6336322"/>
            <a:ext cx="8478224" cy="517632"/>
          </a:xfrm>
          <a:prstGeom prst="rect">
            <a:avLst/>
          </a:prstGeom>
        </p:spPr>
        <p:txBody>
          <a:bodyPr vert="horz" lIns="91440" tIns="0" rIns="91440" bIns="0" rtlCol="0" anchor="t" anchorCtr="0">
            <a:noAutofit/>
          </a:bodyPr>
          <a:lstStyle>
            <a:lvl1pPr algn="l" defTabSz="914400" rtl="0" eaLnBrk="1" latinLnBrk="0" hangingPunct="1">
              <a:spcBef>
                <a:spcPct val="0"/>
              </a:spcBef>
              <a:buNone/>
              <a:defRPr sz="2400" b="0" kern="1200" spc="20" baseline="0">
                <a:solidFill>
                  <a:schemeClr val="tx1"/>
                </a:solidFill>
                <a:latin typeface="+mj-lt"/>
                <a:ea typeface="+mj-ea"/>
                <a:cs typeface="+mj-cs"/>
              </a:defRPr>
            </a:lvl1pPr>
          </a:lstStyle>
          <a:p>
            <a:r>
              <a:rPr lang="en-US" dirty="0">
                <a:solidFill>
                  <a:schemeClr val="tx2"/>
                </a:solidFill>
              </a:rPr>
              <a:t>Members invest in the transition </a:t>
            </a:r>
            <a:endParaRPr lang="nl-BE" dirty="0">
              <a:solidFill>
                <a:schemeClr val="tx2"/>
              </a:solidFill>
            </a:endParaRPr>
          </a:p>
        </p:txBody>
      </p:sp>
    </p:spTree>
    <p:extLst>
      <p:ext uri="{BB962C8B-B14F-4D97-AF65-F5344CB8AC3E}">
        <p14:creationId xmlns:p14="http://schemas.microsoft.com/office/powerpoint/2010/main" val="13971729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727862B6-F2E8-41BF-A0F1-15AA1EBC7526}"/>
              </a:ext>
            </a:extLst>
          </p:cNvPr>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Diapositive think-cell" r:id="rId88" imgW="0" imgH="0" progId="TCLayout.ActiveDocument.1">
                  <p:embed/>
                </p:oleObj>
              </mc:Choice>
              <mc:Fallback>
                <p:oleObj name="Diapositive think-cell" r:id="rId88" imgW="0" imgH="0" progId="TCLayout.ActiveDocument.1">
                  <p:embed/>
                  <p:pic>
                    <p:nvPicPr>
                      <p:cNvPr id="35" name="Object 34" hidden="1">
                        <a:extLst>
                          <a:ext uri="{FF2B5EF4-FFF2-40B4-BE49-F238E27FC236}">
                            <a16:creationId xmlns:a16="http://schemas.microsoft.com/office/drawing/2014/main" id="{727862B6-F2E8-41BF-A0F1-15AA1EBC7526}"/>
                          </a:ext>
                        </a:extLst>
                      </p:cNvPr>
                      <p:cNvPicPr/>
                      <p:nvPr/>
                    </p:nvPicPr>
                    <p:blipFill>
                      <a:blip r:embed="rId89"/>
                      <a:stretch>
                        <a:fillRect/>
                      </a:stretch>
                    </p:blipFill>
                    <p:spPr>
                      <a:xfrm>
                        <a:off x="1144589" y="1589"/>
                        <a:ext cx="1587" cy="1587"/>
                      </a:xfrm>
                      <a:prstGeom prst="rect">
                        <a:avLst/>
                      </a:prstGeom>
                    </p:spPr>
                  </p:pic>
                </p:oleObj>
              </mc:Fallback>
            </mc:AlternateContent>
          </a:graphicData>
        </a:graphic>
      </p:graphicFrame>
      <p:sp>
        <p:nvSpPr>
          <p:cNvPr id="223" name="Rectangle: Rounded Corners 222">
            <a:extLst>
              <a:ext uri="{FF2B5EF4-FFF2-40B4-BE49-F238E27FC236}">
                <a16:creationId xmlns:a16="http://schemas.microsoft.com/office/drawing/2014/main" id="{1D99E173-4DCC-47C1-9500-0316125A497D}"/>
              </a:ext>
            </a:extLst>
          </p:cNvPr>
          <p:cNvSpPr/>
          <p:nvPr/>
        </p:nvSpPr>
        <p:spPr>
          <a:xfrm rot="5400000">
            <a:off x="7564090" y="1878206"/>
            <a:ext cx="4009415" cy="3925602"/>
          </a:xfrm>
          <a:prstGeom prst="roundRect">
            <a:avLst>
              <a:gd name="adj" fmla="val 4338"/>
            </a:avLst>
          </a:prstGeom>
          <a:solidFill>
            <a:schemeClr val="bg1">
              <a:lumMod val="95000"/>
            </a:schemeClr>
          </a:solidFill>
          <a:ln w="285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marL="0" marR="0" lvl="0" indent="0" algn="l" defTabSz="914309" rtl="0" eaLnBrk="1" fontAlgn="base" latinLnBrk="0" hangingPunct="1">
              <a:lnSpc>
                <a:spcPct val="90000"/>
              </a:lnSpc>
              <a:spcBef>
                <a:spcPts val="400"/>
              </a:spcBef>
              <a:spcAft>
                <a:spcPct val="0"/>
              </a:spcAft>
              <a:buClrTx/>
              <a:buSzTx/>
              <a:buFontTx/>
              <a:buNone/>
              <a:tabLst/>
              <a:defRPr/>
            </a:pPr>
            <a:endParaRPr kumimoji="0" lang="en-US" sz="1500" b="0" i="0" u="none" strike="noStrike" kern="1200" cap="none" spc="0" normalizeH="0" baseline="0" noProof="0">
              <a:ln>
                <a:noFill/>
              </a:ln>
              <a:solidFill>
                <a:srgbClr val="6F6F6F"/>
              </a:solidFill>
              <a:effectLst/>
              <a:uLnTx/>
              <a:uFillTx/>
              <a:latin typeface="+mj-lt"/>
              <a:ea typeface="+mn-ea"/>
              <a:cs typeface="Arial"/>
            </a:endParaRPr>
          </a:p>
        </p:txBody>
      </p:sp>
      <p:sp>
        <p:nvSpPr>
          <p:cNvPr id="4" name="Rectangle 3" hidden="1">
            <a:extLst>
              <a:ext uri="{FF2B5EF4-FFF2-40B4-BE49-F238E27FC236}">
                <a16:creationId xmlns:a16="http://schemas.microsoft.com/office/drawing/2014/main" id="{72DD3282-0B82-4D3A-985E-F7A44E211E19}"/>
              </a:ext>
            </a:extLst>
          </p:cNvPr>
          <p:cNvSpPr/>
          <p:nvPr>
            <p:custDataLst>
              <p:tags r:id="rId2"/>
            </p:custDataLst>
          </p:nvPr>
        </p:nvSpPr>
        <p:spPr>
          <a:xfrm>
            <a:off x="1143005" y="5"/>
            <a:ext cx="158751" cy="158751"/>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t" anchorCtr="0">
            <a:noAutofit/>
          </a:bodyPr>
          <a:lstStyle/>
          <a:p>
            <a:pPr marL="0" marR="0" lvl="0" indent="0" algn="l" defTabSz="914309" rtl="0" eaLnBrk="1" fontAlgn="base" latinLnBrk="0" hangingPunct="1">
              <a:lnSpc>
                <a:spcPct val="90000"/>
              </a:lnSpc>
              <a:spcBef>
                <a:spcPts val="400"/>
              </a:spcBef>
              <a:spcAft>
                <a:spcPct val="0"/>
              </a:spcAft>
              <a:buClrTx/>
              <a:buSzTx/>
              <a:buFontTx/>
              <a:buNone/>
              <a:tabLst/>
              <a:defRPr/>
            </a:pPr>
            <a:endParaRPr kumimoji="0" lang="en-US" sz="1100" b="0" i="0" u="none" strike="noStrike" kern="1200" cap="none" spc="0" normalizeH="0" baseline="0" noProof="0">
              <a:ln>
                <a:noFill/>
              </a:ln>
              <a:solidFill>
                <a:srgbClr val="6F6F6F"/>
              </a:solidFill>
              <a:effectLst/>
              <a:uLnTx/>
              <a:uFillTx/>
              <a:latin typeface="Arial" panose="020B0604020202020204" pitchFamily="34" charset="0"/>
              <a:ea typeface="+mn-ea"/>
              <a:cs typeface="Arial"/>
              <a:sym typeface="Arial" panose="020B0604020202020204" pitchFamily="34" charset="0"/>
            </a:endParaRPr>
          </a:p>
        </p:txBody>
      </p:sp>
      <p:sp>
        <p:nvSpPr>
          <p:cNvPr id="2" name="Rectangle 1" hidden="1">
            <a:extLst>
              <a:ext uri="{FF2B5EF4-FFF2-40B4-BE49-F238E27FC236}">
                <a16:creationId xmlns:a16="http://schemas.microsoft.com/office/drawing/2014/main" id="{8357A828-ECA4-4432-AD10-5244C7D82EB3}"/>
              </a:ext>
            </a:extLst>
          </p:cNvPr>
          <p:cNvSpPr/>
          <p:nvPr>
            <p:custDataLst>
              <p:tags r:id="rId3"/>
            </p:custDataLst>
          </p:nvPr>
        </p:nvSpPr>
        <p:spPr bwMode="auto">
          <a:xfrm>
            <a:off x="1143005" y="5"/>
            <a:ext cx="158751" cy="158751"/>
          </a:xfrm>
          <a:prstGeom prst="rect">
            <a:avLst/>
          </a:prstGeom>
          <a:solidFill>
            <a:scrgbClr r="0" g="0" b="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marL="0" marR="0" lvl="0" indent="0" algn="l" defTabSz="914309" rtl="0" eaLnBrk="1" fontAlgn="base" latinLnBrk="0" hangingPunct="1">
              <a:lnSpc>
                <a:spcPct val="90000"/>
              </a:lnSpc>
              <a:spcBef>
                <a:spcPct val="0"/>
              </a:spcBef>
              <a:spcAft>
                <a:spcPct val="0"/>
              </a:spcAft>
              <a:buClrTx/>
              <a:buSzTx/>
              <a:buFontTx/>
              <a:buNone/>
              <a:tabLst/>
              <a:defRPr/>
            </a:pPr>
            <a:endParaRPr kumimoji="0" lang="fr-FR" sz="800" b="0" i="0" u="none" strike="noStrike" kern="1200" cap="none" spc="0" normalizeH="0" baseline="0" noProof="0">
              <a:ln>
                <a:noFill/>
              </a:ln>
              <a:solidFill>
                <a:srgbClr val="6F6F6F"/>
              </a:solidFill>
              <a:effectLst/>
              <a:uLnTx/>
              <a:uFillTx/>
              <a:latin typeface="Arial" panose="020B0604020202020204" pitchFamily="34" charset="0"/>
              <a:ea typeface="+mn-ea"/>
              <a:cs typeface="Arial"/>
              <a:sym typeface="Arial" panose="020B0604020202020204" pitchFamily="34" charset="0"/>
            </a:endParaRPr>
          </a:p>
        </p:txBody>
      </p:sp>
      <p:sp>
        <p:nvSpPr>
          <p:cNvPr id="76" name="Subtitle">
            <a:extLst>
              <a:ext uri="{FF2B5EF4-FFF2-40B4-BE49-F238E27FC236}">
                <a16:creationId xmlns:a16="http://schemas.microsoft.com/office/drawing/2014/main" id="{83C45DA1-9474-4DAC-B646-627AB7DA4E9F}"/>
              </a:ext>
            </a:extLst>
          </p:cNvPr>
          <p:cNvSpPr txBox="1"/>
          <p:nvPr/>
        </p:nvSpPr>
        <p:spPr>
          <a:xfrm>
            <a:off x="654058" y="1700213"/>
            <a:ext cx="10877543" cy="256224"/>
          </a:xfrm>
          <a:prstGeom prst="rect">
            <a:avLst/>
          </a:prstGeom>
        </p:spPr>
        <p:txBody>
          <a:bodyPr vert="horz" wrap="square" lIns="0" tIns="0" rIns="0" bIns="0" rtlCol="0" anchor="t" anchorCtr="0">
            <a:spAutoFit/>
          </a:bodyPr>
          <a:lstStyle>
            <a:defPPr>
              <a:defRPr lang="en-US"/>
            </a:defPPr>
            <a:lvl1pPr lvl="0" indent="0">
              <a:lnSpc>
                <a:spcPct val="90000"/>
              </a:lnSpc>
              <a:buClr>
                <a:schemeClr val="tx1"/>
              </a:buClr>
              <a:buSzPct val="100000"/>
              <a:buFont typeface="+mn-lt" pitchFamily="34" charset="0"/>
              <a:buNone/>
              <a:defRPr b="1" i="0" baseline="0">
                <a:solidFill>
                  <a:schemeClr val="tx2"/>
                </a:solidFill>
              </a:defRPr>
            </a:lvl1pPr>
            <a:lvl2pPr marL="230400" indent="-230400">
              <a:lnSpc>
                <a:spcPct val="90000"/>
              </a:lnSpc>
              <a:spcBef>
                <a:spcPts val="1200"/>
              </a:spcBef>
              <a:buClrTx/>
              <a:buFont typeface="+mn-lt" panose="020B0604020202020204" pitchFamily="34" charset="0"/>
              <a:buChar char="•"/>
              <a:defRPr b="0"/>
            </a:lvl2pPr>
            <a:lvl3pPr marL="482400" indent="-234000">
              <a:lnSpc>
                <a:spcPct val="90000"/>
              </a:lnSpc>
              <a:spcBef>
                <a:spcPts val="400"/>
              </a:spcBef>
              <a:buClrTx/>
              <a:buFont typeface="+mn-lt" pitchFamily="34" charset="0"/>
              <a:buChar char="–"/>
              <a:defRPr b="0"/>
            </a:lvl3pPr>
            <a:lvl4pPr marL="698400" indent="-201600">
              <a:lnSpc>
                <a:spcPct val="90000"/>
              </a:lnSpc>
              <a:spcBef>
                <a:spcPts val="200"/>
              </a:spcBef>
              <a:buClrTx/>
              <a:buFont typeface="+mn-lt" pitchFamily="34" charset="0"/>
              <a:buChar char="-"/>
              <a:defRPr b="0"/>
            </a:lvl4pPr>
            <a:lvl5pPr marL="698400" indent="0">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vl6pPr>
            <a:lvl7pPr marL="2971800" indent="-228600">
              <a:spcBef>
                <a:spcPct val="20000"/>
              </a:spcBef>
              <a:buFont typeface="+mn-lt" pitchFamily="34" charset="0"/>
              <a:buChar char="•"/>
              <a:defRPr sz="2000"/>
            </a:lvl7pPr>
            <a:lvl8pPr marL="3429000" indent="-228600">
              <a:spcBef>
                <a:spcPct val="20000"/>
              </a:spcBef>
              <a:buFont typeface="+mn-lt" pitchFamily="34" charset="0"/>
              <a:buChar char="•"/>
              <a:defRPr sz="2000"/>
            </a:lvl8pPr>
            <a:lvl9pPr marL="3886200" indent="-228600">
              <a:spcBef>
                <a:spcPct val="20000"/>
              </a:spcBef>
              <a:buFont typeface="+mn-lt" pitchFamily="34" charset="0"/>
              <a:buChar char="•"/>
              <a:defRPr sz="2000"/>
            </a:lvl9pPr>
          </a:lstStyle>
          <a:p>
            <a:r>
              <a:rPr lang="fr-FR" err="1"/>
              <a:t>Primary</a:t>
            </a:r>
            <a:r>
              <a:rPr lang="fr-FR"/>
              <a:t> </a:t>
            </a:r>
            <a:r>
              <a:rPr lang="fr-FR" err="1"/>
              <a:t>energy</a:t>
            </a:r>
            <a:r>
              <a:rPr lang="fr-FR"/>
              <a:t> </a:t>
            </a:r>
            <a:r>
              <a:rPr lang="fr-FR" err="1"/>
              <a:t>consumption</a:t>
            </a:r>
            <a:r>
              <a:rPr lang="fr-FR"/>
              <a:t> in Belgium </a:t>
            </a:r>
            <a:r>
              <a:rPr lang="en"/>
              <a:t>[TWh; 2020]</a:t>
            </a:r>
          </a:p>
        </p:txBody>
      </p:sp>
      <p:sp>
        <p:nvSpPr>
          <p:cNvPr id="187" name="RBContent174">
            <a:extLst>
              <a:ext uri="{FF2B5EF4-FFF2-40B4-BE49-F238E27FC236}">
                <a16:creationId xmlns:a16="http://schemas.microsoft.com/office/drawing/2014/main" id="{4E873B4F-055C-4B9E-A2B2-564A079FE9AD}"/>
              </a:ext>
            </a:extLst>
          </p:cNvPr>
          <p:cNvSpPr txBox="1"/>
          <p:nvPr/>
        </p:nvSpPr>
        <p:spPr>
          <a:xfrm>
            <a:off x="3679521" y="2528516"/>
            <a:ext cx="614976" cy="110800"/>
          </a:xfrm>
          <a:prstGeom prst="rect">
            <a:avLst/>
          </a:prstGeom>
          <a:noFill/>
          <a:ln w="9525">
            <a:noFill/>
          </a:ln>
        </p:spPr>
        <p:txBody>
          <a:bodyPr vert="horz" wrap="square" lIns="0" tIns="0" rIns="0" bIns="0" rtlCol="0">
            <a:spAutoFit/>
          </a:bodyPr>
          <a:lstStyle/>
          <a:p>
            <a:pPr marL="0" marR="0" lvl="0" indent="0" algn="ctr" defTabSz="914309" rtl="0" eaLnBrk="1" fontAlgn="base" latinLnBrk="0" hangingPunct="1">
              <a:lnSpc>
                <a:spcPct val="90000"/>
              </a:lnSpc>
              <a:spcBef>
                <a:spcPts val="400"/>
              </a:spcBef>
              <a:spcAft>
                <a:spcPct val="0"/>
              </a:spcAft>
              <a:buClrTx/>
              <a:buSzTx/>
              <a:buFontTx/>
              <a:buNone/>
              <a:tabLst/>
              <a:defRPr/>
            </a:pPr>
            <a:r>
              <a:rPr kumimoji="0" lang="en" sz="800" b="0" i="0" u="none" strike="noStrike" kern="1200" cap="none" spc="0" normalizeH="0" baseline="0" noProof="0">
                <a:ln>
                  <a:noFill/>
                </a:ln>
                <a:solidFill>
                  <a:srgbClr val="FFFFFF"/>
                </a:solidFill>
                <a:effectLst/>
                <a:uLnTx/>
                <a:uFillTx/>
                <a:latin typeface="Arial"/>
                <a:ea typeface="+mn-ea"/>
                <a:cs typeface="Arial"/>
              </a:rPr>
              <a:t>Feedstock</a:t>
            </a:r>
          </a:p>
        </p:txBody>
      </p:sp>
      <p:sp>
        <p:nvSpPr>
          <p:cNvPr id="188" name="RBContent174">
            <a:extLst>
              <a:ext uri="{FF2B5EF4-FFF2-40B4-BE49-F238E27FC236}">
                <a16:creationId xmlns:a16="http://schemas.microsoft.com/office/drawing/2014/main" id="{3997151E-8AC7-43E9-A4A1-31B1C547DAE1}"/>
              </a:ext>
            </a:extLst>
          </p:cNvPr>
          <p:cNvSpPr txBox="1"/>
          <p:nvPr/>
        </p:nvSpPr>
        <p:spPr>
          <a:xfrm>
            <a:off x="3653201" y="3441086"/>
            <a:ext cx="827955" cy="110800"/>
          </a:xfrm>
          <a:prstGeom prst="rect">
            <a:avLst/>
          </a:prstGeom>
          <a:noFill/>
          <a:ln w="9525">
            <a:noFill/>
          </a:ln>
        </p:spPr>
        <p:txBody>
          <a:bodyPr vert="horz" wrap="square" lIns="0" tIns="0" rIns="0" bIns="0" rtlCol="0">
            <a:spAutoFit/>
          </a:bodyPr>
          <a:lstStyle/>
          <a:p>
            <a:pPr marL="0" marR="0" lvl="0" indent="0" algn="ctr" defTabSz="914309" rtl="0" eaLnBrk="1" fontAlgn="base" latinLnBrk="0" hangingPunct="1">
              <a:lnSpc>
                <a:spcPct val="90000"/>
              </a:lnSpc>
              <a:spcBef>
                <a:spcPts val="400"/>
              </a:spcBef>
              <a:spcAft>
                <a:spcPct val="0"/>
              </a:spcAft>
              <a:buClrTx/>
              <a:buSzTx/>
              <a:buFontTx/>
              <a:buNone/>
              <a:tabLst/>
              <a:defRPr/>
            </a:pPr>
            <a:r>
              <a:rPr kumimoji="0" lang="en" sz="800" b="0" i="0" u="none" strike="noStrike" kern="1200" cap="none" spc="0" normalizeH="0" baseline="0" noProof="0">
                <a:ln>
                  <a:noFill/>
                </a:ln>
                <a:solidFill>
                  <a:srgbClr val="FFFFFF"/>
                </a:solidFill>
                <a:effectLst/>
                <a:uLnTx/>
                <a:uFillTx/>
                <a:latin typeface="Arial"/>
                <a:ea typeface="+mn-ea"/>
                <a:cs typeface="Arial"/>
              </a:rPr>
              <a:t>Passenger cars</a:t>
            </a:r>
          </a:p>
        </p:txBody>
      </p:sp>
      <p:sp>
        <p:nvSpPr>
          <p:cNvPr id="189" name="RBContent174">
            <a:extLst>
              <a:ext uri="{FF2B5EF4-FFF2-40B4-BE49-F238E27FC236}">
                <a16:creationId xmlns:a16="http://schemas.microsoft.com/office/drawing/2014/main" id="{FA84F449-7F4B-46FB-BE12-557F1F18FB4A}"/>
              </a:ext>
            </a:extLst>
          </p:cNvPr>
          <p:cNvSpPr txBox="1"/>
          <p:nvPr/>
        </p:nvSpPr>
        <p:spPr>
          <a:xfrm>
            <a:off x="5387592" y="3412507"/>
            <a:ext cx="773885" cy="221599"/>
          </a:xfrm>
          <a:prstGeom prst="rect">
            <a:avLst/>
          </a:prstGeom>
          <a:noFill/>
          <a:ln w="9525">
            <a:noFill/>
          </a:ln>
        </p:spPr>
        <p:txBody>
          <a:bodyPr vert="horz" wrap="square" lIns="0" tIns="0" rIns="0" bIns="0" rtlCol="0">
            <a:spAutoFit/>
          </a:bodyPr>
          <a:lstStyle/>
          <a:p>
            <a:pPr marL="0" marR="0" lvl="0" indent="0" algn="ctr" defTabSz="914309" rtl="0" eaLnBrk="1" fontAlgn="base" latinLnBrk="0" hangingPunct="1">
              <a:lnSpc>
                <a:spcPct val="90000"/>
              </a:lnSpc>
              <a:spcBef>
                <a:spcPts val="400"/>
              </a:spcBef>
              <a:spcAft>
                <a:spcPct val="0"/>
              </a:spcAft>
              <a:buClrTx/>
              <a:buSzTx/>
              <a:buFontTx/>
              <a:buNone/>
              <a:tabLst/>
              <a:defRPr/>
            </a:pPr>
            <a:r>
              <a:rPr kumimoji="0" lang="en" sz="800" b="0" i="0" u="none" strike="noStrike" kern="1200" cap="none" spc="0" normalizeH="0" baseline="0" noProof="0">
                <a:ln>
                  <a:noFill/>
                </a:ln>
                <a:solidFill>
                  <a:srgbClr val="FFFFFF"/>
                </a:solidFill>
                <a:effectLst/>
                <a:uLnTx/>
                <a:uFillTx/>
                <a:latin typeface="Arial"/>
                <a:ea typeface="+mn-ea"/>
                <a:cs typeface="Arial"/>
              </a:rPr>
              <a:t>Heavy comm. vehicles</a:t>
            </a:r>
          </a:p>
        </p:txBody>
      </p:sp>
      <p:sp>
        <p:nvSpPr>
          <p:cNvPr id="190" name="RBContent174">
            <a:extLst>
              <a:ext uri="{FF2B5EF4-FFF2-40B4-BE49-F238E27FC236}">
                <a16:creationId xmlns:a16="http://schemas.microsoft.com/office/drawing/2014/main" id="{F6FED983-5A80-4A20-BE1F-89923BACE45E}"/>
              </a:ext>
            </a:extLst>
          </p:cNvPr>
          <p:cNvSpPr txBox="1"/>
          <p:nvPr/>
        </p:nvSpPr>
        <p:spPr>
          <a:xfrm>
            <a:off x="5914516" y="3441083"/>
            <a:ext cx="1023373" cy="110800"/>
          </a:xfrm>
          <a:prstGeom prst="rect">
            <a:avLst/>
          </a:prstGeom>
          <a:noFill/>
          <a:ln w="9525">
            <a:noFill/>
          </a:ln>
        </p:spPr>
        <p:txBody>
          <a:bodyPr vert="horz" wrap="square" lIns="0" tIns="0" rIns="0" bIns="0" rtlCol="0">
            <a:spAutoFit/>
          </a:bodyPr>
          <a:lstStyle/>
          <a:p>
            <a:pPr marL="0" marR="0" lvl="0" indent="0" algn="ctr" defTabSz="914309" rtl="0" eaLnBrk="1" fontAlgn="base" latinLnBrk="0" hangingPunct="1">
              <a:lnSpc>
                <a:spcPct val="90000"/>
              </a:lnSpc>
              <a:spcBef>
                <a:spcPts val="400"/>
              </a:spcBef>
              <a:spcAft>
                <a:spcPct val="0"/>
              </a:spcAft>
              <a:buClrTx/>
              <a:buSzTx/>
              <a:buFontTx/>
              <a:buNone/>
              <a:tabLst/>
              <a:defRPr/>
            </a:pPr>
            <a:r>
              <a:rPr kumimoji="0" lang="en" sz="800" b="0" i="0" u="none" strike="noStrike" kern="1200" cap="none" spc="0" normalizeH="0" baseline="0" noProof="0">
                <a:ln>
                  <a:noFill/>
                </a:ln>
                <a:solidFill>
                  <a:srgbClr val="FFFFFF"/>
                </a:solidFill>
                <a:effectLst/>
                <a:uLnTx/>
                <a:uFillTx/>
                <a:latin typeface="Arial"/>
                <a:ea typeface="+mn-ea"/>
                <a:cs typeface="Arial"/>
              </a:rPr>
              <a:t>LCVs</a:t>
            </a:r>
          </a:p>
        </p:txBody>
      </p:sp>
      <p:sp>
        <p:nvSpPr>
          <p:cNvPr id="191" name="RBContent174">
            <a:extLst>
              <a:ext uri="{FF2B5EF4-FFF2-40B4-BE49-F238E27FC236}">
                <a16:creationId xmlns:a16="http://schemas.microsoft.com/office/drawing/2014/main" id="{552B3E8A-4843-467A-BCD0-B186C49F47CA}"/>
              </a:ext>
            </a:extLst>
          </p:cNvPr>
          <p:cNvSpPr txBox="1"/>
          <p:nvPr/>
        </p:nvSpPr>
        <p:spPr>
          <a:xfrm>
            <a:off x="6454264" y="3441085"/>
            <a:ext cx="1023373" cy="124650"/>
          </a:xfrm>
          <a:prstGeom prst="rect">
            <a:avLst/>
          </a:prstGeom>
          <a:noFill/>
          <a:ln w="9525">
            <a:noFill/>
          </a:ln>
        </p:spPr>
        <p:txBody>
          <a:bodyPr vert="horz" wrap="square" lIns="0" tIns="0" rIns="0" bIns="0" rtlCol="0">
            <a:spAutoFit/>
          </a:bodyPr>
          <a:lstStyle/>
          <a:p>
            <a:pPr marL="0" marR="0" lvl="0" indent="0" algn="ctr" defTabSz="914309" rtl="0" eaLnBrk="1" fontAlgn="base" latinLnBrk="0" hangingPunct="1">
              <a:lnSpc>
                <a:spcPct val="90000"/>
              </a:lnSpc>
              <a:spcBef>
                <a:spcPts val="400"/>
              </a:spcBef>
              <a:spcAft>
                <a:spcPct val="0"/>
              </a:spcAft>
              <a:buClrTx/>
              <a:buSzTx/>
              <a:buFontTx/>
              <a:buNone/>
              <a:tabLst/>
              <a:defRPr/>
            </a:pPr>
            <a:r>
              <a:rPr kumimoji="0" lang="en" sz="900" b="0" i="0" u="none" strike="noStrike" kern="1200" cap="none" spc="0" normalizeH="0" baseline="0" noProof="0">
                <a:ln>
                  <a:noFill/>
                </a:ln>
                <a:solidFill>
                  <a:srgbClr val="FFFFFF"/>
                </a:solidFill>
                <a:effectLst/>
                <a:uLnTx/>
                <a:uFillTx/>
                <a:latin typeface="Arial"/>
                <a:ea typeface="+mn-ea"/>
                <a:cs typeface="Arial"/>
              </a:rPr>
              <a:t>Others</a:t>
            </a:r>
          </a:p>
        </p:txBody>
      </p:sp>
      <p:sp>
        <p:nvSpPr>
          <p:cNvPr id="195" name="Subtitle">
            <a:extLst>
              <a:ext uri="{FF2B5EF4-FFF2-40B4-BE49-F238E27FC236}">
                <a16:creationId xmlns:a16="http://schemas.microsoft.com/office/drawing/2014/main" id="{FC4D2419-2508-424C-9426-EA3AB1ACE008}"/>
              </a:ext>
            </a:extLst>
          </p:cNvPr>
          <p:cNvSpPr txBox="1"/>
          <p:nvPr/>
        </p:nvSpPr>
        <p:spPr>
          <a:xfrm rot="16200000">
            <a:off x="6437838" y="3698875"/>
            <a:ext cx="3084689" cy="284693"/>
          </a:xfrm>
          <a:prstGeom prst="rect">
            <a:avLst/>
          </a:prstGeom>
          <a:noFill/>
          <a:ln w="9525">
            <a:noFill/>
          </a:ln>
        </p:spPr>
        <p:txBody>
          <a:bodyPr vert="horz" wrap="square" lIns="0" tIns="0" rIns="0" bIns="0" rtlCol="0">
            <a:spAutoFit/>
          </a:bodyPr>
          <a:lstStyle/>
          <a:p>
            <a:pPr marL="0" marR="0" lvl="0" indent="0" algn="r" defTabSz="914309" rtl="0" eaLnBrk="1" fontAlgn="base" latinLnBrk="0" hangingPunct="1">
              <a:lnSpc>
                <a:spcPct val="90000"/>
              </a:lnSpc>
              <a:spcBef>
                <a:spcPct val="0"/>
              </a:spcBef>
              <a:spcAft>
                <a:spcPct val="0"/>
              </a:spcAft>
              <a:buClr>
                <a:srgbClr val="6F6F6F"/>
              </a:buClr>
              <a:buSzTx/>
              <a:buFontTx/>
              <a:buNone/>
              <a:tabLst/>
              <a:defRPr/>
            </a:pPr>
            <a:r>
              <a:rPr kumimoji="0" lang="en" sz="2000" b="1" i="0" u="none" strike="noStrike" kern="1200" cap="none" spc="0" normalizeH="0" baseline="0" noProof="0">
                <a:ln>
                  <a:noFill/>
                </a:ln>
                <a:solidFill>
                  <a:schemeClr val="accent1"/>
                </a:solidFill>
                <a:effectLst/>
                <a:uLnTx/>
                <a:uFillTx/>
                <a:latin typeface="+mj-lt"/>
                <a:ea typeface="+mn-ea"/>
                <a:cs typeface="Arial"/>
              </a:rPr>
              <a:t>Electricity production</a:t>
            </a:r>
          </a:p>
        </p:txBody>
      </p:sp>
      <p:sp>
        <p:nvSpPr>
          <p:cNvPr id="67" name="Rectangle 66">
            <a:extLst>
              <a:ext uri="{FF2B5EF4-FFF2-40B4-BE49-F238E27FC236}">
                <a16:creationId xmlns:a16="http://schemas.microsoft.com/office/drawing/2014/main" id="{4B156EFA-0AB0-408C-9595-91015813A6F2}"/>
              </a:ext>
            </a:extLst>
          </p:cNvPr>
          <p:cNvSpPr/>
          <p:nvPr/>
        </p:nvSpPr>
        <p:spPr>
          <a:xfrm>
            <a:off x="7573455" y="5867929"/>
            <a:ext cx="149228" cy="65088"/>
          </a:xfrm>
          <a:prstGeom prst="rect">
            <a:avLst/>
          </a:prstGeom>
          <a:solidFill>
            <a:schemeClr val="bg1"/>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marL="0" marR="0" lvl="0" indent="0" algn="l" defTabSz="914309" rtl="0" eaLnBrk="1" fontAlgn="base" latinLnBrk="0" hangingPunct="1">
              <a:lnSpc>
                <a:spcPct val="90000"/>
              </a:lnSpc>
              <a:spcBef>
                <a:spcPts val="400"/>
              </a:spcBef>
              <a:spcAft>
                <a:spcPct val="0"/>
              </a:spcAft>
              <a:buClrTx/>
              <a:buSzTx/>
              <a:buFontTx/>
              <a:buNone/>
              <a:tabLst/>
              <a:defRPr/>
            </a:pPr>
            <a:endParaRPr kumimoji="0" lang="en-US" sz="1500" b="0" i="0" u="none" strike="noStrike" kern="1200" cap="none" spc="0" normalizeH="0" baseline="0" noProof="0">
              <a:ln>
                <a:noFill/>
              </a:ln>
              <a:solidFill>
                <a:srgbClr val="6F6F6F"/>
              </a:solidFill>
              <a:effectLst/>
              <a:uLnTx/>
              <a:uFillTx/>
              <a:latin typeface="Arial"/>
              <a:ea typeface="+mn-ea"/>
              <a:cs typeface="Arial"/>
            </a:endParaRPr>
          </a:p>
        </p:txBody>
      </p:sp>
      <p:sp>
        <p:nvSpPr>
          <p:cNvPr id="83" name="Rectangle 82">
            <a:extLst>
              <a:ext uri="{FF2B5EF4-FFF2-40B4-BE49-F238E27FC236}">
                <a16:creationId xmlns:a16="http://schemas.microsoft.com/office/drawing/2014/main" id="{2D8E9F5A-A8A8-49EF-90AA-4A50B7EBA400}"/>
              </a:ext>
            </a:extLst>
          </p:cNvPr>
          <p:cNvSpPr/>
          <p:nvPr/>
        </p:nvSpPr>
        <p:spPr>
          <a:xfrm>
            <a:off x="7573455" y="5867929"/>
            <a:ext cx="149228" cy="65088"/>
          </a:xfrm>
          <a:prstGeom prst="rect">
            <a:avLst/>
          </a:prstGeom>
          <a:solidFill>
            <a:schemeClr val="bg1"/>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marL="0" marR="0" lvl="0" indent="0" algn="l" defTabSz="914309" rtl="0" eaLnBrk="1" fontAlgn="base" latinLnBrk="0" hangingPunct="1">
              <a:lnSpc>
                <a:spcPct val="90000"/>
              </a:lnSpc>
              <a:spcBef>
                <a:spcPts val="400"/>
              </a:spcBef>
              <a:spcAft>
                <a:spcPct val="0"/>
              </a:spcAft>
              <a:buClrTx/>
              <a:buSzTx/>
              <a:buFontTx/>
              <a:buNone/>
              <a:tabLst/>
              <a:defRPr/>
            </a:pPr>
            <a:endParaRPr kumimoji="0" lang="en-US" sz="1500" b="0" i="0" u="none" strike="noStrike" kern="1200" cap="none" spc="0" normalizeH="0" baseline="0" noProof="0">
              <a:ln>
                <a:noFill/>
              </a:ln>
              <a:solidFill>
                <a:srgbClr val="6F6F6F"/>
              </a:solidFill>
              <a:effectLst/>
              <a:uLnTx/>
              <a:uFillTx/>
              <a:latin typeface="Arial"/>
              <a:ea typeface="+mn-ea"/>
              <a:cs typeface="Arial"/>
            </a:endParaRPr>
          </a:p>
        </p:txBody>
      </p:sp>
      <p:cxnSp>
        <p:nvCxnSpPr>
          <p:cNvPr id="10" name="Straight Connector 9">
            <a:extLst>
              <a:ext uri="{FF2B5EF4-FFF2-40B4-BE49-F238E27FC236}">
                <a16:creationId xmlns:a16="http://schemas.microsoft.com/office/drawing/2014/main" id="{6CBB4BD4-A418-4C01-8302-4A1282F45649}"/>
              </a:ext>
            </a:extLst>
          </p:cNvPr>
          <p:cNvCxnSpPr>
            <a:cxnSpLocks/>
          </p:cNvCxnSpPr>
          <p:nvPr/>
        </p:nvCxnSpPr>
        <p:spPr>
          <a:xfrm>
            <a:off x="1009650" y="4782585"/>
            <a:ext cx="6400800" cy="0"/>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sp>
        <p:nvSpPr>
          <p:cNvPr id="115" name="Freeform 9">
            <a:extLst>
              <a:ext uri="{FF2B5EF4-FFF2-40B4-BE49-F238E27FC236}">
                <a16:creationId xmlns:a16="http://schemas.microsoft.com/office/drawing/2014/main" id="{E1AB7065-B724-43E2-A839-826B42DF77BB}"/>
              </a:ext>
            </a:extLst>
          </p:cNvPr>
          <p:cNvSpPr>
            <a:spLocks noChangeAspect="1" noEditPoints="1"/>
          </p:cNvSpPr>
          <p:nvPr/>
        </p:nvSpPr>
        <p:spPr bwMode="auto">
          <a:xfrm>
            <a:off x="7837836" y="1953905"/>
            <a:ext cx="333007" cy="333007"/>
          </a:xfrm>
          <a:custGeom>
            <a:avLst/>
            <a:gdLst>
              <a:gd name="T0" fmla="*/ 1103 w 2096"/>
              <a:gd name="T1" fmla="*/ 1212 h 2096"/>
              <a:gd name="T2" fmla="*/ 680 w 2096"/>
              <a:gd name="T3" fmla="*/ 1360 h 2096"/>
              <a:gd name="T4" fmla="*/ 0 w 2096"/>
              <a:gd name="T5" fmla="*/ 680 h 2096"/>
              <a:gd name="T6" fmla="*/ 680 w 2096"/>
              <a:gd name="T7" fmla="*/ 0 h 2096"/>
              <a:gd name="T8" fmla="*/ 1360 w 2096"/>
              <a:gd name="T9" fmla="*/ 680 h 2096"/>
              <a:gd name="T10" fmla="*/ 1216 w 2096"/>
              <a:gd name="T11" fmla="*/ 1099 h 2096"/>
              <a:gd name="T12" fmla="*/ 1344 w 2096"/>
              <a:gd name="T13" fmla="*/ 1227 h 2096"/>
              <a:gd name="T14" fmla="*/ 1231 w 2096"/>
              <a:gd name="T15" fmla="*/ 1340 h 2096"/>
              <a:gd name="T16" fmla="*/ 1103 w 2096"/>
              <a:gd name="T17" fmla="*/ 1212 h 2096"/>
              <a:gd name="T18" fmla="*/ 320 w 2096"/>
              <a:gd name="T19" fmla="*/ 640 h 2096"/>
              <a:gd name="T20" fmla="*/ 320 w 2096"/>
              <a:gd name="T21" fmla="*/ 720 h 2096"/>
              <a:gd name="T22" fmla="*/ 640 w 2096"/>
              <a:gd name="T23" fmla="*/ 720 h 2096"/>
              <a:gd name="T24" fmla="*/ 640 w 2096"/>
              <a:gd name="T25" fmla="*/ 1040 h 2096"/>
              <a:gd name="T26" fmla="*/ 720 w 2096"/>
              <a:gd name="T27" fmla="*/ 1040 h 2096"/>
              <a:gd name="T28" fmla="*/ 720 w 2096"/>
              <a:gd name="T29" fmla="*/ 720 h 2096"/>
              <a:gd name="T30" fmla="*/ 1040 w 2096"/>
              <a:gd name="T31" fmla="*/ 720 h 2096"/>
              <a:gd name="T32" fmla="*/ 1040 w 2096"/>
              <a:gd name="T33" fmla="*/ 640 h 2096"/>
              <a:gd name="T34" fmla="*/ 720 w 2096"/>
              <a:gd name="T35" fmla="*/ 640 h 2096"/>
              <a:gd name="T36" fmla="*/ 720 w 2096"/>
              <a:gd name="T37" fmla="*/ 320 h 2096"/>
              <a:gd name="T38" fmla="*/ 640 w 2096"/>
              <a:gd name="T39" fmla="*/ 320 h 2096"/>
              <a:gd name="T40" fmla="*/ 640 w 2096"/>
              <a:gd name="T41" fmla="*/ 640 h 2096"/>
              <a:gd name="T42" fmla="*/ 320 w 2096"/>
              <a:gd name="T43" fmla="*/ 640 h 2096"/>
              <a:gd name="T44" fmla="*/ 1474 w 2096"/>
              <a:gd name="T45" fmla="*/ 1200 h 2096"/>
              <a:gd name="T46" fmla="*/ 2096 w 2096"/>
              <a:gd name="T47" fmla="*/ 1823 h 2096"/>
              <a:gd name="T48" fmla="*/ 1823 w 2096"/>
              <a:gd name="T49" fmla="*/ 2096 h 2096"/>
              <a:gd name="T50" fmla="*/ 1200 w 2096"/>
              <a:gd name="T51" fmla="*/ 1474 h 2096"/>
              <a:gd name="T52" fmla="*/ 1474 w 2096"/>
              <a:gd name="T53" fmla="*/ 1200 h 2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96" h="2096">
                <a:moveTo>
                  <a:pt x="1103" y="1212"/>
                </a:moveTo>
                <a:cubicBezTo>
                  <a:pt x="987" y="1305"/>
                  <a:pt x="840" y="1360"/>
                  <a:pt x="680" y="1360"/>
                </a:cubicBezTo>
                <a:cubicBezTo>
                  <a:pt x="304" y="1360"/>
                  <a:pt x="0" y="1056"/>
                  <a:pt x="0" y="680"/>
                </a:cubicBezTo>
                <a:cubicBezTo>
                  <a:pt x="0" y="304"/>
                  <a:pt x="304" y="0"/>
                  <a:pt x="680" y="0"/>
                </a:cubicBezTo>
                <a:cubicBezTo>
                  <a:pt x="1056" y="0"/>
                  <a:pt x="1360" y="304"/>
                  <a:pt x="1360" y="680"/>
                </a:cubicBezTo>
                <a:cubicBezTo>
                  <a:pt x="1360" y="838"/>
                  <a:pt x="1306" y="983"/>
                  <a:pt x="1216" y="1099"/>
                </a:cubicBezTo>
                <a:cubicBezTo>
                  <a:pt x="1344" y="1227"/>
                  <a:pt x="1344" y="1227"/>
                  <a:pt x="1344" y="1227"/>
                </a:cubicBezTo>
                <a:cubicBezTo>
                  <a:pt x="1231" y="1340"/>
                  <a:pt x="1231" y="1340"/>
                  <a:pt x="1231" y="1340"/>
                </a:cubicBezTo>
                <a:lnTo>
                  <a:pt x="1103" y="1212"/>
                </a:lnTo>
                <a:close/>
                <a:moveTo>
                  <a:pt x="320" y="640"/>
                </a:moveTo>
                <a:cubicBezTo>
                  <a:pt x="320" y="720"/>
                  <a:pt x="320" y="720"/>
                  <a:pt x="320" y="720"/>
                </a:cubicBezTo>
                <a:cubicBezTo>
                  <a:pt x="640" y="720"/>
                  <a:pt x="640" y="720"/>
                  <a:pt x="640" y="720"/>
                </a:cubicBezTo>
                <a:cubicBezTo>
                  <a:pt x="640" y="1040"/>
                  <a:pt x="640" y="1040"/>
                  <a:pt x="640" y="1040"/>
                </a:cubicBezTo>
                <a:cubicBezTo>
                  <a:pt x="720" y="1040"/>
                  <a:pt x="720" y="1040"/>
                  <a:pt x="720" y="1040"/>
                </a:cubicBezTo>
                <a:cubicBezTo>
                  <a:pt x="720" y="720"/>
                  <a:pt x="720" y="720"/>
                  <a:pt x="720" y="720"/>
                </a:cubicBezTo>
                <a:cubicBezTo>
                  <a:pt x="1040" y="720"/>
                  <a:pt x="1040" y="720"/>
                  <a:pt x="1040" y="720"/>
                </a:cubicBezTo>
                <a:cubicBezTo>
                  <a:pt x="1040" y="640"/>
                  <a:pt x="1040" y="640"/>
                  <a:pt x="1040" y="640"/>
                </a:cubicBezTo>
                <a:cubicBezTo>
                  <a:pt x="720" y="640"/>
                  <a:pt x="720" y="640"/>
                  <a:pt x="720" y="640"/>
                </a:cubicBezTo>
                <a:cubicBezTo>
                  <a:pt x="720" y="320"/>
                  <a:pt x="720" y="320"/>
                  <a:pt x="720" y="320"/>
                </a:cubicBezTo>
                <a:cubicBezTo>
                  <a:pt x="640" y="320"/>
                  <a:pt x="640" y="320"/>
                  <a:pt x="640" y="320"/>
                </a:cubicBezTo>
                <a:cubicBezTo>
                  <a:pt x="640" y="640"/>
                  <a:pt x="640" y="640"/>
                  <a:pt x="640" y="640"/>
                </a:cubicBezTo>
                <a:lnTo>
                  <a:pt x="320" y="640"/>
                </a:lnTo>
                <a:close/>
                <a:moveTo>
                  <a:pt x="1474" y="1200"/>
                </a:moveTo>
                <a:cubicBezTo>
                  <a:pt x="2096" y="1823"/>
                  <a:pt x="2096" y="1823"/>
                  <a:pt x="2096" y="1823"/>
                </a:cubicBezTo>
                <a:cubicBezTo>
                  <a:pt x="1823" y="2096"/>
                  <a:pt x="1823" y="2096"/>
                  <a:pt x="1823" y="2096"/>
                </a:cubicBezTo>
                <a:cubicBezTo>
                  <a:pt x="1200" y="1474"/>
                  <a:pt x="1200" y="1474"/>
                  <a:pt x="1200" y="1474"/>
                </a:cubicBezTo>
                <a:lnTo>
                  <a:pt x="1474" y="12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309" rtl="0" eaLnBrk="1" fontAlgn="base" latinLnBrk="0" hangingPunct="1">
              <a:lnSpc>
                <a:spcPct val="100000"/>
              </a:lnSpc>
              <a:spcBef>
                <a:spcPct val="0"/>
              </a:spcBef>
              <a:spcAft>
                <a:spcPct val="0"/>
              </a:spcAft>
              <a:buClrTx/>
              <a:buSzTx/>
              <a:buFontTx/>
              <a:buNone/>
              <a:tabLst/>
              <a:defRPr/>
            </a:pPr>
            <a:endParaRPr kumimoji="0" lang="en-US" sz="1300" b="1" i="0" u="none" strike="noStrike" kern="1200" cap="none" spc="0" normalizeH="0" baseline="0" noProof="0">
              <a:ln>
                <a:noFill/>
              </a:ln>
              <a:solidFill>
                <a:srgbClr val="6F6F6F"/>
              </a:solidFill>
              <a:effectLst/>
              <a:uLnTx/>
              <a:uFillTx/>
              <a:latin typeface="+mj-lt"/>
              <a:ea typeface="+mn-ea"/>
              <a:cs typeface="Arial"/>
              <a:sym typeface="+mn-lt"/>
            </a:endParaRPr>
          </a:p>
        </p:txBody>
      </p:sp>
      <p:sp>
        <p:nvSpPr>
          <p:cNvPr id="7" name="RbLeanShape Left U-Shape 7">
            <a:extLst>
              <a:ext uri="{FF2B5EF4-FFF2-40B4-BE49-F238E27FC236}">
                <a16:creationId xmlns:a16="http://schemas.microsoft.com/office/drawing/2014/main" id="{6CEDBDF6-893B-40AF-8C7B-36852D8F0B37}"/>
              </a:ext>
            </a:extLst>
          </p:cNvPr>
          <p:cNvSpPr/>
          <p:nvPr/>
        </p:nvSpPr>
        <p:spPr>
          <a:xfrm rot="5400000">
            <a:off x="5809442" y="5023170"/>
            <a:ext cx="46075" cy="828667"/>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ln w="22225">
            <a:solidFill>
              <a:schemeClr val="bg2"/>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l" defTabSz="914309" rtl="0" eaLnBrk="1" fontAlgn="base" latinLnBrk="0" hangingPunct="1">
              <a:lnSpc>
                <a:spcPct val="90000"/>
              </a:lnSpc>
              <a:spcBef>
                <a:spcPct val="0"/>
              </a:spcBef>
              <a:spcAft>
                <a:spcPct val="0"/>
              </a:spcAft>
              <a:buClrTx/>
              <a:buSzTx/>
              <a:buFontTx/>
              <a:buNone/>
              <a:tabLst/>
              <a:defRPr/>
            </a:pPr>
            <a:endParaRPr kumimoji="0" lang="en-US" sz="1300" b="1" i="0" u="none" strike="noStrike" kern="1200" cap="none" spc="0" normalizeH="0" baseline="0" noProof="0">
              <a:ln>
                <a:noFill/>
              </a:ln>
              <a:solidFill>
                <a:srgbClr val="6F6F6F"/>
              </a:solidFill>
              <a:effectLst/>
              <a:uLnTx/>
              <a:uFillTx/>
              <a:latin typeface="Arial"/>
              <a:ea typeface="+mn-ea"/>
              <a:cs typeface="Arial"/>
            </a:endParaRPr>
          </a:p>
        </p:txBody>
      </p:sp>
      <p:cxnSp>
        <p:nvCxnSpPr>
          <p:cNvPr id="9" name="Straight Connector 8">
            <a:extLst>
              <a:ext uri="{FF2B5EF4-FFF2-40B4-BE49-F238E27FC236}">
                <a16:creationId xmlns:a16="http://schemas.microsoft.com/office/drawing/2014/main" id="{E9F0CC5F-9252-48A1-ABEA-C3F834D5C348}"/>
              </a:ext>
            </a:extLst>
          </p:cNvPr>
          <p:cNvCxnSpPr/>
          <p:nvPr/>
        </p:nvCxnSpPr>
        <p:spPr>
          <a:xfrm flipH="1" flipV="1">
            <a:off x="6686043" y="5450420"/>
            <a:ext cx="0" cy="60317"/>
          </a:xfrm>
          <a:prstGeom prst="line">
            <a:avLst/>
          </a:prstGeom>
          <a:ln w="22225" cmpd="sng">
            <a:solidFill>
              <a:schemeClr val="bg2"/>
            </a:solidFill>
            <a:tailEnd type="none" w="lg" len="lg"/>
          </a:ln>
          <a:effectLst/>
        </p:spPr>
        <p:style>
          <a:lnRef idx="1">
            <a:schemeClr val="accent1"/>
          </a:lnRef>
          <a:fillRef idx="0">
            <a:schemeClr val="accent1"/>
          </a:fillRef>
          <a:effectRef idx="0">
            <a:schemeClr val="accent1"/>
          </a:effectRef>
          <a:fontRef idx="minor">
            <a:schemeClr val="tx1"/>
          </a:fontRef>
        </p:style>
      </p:cxnSp>
      <p:sp>
        <p:nvSpPr>
          <p:cNvPr id="318" name="Rectangle 317">
            <a:extLst>
              <a:ext uri="{FF2B5EF4-FFF2-40B4-BE49-F238E27FC236}">
                <a16:creationId xmlns:a16="http://schemas.microsoft.com/office/drawing/2014/main" id="{9F1BE5E7-FAFC-4F46-90D9-63A41AC2526E}"/>
              </a:ext>
            </a:extLst>
          </p:cNvPr>
          <p:cNvSpPr/>
          <p:nvPr>
            <p:custDataLst>
              <p:tags r:id="rId4"/>
            </p:custDataLst>
          </p:nvPr>
        </p:nvSpPr>
        <p:spPr bwMode="auto">
          <a:xfrm>
            <a:off x="5592762" y="4551363"/>
            <a:ext cx="819150" cy="50800"/>
          </a:xfrm>
          <a:prstGeom prst="rect">
            <a:avLst/>
          </a:prstGeom>
          <a:solidFill>
            <a:schemeClr val="accent2"/>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97" name="Rectangle 96">
            <a:extLst>
              <a:ext uri="{FF2B5EF4-FFF2-40B4-BE49-F238E27FC236}">
                <a16:creationId xmlns:a16="http://schemas.microsoft.com/office/drawing/2014/main" id="{532C613E-61E4-4243-8912-B77682AB4C83}"/>
              </a:ext>
            </a:extLst>
          </p:cNvPr>
          <p:cNvSpPr/>
          <p:nvPr>
            <p:custDataLst>
              <p:tags r:id="rId5"/>
            </p:custDataLst>
          </p:nvPr>
        </p:nvSpPr>
        <p:spPr bwMode="auto">
          <a:xfrm>
            <a:off x="3954462" y="4551363"/>
            <a:ext cx="1638300" cy="50800"/>
          </a:xfrm>
          <a:prstGeom prst="rect">
            <a:avLst/>
          </a:prstGeom>
          <a:solidFill>
            <a:schemeClr val="accent4"/>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99" name="Rectangle 98">
            <a:extLst>
              <a:ext uri="{FF2B5EF4-FFF2-40B4-BE49-F238E27FC236}">
                <a16:creationId xmlns:a16="http://schemas.microsoft.com/office/drawing/2014/main" id="{1CDE4FCA-FA63-4953-B155-7D3592F84F9B}"/>
              </a:ext>
            </a:extLst>
          </p:cNvPr>
          <p:cNvSpPr/>
          <p:nvPr>
            <p:custDataLst>
              <p:tags r:id="rId6"/>
            </p:custDataLst>
          </p:nvPr>
        </p:nvSpPr>
        <p:spPr bwMode="auto">
          <a:xfrm>
            <a:off x="2316162" y="4551363"/>
            <a:ext cx="1638300" cy="50800"/>
          </a:xfrm>
          <a:prstGeom prst="rect">
            <a:avLst/>
          </a:prstGeom>
          <a:solidFill>
            <a:schemeClr val="tx1"/>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310" name="Rectangle 309">
            <a:extLst>
              <a:ext uri="{FF2B5EF4-FFF2-40B4-BE49-F238E27FC236}">
                <a16:creationId xmlns:a16="http://schemas.microsoft.com/office/drawing/2014/main" id="{0751DED8-701E-4B27-8751-FC9CD866FC5A}"/>
              </a:ext>
            </a:extLst>
          </p:cNvPr>
          <p:cNvSpPr/>
          <p:nvPr>
            <p:custDataLst>
              <p:tags r:id="rId7"/>
            </p:custDataLst>
          </p:nvPr>
        </p:nvSpPr>
        <p:spPr bwMode="auto">
          <a:xfrm>
            <a:off x="6354762" y="3829050"/>
            <a:ext cx="57150" cy="722313"/>
          </a:xfrm>
          <a:prstGeom prst="rect">
            <a:avLst/>
          </a:prstGeom>
          <a:solidFill>
            <a:srgbClr val="4C6C9C"/>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313" name="Rectangle 312">
            <a:extLst>
              <a:ext uri="{FF2B5EF4-FFF2-40B4-BE49-F238E27FC236}">
                <a16:creationId xmlns:a16="http://schemas.microsoft.com/office/drawing/2014/main" id="{08BB4605-05BC-4184-BF58-3449A6F2A369}"/>
              </a:ext>
            </a:extLst>
          </p:cNvPr>
          <p:cNvSpPr/>
          <p:nvPr>
            <p:custDataLst>
              <p:tags r:id="rId8"/>
            </p:custDataLst>
          </p:nvPr>
        </p:nvSpPr>
        <p:spPr bwMode="auto">
          <a:xfrm>
            <a:off x="6127750" y="3829050"/>
            <a:ext cx="227013" cy="722313"/>
          </a:xfrm>
          <a:prstGeom prst="rect">
            <a:avLst/>
          </a:prstGeom>
          <a:solidFill>
            <a:schemeClr val="accent3"/>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314" name="Rectangle 313">
            <a:extLst>
              <a:ext uri="{FF2B5EF4-FFF2-40B4-BE49-F238E27FC236}">
                <a16:creationId xmlns:a16="http://schemas.microsoft.com/office/drawing/2014/main" id="{3F504123-13CB-4044-9494-0D61E69618B5}"/>
              </a:ext>
            </a:extLst>
          </p:cNvPr>
          <p:cNvSpPr/>
          <p:nvPr>
            <p:custDataLst>
              <p:tags r:id="rId9"/>
            </p:custDataLst>
          </p:nvPr>
        </p:nvSpPr>
        <p:spPr bwMode="auto">
          <a:xfrm>
            <a:off x="5018088" y="3829050"/>
            <a:ext cx="1109663" cy="722313"/>
          </a:xfrm>
          <a:prstGeom prst="rect">
            <a:avLst/>
          </a:prstGeom>
          <a:solidFill>
            <a:schemeClr val="accent2"/>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272" name="Rectangle 271">
            <a:extLst>
              <a:ext uri="{FF2B5EF4-FFF2-40B4-BE49-F238E27FC236}">
                <a16:creationId xmlns:a16="http://schemas.microsoft.com/office/drawing/2014/main" id="{EEDE0C6A-8DDF-42A3-9395-34C612C15FB8}"/>
              </a:ext>
            </a:extLst>
          </p:cNvPr>
          <p:cNvSpPr/>
          <p:nvPr>
            <p:custDataLst>
              <p:tags r:id="rId10"/>
            </p:custDataLst>
          </p:nvPr>
        </p:nvSpPr>
        <p:spPr bwMode="auto">
          <a:xfrm>
            <a:off x="3425825" y="3829050"/>
            <a:ext cx="1592263" cy="722313"/>
          </a:xfrm>
          <a:prstGeom prst="rect">
            <a:avLst/>
          </a:prstGeom>
          <a:solidFill>
            <a:schemeClr val="accent4"/>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274" name="Rectangle 273">
            <a:extLst>
              <a:ext uri="{FF2B5EF4-FFF2-40B4-BE49-F238E27FC236}">
                <a16:creationId xmlns:a16="http://schemas.microsoft.com/office/drawing/2014/main" id="{1B701657-9ACF-4F30-8FDB-C6CA84CFD981}"/>
              </a:ext>
            </a:extLst>
          </p:cNvPr>
          <p:cNvSpPr/>
          <p:nvPr>
            <p:custDataLst>
              <p:tags r:id="rId11"/>
            </p:custDataLst>
          </p:nvPr>
        </p:nvSpPr>
        <p:spPr bwMode="auto">
          <a:xfrm>
            <a:off x="2316163" y="3829050"/>
            <a:ext cx="1109663" cy="722313"/>
          </a:xfrm>
          <a:prstGeom prst="rect">
            <a:avLst/>
          </a:prstGeom>
          <a:solidFill>
            <a:schemeClr val="tx1"/>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303" name="Rectangle 302">
            <a:extLst>
              <a:ext uri="{FF2B5EF4-FFF2-40B4-BE49-F238E27FC236}">
                <a16:creationId xmlns:a16="http://schemas.microsoft.com/office/drawing/2014/main" id="{13904A8F-B3B3-4C46-9A8E-94D6D2057C06}"/>
              </a:ext>
            </a:extLst>
          </p:cNvPr>
          <p:cNvSpPr/>
          <p:nvPr>
            <p:custDataLst>
              <p:tags r:id="rId12"/>
            </p:custDataLst>
          </p:nvPr>
        </p:nvSpPr>
        <p:spPr bwMode="auto">
          <a:xfrm>
            <a:off x="6051550" y="3371849"/>
            <a:ext cx="360363" cy="457200"/>
          </a:xfrm>
          <a:prstGeom prst="rect">
            <a:avLst/>
          </a:prstGeom>
          <a:solidFill>
            <a:schemeClr val="accent3"/>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306" name="Rectangle 305">
            <a:extLst>
              <a:ext uri="{FF2B5EF4-FFF2-40B4-BE49-F238E27FC236}">
                <a16:creationId xmlns:a16="http://schemas.microsoft.com/office/drawing/2014/main" id="{2209489E-FD4E-4BF6-B129-FBB182C17E8F}"/>
              </a:ext>
            </a:extLst>
          </p:cNvPr>
          <p:cNvSpPr/>
          <p:nvPr>
            <p:custDataLst>
              <p:tags r:id="rId13"/>
            </p:custDataLst>
          </p:nvPr>
        </p:nvSpPr>
        <p:spPr bwMode="auto">
          <a:xfrm>
            <a:off x="5961063" y="3371849"/>
            <a:ext cx="90488" cy="457200"/>
          </a:xfrm>
          <a:prstGeom prst="rect">
            <a:avLst/>
          </a:prstGeom>
          <a:solidFill>
            <a:schemeClr val="accent2"/>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269" name="Rectangle 268">
            <a:extLst>
              <a:ext uri="{FF2B5EF4-FFF2-40B4-BE49-F238E27FC236}">
                <a16:creationId xmlns:a16="http://schemas.microsoft.com/office/drawing/2014/main" id="{C6139F31-FA8A-42A5-BF7C-EA565EBB9174}"/>
              </a:ext>
            </a:extLst>
          </p:cNvPr>
          <p:cNvSpPr/>
          <p:nvPr>
            <p:custDataLst>
              <p:tags r:id="rId14"/>
            </p:custDataLst>
          </p:nvPr>
        </p:nvSpPr>
        <p:spPr bwMode="auto">
          <a:xfrm>
            <a:off x="5916613" y="3371849"/>
            <a:ext cx="44450" cy="457200"/>
          </a:xfrm>
          <a:prstGeom prst="rect">
            <a:avLst/>
          </a:prstGeom>
          <a:solidFill>
            <a:schemeClr val="accent4"/>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271" name="Rectangle 270">
            <a:extLst>
              <a:ext uri="{FF2B5EF4-FFF2-40B4-BE49-F238E27FC236}">
                <a16:creationId xmlns:a16="http://schemas.microsoft.com/office/drawing/2014/main" id="{9557646C-3AA5-4315-922A-62ECD128B7A5}"/>
              </a:ext>
            </a:extLst>
          </p:cNvPr>
          <p:cNvSpPr/>
          <p:nvPr>
            <p:custDataLst>
              <p:tags r:id="rId15"/>
            </p:custDataLst>
          </p:nvPr>
        </p:nvSpPr>
        <p:spPr bwMode="auto">
          <a:xfrm>
            <a:off x="2316162" y="3371849"/>
            <a:ext cx="3600450" cy="457200"/>
          </a:xfrm>
          <a:prstGeom prst="rect">
            <a:avLst/>
          </a:prstGeom>
          <a:solidFill>
            <a:schemeClr val="tx1"/>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296" name="Rectangle 295">
            <a:extLst>
              <a:ext uri="{FF2B5EF4-FFF2-40B4-BE49-F238E27FC236}">
                <a16:creationId xmlns:a16="http://schemas.microsoft.com/office/drawing/2014/main" id="{302AC650-A818-41A2-ADC4-9790F6C145FD}"/>
              </a:ext>
            </a:extLst>
          </p:cNvPr>
          <p:cNvSpPr/>
          <p:nvPr>
            <p:custDataLst>
              <p:tags r:id="rId16"/>
            </p:custDataLst>
          </p:nvPr>
        </p:nvSpPr>
        <p:spPr bwMode="auto">
          <a:xfrm>
            <a:off x="6122988" y="2371725"/>
            <a:ext cx="288925" cy="1000125"/>
          </a:xfrm>
          <a:prstGeom prst="rect">
            <a:avLst/>
          </a:prstGeom>
          <a:solidFill>
            <a:srgbClr val="4C6C9C"/>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298" name="Rectangle 297">
            <a:extLst>
              <a:ext uri="{FF2B5EF4-FFF2-40B4-BE49-F238E27FC236}">
                <a16:creationId xmlns:a16="http://schemas.microsoft.com/office/drawing/2014/main" id="{9791105D-DD90-45AF-A098-25900DF80221}"/>
              </a:ext>
            </a:extLst>
          </p:cNvPr>
          <p:cNvSpPr/>
          <p:nvPr>
            <p:custDataLst>
              <p:tags r:id="rId17"/>
            </p:custDataLst>
          </p:nvPr>
        </p:nvSpPr>
        <p:spPr bwMode="auto">
          <a:xfrm>
            <a:off x="5959475" y="2371725"/>
            <a:ext cx="163513" cy="1000125"/>
          </a:xfrm>
          <a:prstGeom prst="rect">
            <a:avLst/>
          </a:prstGeom>
          <a:solidFill>
            <a:schemeClr val="accent3"/>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299" name="Rectangle 298">
            <a:extLst>
              <a:ext uri="{FF2B5EF4-FFF2-40B4-BE49-F238E27FC236}">
                <a16:creationId xmlns:a16="http://schemas.microsoft.com/office/drawing/2014/main" id="{91FCC475-21BD-41B1-B702-2CC0FCEAA525}"/>
              </a:ext>
            </a:extLst>
          </p:cNvPr>
          <p:cNvSpPr/>
          <p:nvPr>
            <p:custDataLst>
              <p:tags r:id="rId18"/>
            </p:custDataLst>
          </p:nvPr>
        </p:nvSpPr>
        <p:spPr bwMode="auto">
          <a:xfrm>
            <a:off x="5197474" y="2371725"/>
            <a:ext cx="762000" cy="1000125"/>
          </a:xfrm>
          <a:prstGeom prst="rect">
            <a:avLst/>
          </a:prstGeom>
          <a:solidFill>
            <a:schemeClr val="accent2"/>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266" name="Rectangle 265">
            <a:extLst>
              <a:ext uri="{FF2B5EF4-FFF2-40B4-BE49-F238E27FC236}">
                <a16:creationId xmlns:a16="http://schemas.microsoft.com/office/drawing/2014/main" id="{11AC92B0-BA79-4F03-87F2-36378548E54B}"/>
              </a:ext>
            </a:extLst>
          </p:cNvPr>
          <p:cNvSpPr/>
          <p:nvPr>
            <p:custDataLst>
              <p:tags r:id="rId19"/>
            </p:custDataLst>
          </p:nvPr>
        </p:nvSpPr>
        <p:spPr bwMode="auto">
          <a:xfrm>
            <a:off x="4003675" y="2371725"/>
            <a:ext cx="1193800" cy="1000125"/>
          </a:xfrm>
          <a:prstGeom prst="rect">
            <a:avLst/>
          </a:prstGeom>
          <a:solidFill>
            <a:schemeClr val="accent4"/>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268" name="Rectangle 267">
            <a:extLst>
              <a:ext uri="{FF2B5EF4-FFF2-40B4-BE49-F238E27FC236}">
                <a16:creationId xmlns:a16="http://schemas.microsoft.com/office/drawing/2014/main" id="{02576AA2-B1C6-410A-8311-721072F703FE}"/>
              </a:ext>
            </a:extLst>
          </p:cNvPr>
          <p:cNvSpPr/>
          <p:nvPr>
            <p:custDataLst>
              <p:tags r:id="rId20"/>
            </p:custDataLst>
          </p:nvPr>
        </p:nvSpPr>
        <p:spPr bwMode="auto">
          <a:xfrm>
            <a:off x="2316163" y="2371725"/>
            <a:ext cx="1687513" cy="1000125"/>
          </a:xfrm>
          <a:prstGeom prst="rect">
            <a:avLst/>
          </a:prstGeom>
          <a:solidFill>
            <a:schemeClr val="tx1"/>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cxnSp>
        <p:nvCxnSpPr>
          <p:cNvPr id="265" name="Straight Connector 264">
            <a:extLst>
              <a:ext uri="{FF2B5EF4-FFF2-40B4-BE49-F238E27FC236}">
                <a16:creationId xmlns:a16="http://schemas.microsoft.com/office/drawing/2014/main" id="{297F6CF3-27E7-4135-B6FC-FDC93F081AAC}"/>
              </a:ext>
            </a:extLst>
          </p:cNvPr>
          <p:cNvCxnSpPr/>
          <p:nvPr>
            <p:custDataLst>
              <p:tags r:id="rId21"/>
            </p:custDataLst>
          </p:nvPr>
        </p:nvCxnSpPr>
        <p:spPr bwMode="auto">
          <a:xfrm>
            <a:off x="2316163" y="2366963"/>
            <a:ext cx="0" cy="22399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6048C28D-5FB1-4419-8FB4-C84606BD47F9}"/>
              </a:ext>
            </a:extLst>
          </p:cNvPr>
          <p:cNvCxnSpPr>
            <a:cxnSpLocks/>
          </p:cNvCxnSpPr>
          <p:nvPr>
            <p:custDataLst>
              <p:tags r:id="rId22"/>
            </p:custDataLst>
          </p:nvPr>
        </p:nvCxnSpPr>
        <p:spPr bwMode="auto">
          <a:xfrm flipV="1">
            <a:off x="6353175" y="4595813"/>
            <a:ext cx="58738"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3BD1673D-A51D-4857-B1FC-AE225D36238E}"/>
              </a:ext>
            </a:extLst>
          </p:cNvPr>
          <p:cNvCxnSpPr>
            <a:cxnSpLocks/>
          </p:cNvCxnSpPr>
          <p:nvPr>
            <p:custDataLst>
              <p:tags r:id="rId23"/>
            </p:custDataLst>
          </p:nvPr>
        </p:nvCxnSpPr>
        <p:spPr bwMode="auto">
          <a:xfrm flipV="1">
            <a:off x="3135313" y="4595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3A6D0658-3A1D-4E56-A400-761709001F82}"/>
              </a:ext>
            </a:extLst>
          </p:cNvPr>
          <p:cNvCxnSpPr>
            <a:cxnSpLocks/>
          </p:cNvCxnSpPr>
          <p:nvPr>
            <p:custDataLst>
              <p:tags r:id="rId24"/>
            </p:custDataLst>
          </p:nvPr>
        </p:nvCxnSpPr>
        <p:spPr bwMode="auto">
          <a:xfrm flipV="1">
            <a:off x="4773613" y="4595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90AD42A2-890D-44B3-97BD-6725BBDE25AF}"/>
              </a:ext>
            </a:extLst>
          </p:cNvPr>
          <p:cNvCxnSpPr>
            <a:cxnSpLocks/>
          </p:cNvCxnSpPr>
          <p:nvPr>
            <p:custDataLst>
              <p:tags r:id="rId25"/>
            </p:custDataLst>
          </p:nvPr>
        </p:nvCxnSpPr>
        <p:spPr bwMode="auto">
          <a:xfrm flipV="1">
            <a:off x="6002338" y="4595813"/>
            <a:ext cx="0"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AB71643A-0624-4EC5-AE27-57C8D86A5C0A}"/>
              </a:ext>
            </a:extLst>
          </p:cNvPr>
          <p:cNvCxnSpPr>
            <a:cxnSpLocks/>
          </p:cNvCxnSpPr>
          <p:nvPr>
            <p:custDataLst>
              <p:tags r:id="rId26"/>
            </p:custDataLst>
          </p:nvPr>
        </p:nvCxnSpPr>
        <p:spPr bwMode="auto">
          <a:xfrm flipV="1">
            <a:off x="6296025" y="4595813"/>
            <a:ext cx="115888" cy="22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0" name="Text Placeholder">
            <a:extLst>
              <a:ext uri="{FF2B5EF4-FFF2-40B4-BE49-F238E27FC236}">
                <a16:creationId xmlns:a16="http://schemas.microsoft.com/office/drawing/2014/main" id="{84AE25AF-24FE-4C6A-8EA1-DF3ACF3D7C0A}"/>
              </a:ext>
            </a:extLst>
          </p:cNvPr>
          <p:cNvSpPr>
            <a:spLocks noGrp="1"/>
          </p:cNvSpPr>
          <p:nvPr>
            <p:custDataLst>
              <p:tags r:id="rId27"/>
            </p:custDataLst>
          </p:nvPr>
        </p:nvSpPr>
        <p:spPr bwMode="gray">
          <a:xfrm>
            <a:off x="4122738" y="4121150"/>
            <a:ext cx="1968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038457F9-BDC4-4BDC-93CD-2D3FBAF55547}" type="datetime'''''''''5''''''''''''''''''6'''''''''''''''''">
              <a:rPr lang="en-GB" altLang="en-US" sz="1000" u="none" strike="noStrike" normalizeH="0" noProof="0" dirty="0">
                <a:ln>
                  <a:noFill/>
                </a:ln>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56</a:t>
            </a:fld>
            <a:endParaRPr lang="en-GB" sz="1000" u="none" strike="noStrike" normalizeH="0" noProof="0">
              <a:ln>
                <a:noFill/>
              </a:ln>
              <a:effectLst/>
              <a:uLnTx/>
              <a:uFillTx/>
              <a:sym typeface="+mn-lt"/>
            </a:endParaRPr>
          </a:p>
        </p:txBody>
      </p:sp>
      <p:sp>
        <p:nvSpPr>
          <p:cNvPr id="284" name="Text Placeholder">
            <a:extLst>
              <a:ext uri="{FF2B5EF4-FFF2-40B4-BE49-F238E27FC236}">
                <a16:creationId xmlns:a16="http://schemas.microsoft.com/office/drawing/2014/main" id="{F60463C0-5E9A-4225-B99C-8FD1AEF51D44}"/>
              </a:ext>
            </a:extLst>
          </p:cNvPr>
          <p:cNvSpPr>
            <a:spLocks noGrp="1"/>
          </p:cNvSpPr>
          <p:nvPr>
            <p:custDataLst>
              <p:tags r:id="rId28"/>
            </p:custDataLst>
          </p:nvPr>
        </p:nvSpPr>
        <p:spPr bwMode="gray">
          <a:xfrm>
            <a:off x="6173788" y="3532188"/>
            <a:ext cx="1158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E0832A0A-52A0-486C-9AD6-A53D71741DE4}" type="datetime'''''''''''''8'''''''''''''''''''''''''''''''''''''''">
              <a:rPr lang="en-GB" altLang="en-US" sz="1000" u="none" strike="noStrike" normalizeH="0" noProof="0" dirty="0">
                <a:ln>
                  <a:noFill/>
                </a:ln>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8</a:t>
            </a:fld>
            <a:endParaRPr lang="en-GB" sz="1000" u="none" strike="noStrike" normalizeH="0" noProof="0">
              <a:ln>
                <a:noFill/>
              </a:ln>
              <a:effectLst/>
              <a:uLnTx/>
              <a:uFillTx/>
              <a:sym typeface="+mn-lt"/>
            </a:endParaRPr>
          </a:p>
        </p:txBody>
      </p:sp>
      <p:sp>
        <p:nvSpPr>
          <p:cNvPr id="253" name="Text Placeholder">
            <a:extLst>
              <a:ext uri="{FF2B5EF4-FFF2-40B4-BE49-F238E27FC236}">
                <a16:creationId xmlns:a16="http://schemas.microsoft.com/office/drawing/2014/main" id="{C3868BA7-2B61-4885-9B21-0E5D60327259}"/>
              </a:ext>
            </a:extLst>
          </p:cNvPr>
          <p:cNvSpPr>
            <a:spLocks noGrp="1"/>
          </p:cNvSpPr>
          <p:nvPr>
            <p:custDataLst>
              <p:tags r:id="rId29"/>
            </p:custDataLst>
          </p:nvPr>
        </p:nvSpPr>
        <p:spPr bwMode="gray">
          <a:xfrm>
            <a:off x="4017963" y="3532188"/>
            <a:ext cx="1968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543BE091-4E24-4691-AC27-F3F48BA26BD6}" type="datetime'''''''''''''''''''''''''''''''8''''''''''0'">
              <a:rPr lang="en-GB" altLang="en-US" sz="1000" u="none" strike="noStrike" normalizeH="0" noProof="0" dirty="0">
                <a:ln>
                  <a:noFill/>
                </a:ln>
                <a:solidFill>
                  <a:schemeClr val="bg1"/>
                </a:solidFill>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80</a:t>
            </a:fld>
            <a:endParaRPr lang="en-GB" sz="1000" u="none" strike="noStrike" normalizeH="0" noProof="0">
              <a:ln>
                <a:noFill/>
              </a:ln>
              <a:solidFill>
                <a:schemeClr val="bg1"/>
              </a:solidFill>
              <a:effectLst/>
              <a:uLnTx/>
              <a:uFillTx/>
              <a:sym typeface="+mn-lt"/>
            </a:endParaRPr>
          </a:p>
        </p:txBody>
      </p:sp>
      <p:sp>
        <p:nvSpPr>
          <p:cNvPr id="252" name="Text Placeholder">
            <a:extLst>
              <a:ext uri="{FF2B5EF4-FFF2-40B4-BE49-F238E27FC236}">
                <a16:creationId xmlns:a16="http://schemas.microsoft.com/office/drawing/2014/main" id="{6BFE8DA2-8BEF-40F1-AD68-BABB075E61EA}"/>
              </a:ext>
            </a:extLst>
          </p:cNvPr>
          <p:cNvSpPr>
            <a:spLocks noGrp="1"/>
          </p:cNvSpPr>
          <p:nvPr>
            <p:custDataLst>
              <p:tags r:id="rId30"/>
            </p:custDataLst>
          </p:nvPr>
        </p:nvSpPr>
        <p:spPr bwMode="auto">
          <a:xfrm>
            <a:off x="1392238" y="3517900"/>
            <a:ext cx="822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r" defTabSz="914309" rtl="0" eaLnBrk="1" fontAlgn="auto" latinLnBrk="0" hangingPunct="1">
              <a:lnSpc>
                <a:spcPct val="90000"/>
              </a:lnSpc>
              <a:spcBef>
                <a:spcPct val="0"/>
              </a:spcBef>
              <a:spcAft>
                <a:spcPct val="0"/>
              </a:spcAft>
              <a:buClrTx/>
              <a:buSzTx/>
              <a:buFont typeface="Arial Narrow" pitchFamily="34" charset="0"/>
              <a:buNone/>
              <a:tabLst/>
              <a:defRPr/>
            </a:pPr>
            <a:fld id="{F7C8C157-2E4E-4458-94E2-5EA3A74F0CC9}" type="datetime'''''T''''r''''''''''''''''an''spor''''t'''''''''''''''">
              <a:rPr lang="en-GB" altLang="en-US" sz="1200" b="1" u="none" strike="noStrike" kern="0" normalizeH="0" noProof="0" smtClean="0">
                <a:ln>
                  <a:noFill/>
                </a:ln>
                <a:solidFill>
                  <a:srgbClr val="6F6F6F"/>
                </a:solidFill>
                <a:effectLst/>
                <a:uLnTx/>
                <a:uFillTx/>
                <a:sym typeface="+mn-lt"/>
              </a:rPr>
              <a:pPr marL="0" marR="0" lvl="0" indent="0" algn="r" defTabSz="914309" rtl="0" eaLnBrk="1" fontAlgn="auto" latinLnBrk="0" hangingPunct="1">
                <a:lnSpc>
                  <a:spcPct val="90000"/>
                </a:lnSpc>
                <a:spcBef>
                  <a:spcPct val="0"/>
                </a:spcBef>
                <a:spcAft>
                  <a:spcPct val="0"/>
                </a:spcAft>
                <a:buClrTx/>
                <a:buSzTx/>
                <a:buFont typeface="Arial Narrow" pitchFamily="34" charset="0"/>
                <a:buNone/>
                <a:tabLst/>
                <a:defRPr/>
              </a:pPr>
              <a:t>Transport</a:t>
            </a:fld>
            <a:r>
              <a:rPr lang="en-GB" altLang="en-US" sz="1200" b="1" u="none" kern="0" normalizeH="0" baseline="30000" noProof="0">
                <a:ln>
                  <a:noFill/>
                </a:ln>
                <a:solidFill>
                  <a:srgbClr val="6F6F6F"/>
                </a:solidFill>
                <a:effectLst/>
                <a:uLnTx/>
                <a:uFillTx/>
                <a:sym typeface="+mn-lt"/>
              </a:rPr>
              <a:t>1)</a:t>
            </a:r>
            <a:endParaRPr lang="en-GB" sz="1200" b="1" u="none" kern="0" normalizeH="0" baseline="30000" noProof="0">
              <a:ln>
                <a:noFill/>
              </a:ln>
              <a:solidFill>
                <a:srgbClr val="6F6F6F"/>
              </a:solidFill>
              <a:effectLst/>
              <a:uLnTx/>
              <a:uFillTx/>
              <a:sym typeface="+mn-lt"/>
            </a:endParaRPr>
          </a:p>
        </p:txBody>
      </p:sp>
      <p:sp>
        <p:nvSpPr>
          <p:cNvPr id="291" name="Text Placeholder">
            <a:extLst>
              <a:ext uri="{FF2B5EF4-FFF2-40B4-BE49-F238E27FC236}">
                <a16:creationId xmlns:a16="http://schemas.microsoft.com/office/drawing/2014/main" id="{412E46DE-534C-4B04-9C7E-0414DA960395}"/>
              </a:ext>
            </a:extLst>
          </p:cNvPr>
          <p:cNvSpPr>
            <a:spLocks noGrp="1"/>
          </p:cNvSpPr>
          <p:nvPr>
            <p:custDataLst>
              <p:tags r:id="rId31"/>
            </p:custDataLst>
          </p:nvPr>
        </p:nvSpPr>
        <p:spPr bwMode="gray">
          <a:xfrm>
            <a:off x="6180138" y="4618038"/>
            <a:ext cx="1158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0CB96064-CD2B-46D5-8910-3CD621E5A920}" type="datetime'''''''''''0'''''''''''''''''''''''''''''''''''''''''''">
              <a:rPr lang="en-GB" altLang="en-US" sz="1000" u="none" strike="noStrike" normalizeH="0" noProof="0" dirty="0">
                <a:ln>
                  <a:noFill/>
                </a:ln>
                <a:solidFill>
                  <a:srgbClr val="6F6F6F"/>
                </a:solidFill>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0</a:t>
            </a:fld>
            <a:endParaRPr lang="en-GB" sz="1000" u="none" strike="noStrike" normalizeH="0" noProof="0">
              <a:ln>
                <a:noFill/>
              </a:ln>
              <a:solidFill>
                <a:srgbClr val="6F6F6F"/>
              </a:solidFill>
              <a:effectLst/>
              <a:uLnTx/>
              <a:uFillTx/>
              <a:sym typeface="+mn-lt"/>
            </a:endParaRPr>
          </a:p>
        </p:txBody>
      </p:sp>
      <p:sp>
        <p:nvSpPr>
          <p:cNvPr id="281" name="Text Placeholder">
            <a:extLst>
              <a:ext uri="{FF2B5EF4-FFF2-40B4-BE49-F238E27FC236}">
                <a16:creationId xmlns:a16="http://schemas.microsoft.com/office/drawing/2014/main" id="{3C97C728-0A71-4129-9CFB-7A97F1B23465}"/>
              </a:ext>
            </a:extLst>
          </p:cNvPr>
          <p:cNvSpPr>
            <a:spLocks noGrp="1"/>
          </p:cNvSpPr>
          <p:nvPr>
            <p:custDataLst>
              <p:tags r:id="rId32"/>
            </p:custDataLst>
          </p:nvPr>
        </p:nvSpPr>
        <p:spPr bwMode="gray">
          <a:xfrm>
            <a:off x="5983288" y="2803525"/>
            <a:ext cx="11588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2C49A354-73C9-4938-AF3F-DBEBEA85AFEC}" type="datetime'''''''''8'''''''''''''''''''''''''''''''''''''">
              <a:rPr lang="en-GB" altLang="en-US" sz="1000" u="none" strike="noStrike" normalizeH="0" noProof="0" dirty="0">
                <a:ln>
                  <a:noFill/>
                </a:ln>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8</a:t>
            </a:fld>
            <a:endParaRPr lang="en-GB" sz="1000" u="none" strike="noStrike" normalizeH="0" noProof="0">
              <a:ln>
                <a:noFill/>
              </a:ln>
              <a:effectLst/>
              <a:uLnTx/>
              <a:uFillTx/>
              <a:sym typeface="+mn-lt"/>
            </a:endParaRPr>
          </a:p>
        </p:txBody>
      </p:sp>
      <p:sp>
        <p:nvSpPr>
          <p:cNvPr id="261" name="Text Placeholder">
            <a:extLst>
              <a:ext uri="{FF2B5EF4-FFF2-40B4-BE49-F238E27FC236}">
                <a16:creationId xmlns:a16="http://schemas.microsoft.com/office/drawing/2014/main" id="{19FA1DA9-984A-41ED-8C5E-4B178DA199CC}"/>
              </a:ext>
            </a:extLst>
          </p:cNvPr>
          <p:cNvSpPr>
            <a:spLocks noGrp="1"/>
          </p:cNvSpPr>
          <p:nvPr>
            <p:custDataLst>
              <p:tags r:id="rId33"/>
            </p:custDataLst>
          </p:nvPr>
        </p:nvSpPr>
        <p:spPr bwMode="gray">
          <a:xfrm>
            <a:off x="6489700" y="4106863"/>
            <a:ext cx="3349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309" rtl="0" eaLnBrk="1" fontAlgn="auto" latinLnBrk="0" hangingPunct="1">
              <a:lnSpc>
                <a:spcPct val="90000"/>
              </a:lnSpc>
              <a:spcBef>
                <a:spcPct val="0"/>
              </a:spcBef>
              <a:spcAft>
                <a:spcPct val="0"/>
              </a:spcAft>
              <a:buClrTx/>
              <a:buSzTx/>
              <a:buFont typeface="Arial Narrow" pitchFamily="34" charset="0"/>
              <a:buNone/>
              <a:tabLst/>
              <a:defRPr/>
            </a:pPr>
            <a:fld id="{72E99595-5864-4951-B988-EE20850EB34F}" type="datetime'''''''''''''''1''''''''''''''''4''''''''''''''''4'">
              <a:rPr lang="en-GB" altLang="en-US" sz="1200" b="1" u="none" strike="noStrike" kern="0" normalizeH="0" noProof="0" dirty="0">
                <a:ln>
                  <a:noFill/>
                </a:ln>
                <a:solidFill>
                  <a:srgbClr val="6F6F6F"/>
                </a:solidFill>
                <a:effectLst/>
                <a:uLnTx/>
                <a:uFillTx/>
                <a:sym typeface="+mn-lt"/>
              </a:rPr>
              <a:pPr marL="0" marR="0" lvl="0" indent="0" algn="l" defTabSz="914309" rtl="0" eaLnBrk="1" fontAlgn="auto" latinLnBrk="0" hangingPunct="1">
                <a:lnSpc>
                  <a:spcPct val="90000"/>
                </a:lnSpc>
                <a:spcBef>
                  <a:spcPct val="0"/>
                </a:spcBef>
                <a:spcAft>
                  <a:spcPct val="0"/>
                </a:spcAft>
                <a:buClrTx/>
                <a:buSzTx/>
                <a:buFont typeface="Arial Narrow" pitchFamily="34" charset="0"/>
                <a:buNone/>
                <a:tabLst/>
                <a:defRPr/>
              </a:pPr>
              <a:t>144</a:t>
            </a:fld>
            <a:endParaRPr lang="en-GB" sz="1200" b="1" u="none" strike="noStrike" kern="0" normalizeH="0" noProof="0">
              <a:ln>
                <a:noFill/>
              </a:ln>
              <a:solidFill>
                <a:srgbClr val="6F6F6F"/>
              </a:solidFill>
              <a:effectLst/>
              <a:uLnTx/>
              <a:uFillTx/>
              <a:sym typeface="+mn-lt"/>
            </a:endParaRPr>
          </a:p>
        </p:txBody>
      </p:sp>
      <p:sp>
        <p:nvSpPr>
          <p:cNvPr id="250" name="Text Placeholder">
            <a:extLst>
              <a:ext uri="{FF2B5EF4-FFF2-40B4-BE49-F238E27FC236}">
                <a16:creationId xmlns:a16="http://schemas.microsoft.com/office/drawing/2014/main" id="{7DE90B10-6FC4-48F5-A2F7-B7265607CEE8}"/>
              </a:ext>
            </a:extLst>
          </p:cNvPr>
          <p:cNvSpPr>
            <a:spLocks noGrp="1"/>
          </p:cNvSpPr>
          <p:nvPr>
            <p:custDataLst>
              <p:tags r:id="rId34"/>
            </p:custDataLst>
          </p:nvPr>
        </p:nvSpPr>
        <p:spPr bwMode="gray">
          <a:xfrm>
            <a:off x="4502150" y="2803525"/>
            <a:ext cx="1968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E8504BA2-41E0-4906-8894-79458C29AE39}" type="datetime'''''''''''''''''''5''''''''8'''''''''''''''''''''''''''''">
              <a:rPr lang="en-GB" altLang="en-US" sz="1000" u="none" strike="noStrike" normalizeH="0" noProof="0" dirty="0">
                <a:ln>
                  <a:noFill/>
                </a:ln>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58</a:t>
            </a:fld>
            <a:endParaRPr lang="en-GB" sz="1000" u="none" strike="noStrike" normalizeH="0" noProof="0">
              <a:ln>
                <a:noFill/>
              </a:ln>
              <a:effectLst/>
              <a:uLnTx/>
              <a:uFillTx/>
              <a:sym typeface="+mn-lt"/>
            </a:endParaRPr>
          </a:p>
        </p:txBody>
      </p:sp>
      <p:sp>
        <p:nvSpPr>
          <p:cNvPr id="283" name="Text Placeholder">
            <a:extLst>
              <a:ext uri="{FF2B5EF4-FFF2-40B4-BE49-F238E27FC236}">
                <a16:creationId xmlns:a16="http://schemas.microsoft.com/office/drawing/2014/main" id="{070A27C2-9288-47A0-9565-1E5BE59F522D}"/>
              </a:ext>
            </a:extLst>
          </p:cNvPr>
          <p:cNvSpPr>
            <a:spLocks noGrp="1"/>
          </p:cNvSpPr>
          <p:nvPr>
            <p:custDataLst>
              <p:tags r:id="rId35"/>
            </p:custDataLst>
          </p:nvPr>
        </p:nvSpPr>
        <p:spPr bwMode="gray">
          <a:xfrm>
            <a:off x="6354763" y="3532188"/>
            <a:ext cx="115888" cy="136525"/>
          </a:xfrm>
          <a:prstGeom prst="rect">
            <a:avLst/>
          </a:prstGeom>
          <a:solidFill>
            <a:srgbClr val="4C6C9C"/>
          </a:solidFill>
          <a:ln>
            <a:noFill/>
          </a:ln>
          <a:effec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BCE8262D-6F91-48E4-B967-A08AD5E348E2}" type="datetime'''''''''0'''''''''''''''''''''''''">
              <a:rPr lang="en-GB" altLang="en-US" sz="1000" u="none" strike="noStrike" normalizeH="0" noProof="0" dirty="0">
                <a:ln>
                  <a:noFill/>
                </a:ln>
                <a:solidFill>
                  <a:schemeClr val="bg2"/>
                </a:solidFill>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0</a:t>
            </a:fld>
            <a:endParaRPr lang="en-GB" sz="1000" u="none" strike="noStrike" normalizeH="0" noProof="0">
              <a:ln>
                <a:noFill/>
              </a:ln>
              <a:solidFill>
                <a:schemeClr val="bg2"/>
              </a:solidFill>
              <a:effectLst/>
              <a:uLnTx/>
              <a:uFillTx/>
              <a:sym typeface="+mn-lt"/>
            </a:endParaRPr>
          </a:p>
        </p:txBody>
      </p:sp>
      <p:sp>
        <p:nvSpPr>
          <p:cNvPr id="288" name="Text Placeholder">
            <a:extLst>
              <a:ext uri="{FF2B5EF4-FFF2-40B4-BE49-F238E27FC236}">
                <a16:creationId xmlns:a16="http://schemas.microsoft.com/office/drawing/2014/main" id="{3691846B-8B84-4FF5-A802-6D3B33D8BE41}"/>
              </a:ext>
            </a:extLst>
          </p:cNvPr>
          <p:cNvSpPr>
            <a:spLocks noGrp="1"/>
          </p:cNvSpPr>
          <p:nvPr>
            <p:custDataLst>
              <p:tags r:id="rId36"/>
            </p:custDataLst>
          </p:nvPr>
        </p:nvSpPr>
        <p:spPr bwMode="gray">
          <a:xfrm>
            <a:off x="5473700" y="4121150"/>
            <a:ext cx="1968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90FCBEDD-D0BF-46F3-AF8F-2047B14E472D}" type="datetime'''39'''''''''''''''''''''">
              <a:rPr lang="en-GB" altLang="en-US" sz="1000" u="none" strike="noStrike" normalizeH="0" noProof="0" dirty="0">
                <a:ln>
                  <a:noFill/>
                </a:ln>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39</a:t>
            </a:fld>
            <a:endParaRPr lang="en-GB" sz="1000" u="none" strike="noStrike" normalizeH="0" noProof="0">
              <a:ln>
                <a:noFill/>
              </a:ln>
              <a:effectLst/>
              <a:uLnTx/>
              <a:uFillTx/>
              <a:sym typeface="+mn-lt"/>
            </a:endParaRPr>
          </a:p>
        </p:txBody>
      </p:sp>
      <p:sp>
        <p:nvSpPr>
          <p:cNvPr id="287" name="Text Placeholder">
            <a:extLst>
              <a:ext uri="{FF2B5EF4-FFF2-40B4-BE49-F238E27FC236}">
                <a16:creationId xmlns:a16="http://schemas.microsoft.com/office/drawing/2014/main" id="{8F972D2A-D1AA-4850-AE8B-7FE02B91AA58}"/>
              </a:ext>
            </a:extLst>
          </p:cNvPr>
          <p:cNvSpPr>
            <a:spLocks noGrp="1"/>
          </p:cNvSpPr>
          <p:nvPr>
            <p:custDataLst>
              <p:tags r:id="rId37"/>
            </p:custDataLst>
          </p:nvPr>
        </p:nvSpPr>
        <p:spPr bwMode="gray">
          <a:xfrm>
            <a:off x="6183313" y="4121150"/>
            <a:ext cx="11588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21AB7FB9-7473-4ABF-A49E-1DABAEA3F9DF}" type="datetime'''''''''''''''''''''''''''''''''''''8'''''''''''''''">
              <a:rPr lang="en-GB" altLang="en-US" sz="1000" u="none" strike="noStrike" normalizeH="0" noProof="0" dirty="0">
                <a:ln>
                  <a:noFill/>
                </a:ln>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8</a:t>
            </a:fld>
            <a:endParaRPr lang="en-GB" sz="1000" u="none" strike="noStrike" normalizeH="0" noProof="0">
              <a:ln>
                <a:noFill/>
              </a:ln>
              <a:effectLst/>
              <a:uLnTx/>
              <a:uFillTx/>
              <a:sym typeface="+mn-lt"/>
            </a:endParaRPr>
          </a:p>
        </p:txBody>
      </p:sp>
      <p:sp>
        <p:nvSpPr>
          <p:cNvPr id="282" name="Text Placeholder">
            <a:extLst>
              <a:ext uri="{FF2B5EF4-FFF2-40B4-BE49-F238E27FC236}">
                <a16:creationId xmlns:a16="http://schemas.microsoft.com/office/drawing/2014/main" id="{192F75F4-32CC-4868-AC57-226111F0EF3B}"/>
              </a:ext>
            </a:extLst>
          </p:cNvPr>
          <p:cNvSpPr>
            <a:spLocks noGrp="1"/>
          </p:cNvSpPr>
          <p:nvPr>
            <p:custDataLst>
              <p:tags r:id="rId38"/>
            </p:custDataLst>
          </p:nvPr>
        </p:nvSpPr>
        <p:spPr bwMode="gray">
          <a:xfrm>
            <a:off x="5480050" y="2803525"/>
            <a:ext cx="1968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2AE50AED-22A7-49D5-A493-733A1AE0F55C}" type="datetime'''''''''''''''''''''''''''''''3''''''''''''''7'''''''">
              <a:rPr lang="en-GB" altLang="en-US" sz="1000" u="none" strike="noStrike" normalizeH="0" noProof="0" dirty="0">
                <a:ln>
                  <a:noFill/>
                </a:ln>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37</a:t>
            </a:fld>
            <a:endParaRPr lang="en-GB" sz="1000" u="none" strike="noStrike" normalizeH="0" noProof="0">
              <a:ln>
                <a:noFill/>
              </a:ln>
              <a:effectLst/>
              <a:uLnTx/>
              <a:uFillTx/>
              <a:sym typeface="+mn-lt"/>
            </a:endParaRPr>
          </a:p>
        </p:txBody>
      </p:sp>
      <p:sp>
        <p:nvSpPr>
          <p:cNvPr id="293" name="Text Placeholder">
            <a:extLst>
              <a:ext uri="{FF2B5EF4-FFF2-40B4-BE49-F238E27FC236}">
                <a16:creationId xmlns:a16="http://schemas.microsoft.com/office/drawing/2014/main" id="{932CA3C3-634F-46EB-975D-B156270C3C80}"/>
              </a:ext>
            </a:extLst>
          </p:cNvPr>
          <p:cNvSpPr>
            <a:spLocks noGrp="1"/>
          </p:cNvSpPr>
          <p:nvPr>
            <p:custDataLst>
              <p:tags r:id="rId39"/>
            </p:custDataLst>
          </p:nvPr>
        </p:nvSpPr>
        <p:spPr bwMode="gray">
          <a:xfrm>
            <a:off x="4716463" y="4618038"/>
            <a:ext cx="1158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195B5CCF-E754-4DD3-BFC4-19A25FA273D3}" type="datetime'''''''''''''''''4'''''''''''''''''''''''''''">
              <a:rPr lang="en-GB" altLang="en-US" sz="1000" u="none" strike="noStrike" normalizeH="0" noProof="0" dirty="0">
                <a:ln>
                  <a:noFill/>
                </a:ln>
                <a:solidFill>
                  <a:srgbClr val="6F6F6F"/>
                </a:solidFill>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4</a:t>
            </a:fld>
            <a:endParaRPr lang="en-GB" sz="1000" u="none" strike="noStrike" normalizeH="0" noProof="0">
              <a:ln>
                <a:noFill/>
              </a:ln>
              <a:solidFill>
                <a:srgbClr val="6F6F6F"/>
              </a:solidFill>
              <a:effectLst/>
              <a:uLnTx/>
              <a:uFillTx/>
              <a:sym typeface="+mn-lt"/>
            </a:endParaRPr>
          </a:p>
        </p:txBody>
      </p:sp>
      <p:sp>
        <p:nvSpPr>
          <p:cNvPr id="286" name="Text Placeholder">
            <a:extLst>
              <a:ext uri="{FF2B5EF4-FFF2-40B4-BE49-F238E27FC236}">
                <a16:creationId xmlns:a16="http://schemas.microsoft.com/office/drawing/2014/main" id="{06F2F803-8C95-405A-AAB2-2247E6421C52}"/>
              </a:ext>
            </a:extLst>
          </p:cNvPr>
          <p:cNvSpPr>
            <a:spLocks noGrp="1"/>
          </p:cNvSpPr>
          <p:nvPr>
            <p:custDataLst>
              <p:tags r:id="rId40"/>
            </p:custDataLst>
          </p:nvPr>
        </p:nvSpPr>
        <p:spPr bwMode="gray">
          <a:xfrm>
            <a:off x="6326188" y="4121150"/>
            <a:ext cx="115888" cy="136525"/>
          </a:xfrm>
          <a:prstGeom prst="rect">
            <a:avLst/>
          </a:prstGeom>
          <a:solidFill>
            <a:srgbClr val="4C6C9C"/>
          </a:solidFill>
          <a:ln>
            <a:noFill/>
          </a:ln>
          <a:effec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7473E33C-DE21-453F-82FE-844A20BF7292}" type="datetime'''''''''2'''''''''''''''''''''''''''''">
              <a:rPr lang="en-GB" altLang="en-US" sz="1000" u="none" strike="noStrike" normalizeH="0" noProof="0" dirty="0">
                <a:ln>
                  <a:noFill/>
                </a:ln>
                <a:solidFill>
                  <a:schemeClr val="bg2"/>
                </a:solidFill>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2</a:t>
            </a:fld>
            <a:endParaRPr lang="en-GB" sz="1000" u="none" strike="noStrike" normalizeH="0" noProof="0">
              <a:ln>
                <a:noFill/>
              </a:ln>
              <a:solidFill>
                <a:schemeClr val="bg2"/>
              </a:solidFill>
              <a:effectLst/>
              <a:uLnTx/>
              <a:uFillTx/>
              <a:sym typeface="+mn-lt"/>
            </a:endParaRPr>
          </a:p>
        </p:txBody>
      </p:sp>
      <p:sp>
        <p:nvSpPr>
          <p:cNvPr id="276" name="Text Placeholder">
            <a:extLst>
              <a:ext uri="{FF2B5EF4-FFF2-40B4-BE49-F238E27FC236}">
                <a16:creationId xmlns:a16="http://schemas.microsoft.com/office/drawing/2014/main" id="{2CA0F58B-CF13-46E5-9C78-124022357CCA}"/>
              </a:ext>
            </a:extLst>
          </p:cNvPr>
          <p:cNvSpPr>
            <a:spLocks noGrp="1"/>
          </p:cNvSpPr>
          <p:nvPr>
            <p:custDataLst>
              <p:tags r:id="rId41"/>
            </p:custDataLst>
          </p:nvPr>
        </p:nvSpPr>
        <p:spPr bwMode="auto">
          <a:xfrm>
            <a:off x="1117600" y="4494213"/>
            <a:ext cx="10969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gn="r" defTabSz="914309">
              <a:spcBef>
                <a:spcPct val="0"/>
              </a:spcBef>
              <a:spcAft>
                <a:spcPct val="0"/>
              </a:spcAft>
              <a:defRPr/>
            </a:pPr>
            <a:fld id="{639718E7-ED93-4B46-8732-0D4371AF1970}" type="datetime'''Ot''he''r'''' ''''s''''''''''''e''''c''''''''''to''''r''''s'">
              <a:rPr lang="en-GB" altLang="en-US" sz="1200" b="1" kern="0" smtClean="0">
                <a:solidFill>
                  <a:srgbClr val="6F6F6F"/>
                </a:solidFill>
              </a:rPr>
              <a:pPr lvl="0" algn="r" defTabSz="914309">
                <a:spcBef>
                  <a:spcPct val="0"/>
                </a:spcBef>
                <a:spcAft>
                  <a:spcPct val="0"/>
                </a:spcAft>
                <a:defRPr/>
              </a:pPr>
              <a:t>Other sectors</a:t>
            </a:fld>
            <a:r>
              <a:rPr lang="en-GB" altLang="en-US" sz="1200" b="1" u="none" strike="noStrike" kern="0" normalizeH="0" baseline="30000" noProof="0">
                <a:ln>
                  <a:noFill/>
                </a:ln>
                <a:solidFill>
                  <a:srgbClr val="6F6F6F"/>
                </a:solidFill>
                <a:effectLst/>
                <a:uLnTx/>
                <a:uFillTx/>
                <a:sym typeface="+mn-lt"/>
              </a:rPr>
              <a:t>2)</a:t>
            </a:r>
            <a:endParaRPr lang="en-GB" sz="1200" b="1" u="none" strike="noStrike" kern="0" normalizeH="0" baseline="30000" noProof="0">
              <a:ln>
                <a:noFill/>
              </a:ln>
              <a:solidFill>
                <a:srgbClr val="6F6F6F"/>
              </a:solidFill>
              <a:effectLst/>
              <a:uLnTx/>
              <a:uFillTx/>
              <a:sym typeface="+mn-lt"/>
            </a:endParaRPr>
          </a:p>
        </p:txBody>
      </p:sp>
      <p:sp>
        <p:nvSpPr>
          <p:cNvPr id="257" name="Text Placeholder">
            <a:extLst>
              <a:ext uri="{FF2B5EF4-FFF2-40B4-BE49-F238E27FC236}">
                <a16:creationId xmlns:a16="http://schemas.microsoft.com/office/drawing/2014/main" id="{7A713F05-5646-4630-8467-A558FBF31344}"/>
              </a:ext>
            </a:extLst>
          </p:cNvPr>
          <p:cNvSpPr>
            <a:spLocks noGrp="1"/>
          </p:cNvSpPr>
          <p:nvPr>
            <p:custDataLst>
              <p:tags r:id="rId42"/>
            </p:custDataLst>
          </p:nvPr>
        </p:nvSpPr>
        <p:spPr bwMode="auto">
          <a:xfrm>
            <a:off x="625475" y="4106863"/>
            <a:ext cx="15890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gn="r" defTabSz="914309">
              <a:spcBef>
                <a:spcPct val="0"/>
              </a:spcBef>
              <a:spcAft>
                <a:spcPct val="0"/>
              </a:spcAft>
              <a:defRPr/>
            </a:pPr>
            <a:fld id="{378C1298-F0DB-4C09-BBAB-AE2F01856AF8}" type="datetime'''''Res''''id''''e''''n''''ti''a''l &amp;'''''''''' tertiair''y'">
              <a:rPr lang="en-GB" altLang="en-US" sz="1200" b="1" kern="0" smtClean="0">
                <a:solidFill>
                  <a:srgbClr val="6F6F6F"/>
                </a:solidFill>
              </a:rPr>
              <a:pPr lvl="0" algn="r" defTabSz="914309">
                <a:spcBef>
                  <a:spcPct val="0"/>
                </a:spcBef>
                <a:spcAft>
                  <a:spcPct val="0"/>
                </a:spcAft>
                <a:defRPr/>
              </a:pPr>
              <a:t>Residential &amp; tertiairy</a:t>
            </a:fld>
            <a:endParaRPr lang="en-GB" sz="1200" b="1" strike="noStrike" kern="0" normalizeH="0" noProof="0">
              <a:ln>
                <a:noFill/>
              </a:ln>
              <a:solidFill>
                <a:srgbClr val="6F6F6F"/>
              </a:solidFill>
              <a:effectLst/>
              <a:uLnTx/>
              <a:uFillTx/>
              <a:sym typeface="+mn-lt"/>
            </a:endParaRPr>
          </a:p>
        </p:txBody>
      </p:sp>
      <p:sp>
        <p:nvSpPr>
          <p:cNvPr id="294" name="Text Placeholder">
            <a:extLst>
              <a:ext uri="{FF2B5EF4-FFF2-40B4-BE49-F238E27FC236}">
                <a16:creationId xmlns:a16="http://schemas.microsoft.com/office/drawing/2014/main" id="{37FAF67F-A865-4C79-A5F2-5262D632D336}"/>
              </a:ext>
            </a:extLst>
          </p:cNvPr>
          <p:cNvSpPr>
            <a:spLocks noGrp="1"/>
          </p:cNvSpPr>
          <p:nvPr>
            <p:custDataLst>
              <p:tags r:id="rId43"/>
            </p:custDataLst>
          </p:nvPr>
        </p:nvSpPr>
        <p:spPr bwMode="gray">
          <a:xfrm>
            <a:off x="3078163" y="4618038"/>
            <a:ext cx="1158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50D0E4F9-9AAE-48D7-818D-512DB88A0FEE}" type="datetime'''''''''''''''''''''''''''''''''''''''''''4'''''''''''">
              <a:rPr lang="en-GB" altLang="en-US" sz="1000" u="none" strike="noStrike" normalizeH="0" noProof="0" dirty="0">
                <a:ln>
                  <a:noFill/>
                </a:ln>
                <a:solidFill>
                  <a:srgbClr val="6F6F6F"/>
                </a:solidFill>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4</a:t>
            </a:fld>
            <a:endParaRPr lang="en-GB" sz="1000" u="none" strike="noStrike" normalizeH="0" noProof="0">
              <a:ln>
                <a:noFill/>
              </a:ln>
              <a:solidFill>
                <a:srgbClr val="6F6F6F"/>
              </a:solidFill>
              <a:effectLst/>
              <a:uLnTx/>
              <a:uFillTx/>
              <a:sym typeface="+mn-lt"/>
            </a:endParaRPr>
          </a:p>
        </p:txBody>
      </p:sp>
      <p:sp>
        <p:nvSpPr>
          <p:cNvPr id="258" name="Text Placeholder">
            <a:extLst>
              <a:ext uri="{FF2B5EF4-FFF2-40B4-BE49-F238E27FC236}">
                <a16:creationId xmlns:a16="http://schemas.microsoft.com/office/drawing/2014/main" id="{38409E84-F4D3-410E-BC83-DE0F72CE0104}"/>
              </a:ext>
            </a:extLst>
          </p:cNvPr>
          <p:cNvSpPr>
            <a:spLocks noGrp="1"/>
          </p:cNvSpPr>
          <p:nvPr>
            <p:custDataLst>
              <p:tags r:id="rId44"/>
            </p:custDataLst>
          </p:nvPr>
        </p:nvSpPr>
        <p:spPr bwMode="gray">
          <a:xfrm>
            <a:off x="2771775" y="4121150"/>
            <a:ext cx="1968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831EEAAC-1A46-4931-AC5F-83780D365C9A}" type="datetime'''''''3''''''''''9'''''''''''''''''''''''''''''''''">
              <a:rPr lang="en-GB" altLang="en-US" sz="1000" u="none" strike="noStrike" normalizeH="0" noProof="0" dirty="0">
                <a:ln>
                  <a:noFill/>
                </a:ln>
                <a:solidFill>
                  <a:schemeClr val="bg1"/>
                </a:solidFill>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39</a:t>
            </a:fld>
            <a:endParaRPr lang="en-GB" sz="1000" u="none" strike="noStrike" normalizeH="0" noProof="0">
              <a:ln>
                <a:noFill/>
              </a:ln>
              <a:solidFill>
                <a:schemeClr val="bg1"/>
              </a:solidFill>
              <a:effectLst/>
              <a:uLnTx/>
              <a:uFillTx/>
              <a:sym typeface="+mn-lt"/>
            </a:endParaRPr>
          </a:p>
        </p:txBody>
      </p:sp>
      <p:sp>
        <p:nvSpPr>
          <p:cNvPr id="248" name="Text Placeholder">
            <a:extLst>
              <a:ext uri="{FF2B5EF4-FFF2-40B4-BE49-F238E27FC236}">
                <a16:creationId xmlns:a16="http://schemas.microsoft.com/office/drawing/2014/main" id="{7D0EDFF3-9C14-45C2-9091-824929EBA3AC}"/>
              </a:ext>
            </a:extLst>
          </p:cNvPr>
          <p:cNvSpPr>
            <a:spLocks noGrp="1"/>
          </p:cNvSpPr>
          <p:nvPr>
            <p:custDataLst>
              <p:tags r:id="rId45"/>
            </p:custDataLst>
          </p:nvPr>
        </p:nvSpPr>
        <p:spPr bwMode="gray">
          <a:xfrm>
            <a:off x="3060700" y="2803525"/>
            <a:ext cx="196850"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gn="ctr" defTabSz="914309">
              <a:spcBef>
                <a:spcPct val="0"/>
              </a:spcBef>
              <a:spcAft>
                <a:spcPct val="0"/>
              </a:spcAft>
              <a:defRPr/>
            </a:pPr>
            <a:fld id="{DF7D2353-1E87-4895-811C-1F27D1251D33}" type="datetime'''8''''''''''''''''''''2'''''''''''">
              <a:rPr lang="en-GB" altLang="en-US" sz="1000" smtClean="0">
                <a:solidFill>
                  <a:schemeClr val="bg1"/>
                </a:solidFill>
              </a:rPr>
              <a:pPr lvl="0" algn="ctr" defTabSz="914309">
                <a:spcBef>
                  <a:spcPct val="0"/>
                </a:spcBef>
                <a:spcAft>
                  <a:spcPct val="0"/>
                </a:spcAft>
                <a:defRPr/>
              </a:pPr>
              <a:t>82</a:t>
            </a:fld>
            <a:endParaRPr lang="en-GB" sz="1000" strike="noStrike" normalizeH="0" noProof="0">
              <a:ln>
                <a:noFill/>
              </a:ln>
              <a:solidFill>
                <a:schemeClr val="bg1"/>
              </a:solidFill>
              <a:effectLst/>
              <a:uLnTx/>
              <a:uFillTx/>
              <a:sym typeface="+mn-lt"/>
            </a:endParaRPr>
          </a:p>
        </p:txBody>
      </p:sp>
      <p:sp>
        <p:nvSpPr>
          <p:cNvPr id="280" name="Text Placeholder">
            <a:extLst>
              <a:ext uri="{FF2B5EF4-FFF2-40B4-BE49-F238E27FC236}">
                <a16:creationId xmlns:a16="http://schemas.microsoft.com/office/drawing/2014/main" id="{58EE1209-EB80-40C7-9A9F-510E978D9C1C}"/>
              </a:ext>
            </a:extLst>
          </p:cNvPr>
          <p:cNvSpPr>
            <a:spLocks noGrp="1"/>
          </p:cNvSpPr>
          <p:nvPr>
            <p:custDataLst>
              <p:tags r:id="rId46"/>
            </p:custDataLst>
          </p:nvPr>
        </p:nvSpPr>
        <p:spPr bwMode="gray">
          <a:xfrm>
            <a:off x="6169025" y="2803525"/>
            <a:ext cx="196850"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FCF56E8B-800A-46D0-BD79-E9CFB954D28B}" type="datetime'''''''''''''''1''''''''''''''''''''''''''''''4'''''''">
              <a:rPr lang="en-GB" altLang="en-US" sz="1000" u="none" strike="noStrike" normalizeH="0" noProof="0" dirty="0">
                <a:ln>
                  <a:noFill/>
                </a:ln>
                <a:solidFill>
                  <a:schemeClr val="bg1"/>
                </a:solidFill>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14</a:t>
            </a:fld>
            <a:endParaRPr lang="en-GB" sz="1000" u="none" strike="noStrike" normalizeH="0" noProof="0">
              <a:ln>
                <a:noFill/>
              </a:ln>
              <a:solidFill>
                <a:schemeClr val="bg1"/>
              </a:solidFill>
              <a:effectLst/>
              <a:uLnTx/>
              <a:uFillTx/>
              <a:sym typeface="+mn-lt"/>
            </a:endParaRPr>
          </a:p>
        </p:txBody>
      </p:sp>
      <p:sp>
        <p:nvSpPr>
          <p:cNvPr id="246" name="Text Placeholder">
            <a:extLst>
              <a:ext uri="{FF2B5EF4-FFF2-40B4-BE49-F238E27FC236}">
                <a16:creationId xmlns:a16="http://schemas.microsoft.com/office/drawing/2014/main" id="{8A553E20-0523-459E-8999-5E6204CA6C45}"/>
              </a:ext>
            </a:extLst>
          </p:cNvPr>
          <p:cNvSpPr>
            <a:spLocks noGrp="1"/>
          </p:cNvSpPr>
          <p:nvPr>
            <p:custDataLst>
              <p:tags r:id="rId47"/>
            </p:custDataLst>
          </p:nvPr>
        </p:nvSpPr>
        <p:spPr bwMode="auto">
          <a:xfrm>
            <a:off x="1608138" y="2789238"/>
            <a:ext cx="6064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algn="r" defTabSz="914309">
              <a:spcBef>
                <a:spcPct val="0"/>
              </a:spcBef>
              <a:spcAft>
                <a:spcPct val="0"/>
              </a:spcAft>
              <a:defRPr/>
            </a:pPr>
            <a:fld id="{B5E608FF-D8C6-4D2B-A268-4AC435EE9FCC}" type="datetime'''''''''''I''nd''''''''''''u''''''''s''tr''''''''''y'''">
              <a:rPr lang="en-GB" altLang="en-US" sz="1200" b="1" kern="0" smtClean="0">
                <a:solidFill>
                  <a:srgbClr val="6F6F6F"/>
                </a:solidFill>
              </a:rPr>
              <a:pPr lvl="0" algn="r" defTabSz="914309">
                <a:spcBef>
                  <a:spcPct val="0"/>
                </a:spcBef>
                <a:spcAft>
                  <a:spcPct val="0"/>
                </a:spcAft>
                <a:defRPr/>
              </a:pPr>
              <a:t>Industry</a:t>
            </a:fld>
            <a:endParaRPr lang="en-GB" sz="1200" b="1" strike="noStrike" kern="0" normalizeH="0" noProof="0">
              <a:ln>
                <a:noFill/>
              </a:ln>
              <a:solidFill>
                <a:srgbClr val="6F6F6F"/>
              </a:solidFill>
              <a:effectLst/>
              <a:uLnTx/>
              <a:uFillTx/>
              <a:sym typeface="+mn-lt"/>
            </a:endParaRPr>
          </a:p>
        </p:txBody>
      </p:sp>
      <p:sp>
        <p:nvSpPr>
          <p:cNvPr id="292" name="Text Placeholder">
            <a:extLst>
              <a:ext uri="{FF2B5EF4-FFF2-40B4-BE49-F238E27FC236}">
                <a16:creationId xmlns:a16="http://schemas.microsoft.com/office/drawing/2014/main" id="{CE2255E4-8F51-4047-90E4-80A348125D79}"/>
              </a:ext>
            </a:extLst>
          </p:cNvPr>
          <p:cNvSpPr>
            <a:spLocks noGrp="1"/>
          </p:cNvSpPr>
          <p:nvPr>
            <p:custDataLst>
              <p:tags r:id="rId48"/>
            </p:custDataLst>
          </p:nvPr>
        </p:nvSpPr>
        <p:spPr bwMode="gray">
          <a:xfrm>
            <a:off x="5945188" y="4618038"/>
            <a:ext cx="1158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CEDDDC39-EE31-4A6F-B20A-7F84DF299893}" type="datetime'''''''''2'''''''''''''''''''''''''''''''''''">
              <a:rPr lang="en-GB" altLang="en-US" sz="1000" u="none" strike="noStrike" normalizeH="0" noProof="0" dirty="0">
                <a:ln>
                  <a:noFill/>
                </a:ln>
                <a:solidFill>
                  <a:srgbClr val="6F6F6F"/>
                </a:solidFill>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2</a:t>
            </a:fld>
            <a:endParaRPr lang="en-GB" sz="1000" u="none" strike="noStrike" normalizeH="0" noProof="0">
              <a:ln>
                <a:noFill/>
              </a:ln>
              <a:solidFill>
                <a:srgbClr val="6F6F6F"/>
              </a:solidFill>
              <a:effectLst/>
              <a:uLnTx/>
              <a:uFillTx/>
              <a:sym typeface="+mn-lt"/>
            </a:endParaRPr>
          </a:p>
        </p:txBody>
      </p:sp>
      <p:sp>
        <p:nvSpPr>
          <p:cNvPr id="255" name="Text Placeholder">
            <a:extLst>
              <a:ext uri="{FF2B5EF4-FFF2-40B4-BE49-F238E27FC236}">
                <a16:creationId xmlns:a16="http://schemas.microsoft.com/office/drawing/2014/main" id="{957A5CE4-29D7-447C-A428-5AAE9DC77B84}"/>
              </a:ext>
            </a:extLst>
          </p:cNvPr>
          <p:cNvSpPr>
            <a:spLocks noGrp="1"/>
          </p:cNvSpPr>
          <p:nvPr>
            <p:custDataLst>
              <p:tags r:id="rId49"/>
            </p:custDataLst>
          </p:nvPr>
        </p:nvSpPr>
        <p:spPr bwMode="gray">
          <a:xfrm>
            <a:off x="5881688" y="3646488"/>
            <a:ext cx="115888" cy="136525"/>
          </a:xfrm>
          <a:prstGeom prst="rect">
            <a:avLst/>
          </a:prstGeom>
          <a:solidFill>
            <a:schemeClr val="accent4"/>
          </a:solidFill>
          <a:ln>
            <a:noFill/>
          </a:ln>
          <a:effec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F97F3FAF-68C0-4A8B-B350-75F5A512E766}" type="datetime'''''1'''''''''''''''''''''''''''">
              <a:rPr lang="en-GB" altLang="en-US" sz="1000" u="none" strike="noStrike" normalizeH="0" noProof="0" dirty="0">
                <a:ln>
                  <a:noFill/>
                </a:ln>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1</a:t>
            </a:fld>
            <a:endParaRPr lang="en-GB" sz="1000" u="none" strike="noStrike" normalizeH="0" noProof="0">
              <a:ln>
                <a:noFill/>
              </a:ln>
              <a:effectLst/>
              <a:uLnTx/>
              <a:uFillTx/>
              <a:sym typeface="+mn-lt"/>
            </a:endParaRPr>
          </a:p>
        </p:txBody>
      </p:sp>
      <p:sp>
        <p:nvSpPr>
          <p:cNvPr id="285" name="Text Placeholder">
            <a:extLst>
              <a:ext uri="{FF2B5EF4-FFF2-40B4-BE49-F238E27FC236}">
                <a16:creationId xmlns:a16="http://schemas.microsoft.com/office/drawing/2014/main" id="{C0B4180D-3BEA-4270-8BA3-7CE532880335}"/>
              </a:ext>
            </a:extLst>
          </p:cNvPr>
          <p:cNvSpPr>
            <a:spLocks noGrp="1"/>
          </p:cNvSpPr>
          <p:nvPr>
            <p:custDataLst>
              <p:tags r:id="rId50"/>
            </p:custDataLst>
          </p:nvPr>
        </p:nvSpPr>
        <p:spPr bwMode="gray">
          <a:xfrm>
            <a:off x="5948363" y="3417888"/>
            <a:ext cx="115888" cy="136525"/>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E408EE86-95EA-4074-B282-2D082775767C}" type="datetime'''2'''''''''''''''''''''''''''''''''''''''''''''''''''''''">
              <a:rPr lang="en-GB" altLang="en-US" sz="1000" u="none" strike="noStrike" normalizeH="0" noProof="0" dirty="0">
                <a:ln>
                  <a:noFill/>
                </a:ln>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2</a:t>
            </a:fld>
            <a:endParaRPr lang="en-GB" sz="1000" u="none" strike="noStrike" normalizeH="0" noProof="0">
              <a:ln>
                <a:noFill/>
              </a:ln>
              <a:effectLst/>
              <a:uLnTx/>
              <a:uFillTx/>
              <a:sym typeface="+mn-lt"/>
            </a:endParaRPr>
          </a:p>
        </p:txBody>
      </p:sp>
      <p:sp>
        <p:nvSpPr>
          <p:cNvPr id="290" name="Text Placeholder">
            <a:extLst>
              <a:ext uri="{FF2B5EF4-FFF2-40B4-BE49-F238E27FC236}">
                <a16:creationId xmlns:a16="http://schemas.microsoft.com/office/drawing/2014/main" id="{32089FF4-4ED5-4393-847D-79D98A36EFD1}"/>
              </a:ext>
            </a:extLst>
          </p:cNvPr>
          <p:cNvSpPr>
            <a:spLocks noGrp="1"/>
          </p:cNvSpPr>
          <p:nvPr>
            <p:custDataLst>
              <p:tags r:id="rId51"/>
            </p:custDataLst>
          </p:nvPr>
        </p:nvSpPr>
        <p:spPr bwMode="gray">
          <a:xfrm>
            <a:off x="6296025" y="4618038"/>
            <a:ext cx="1158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fld id="{419FE82C-182F-414A-9BFA-C1B6DAE682CA}" type="datetime'''''''''''''''''''''''''''''''''''0'''''''''''''''''">
              <a:rPr lang="en-GB" altLang="en-US" sz="1000" u="none" strike="noStrike" normalizeH="0" noProof="0" dirty="0">
                <a:ln>
                  <a:noFill/>
                </a:ln>
                <a:solidFill>
                  <a:srgbClr val="6F6F6F"/>
                </a:solidFill>
                <a:effectLst/>
                <a:uLnTx/>
                <a:uFillTx/>
                <a:sym typeface="+mn-lt"/>
              </a:rPr>
              <a:pPr marL="0" marR="0" lvl="0" indent="0" algn="ctr" defTabSz="914309" rtl="0" eaLnBrk="1" fontAlgn="auto" latinLnBrk="0" hangingPunct="1">
                <a:lnSpc>
                  <a:spcPct val="90000"/>
                </a:lnSpc>
                <a:spcBef>
                  <a:spcPct val="0"/>
                </a:spcBef>
                <a:spcAft>
                  <a:spcPct val="0"/>
                </a:spcAft>
                <a:buClrTx/>
                <a:buSzTx/>
                <a:buFont typeface="Arial Narrow" pitchFamily="34" charset="0"/>
                <a:buNone/>
                <a:tabLst/>
                <a:defRPr/>
              </a:pPr>
              <a:t>0</a:t>
            </a:fld>
            <a:endParaRPr lang="en-GB" sz="1000" u="none" strike="noStrike" normalizeH="0" noProof="0">
              <a:ln>
                <a:noFill/>
              </a:ln>
              <a:solidFill>
                <a:srgbClr val="6F6F6F"/>
              </a:solidFill>
              <a:effectLst/>
              <a:uLnTx/>
              <a:uFillTx/>
              <a:sym typeface="+mn-lt"/>
            </a:endParaRPr>
          </a:p>
        </p:txBody>
      </p:sp>
      <p:sp>
        <p:nvSpPr>
          <p:cNvPr id="251" name="Text Placeholder">
            <a:extLst>
              <a:ext uri="{FF2B5EF4-FFF2-40B4-BE49-F238E27FC236}">
                <a16:creationId xmlns:a16="http://schemas.microsoft.com/office/drawing/2014/main" id="{7783A9D7-89E2-4F12-B51A-2F5803055185}"/>
              </a:ext>
            </a:extLst>
          </p:cNvPr>
          <p:cNvSpPr>
            <a:spLocks noGrp="1"/>
          </p:cNvSpPr>
          <p:nvPr>
            <p:custDataLst>
              <p:tags r:id="rId52"/>
            </p:custDataLst>
          </p:nvPr>
        </p:nvSpPr>
        <p:spPr bwMode="gray">
          <a:xfrm>
            <a:off x="6489700" y="2789238"/>
            <a:ext cx="3349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defTabSz="914309">
              <a:spcBef>
                <a:spcPct val="0"/>
              </a:spcBef>
              <a:spcAft>
                <a:spcPct val="0"/>
              </a:spcAft>
              <a:defRPr/>
            </a:pPr>
            <a:fld id="{267FCAA6-D574-41E0-B766-C3A7EC058FED}" type="datetime'1''''''''''''''''''''''''''''''9''''''''''9'''''">
              <a:rPr lang="en-GB" altLang="en-US" sz="1200" b="1" kern="0" smtClean="0">
                <a:solidFill>
                  <a:srgbClr val="6F6F6F"/>
                </a:solidFill>
              </a:rPr>
              <a:pPr lvl="0" defTabSz="914309">
                <a:spcBef>
                  <a:spcPct val="0"/>
                </a:spcBef>
                <a:spcAft>
                  <a:spcPct val="0"/>
                </a:spcAft>
                <a:defRPr/>
              </a:pPr>
              <a:t>199</a:t>
            </a:fld>
            <a:endParaRPr lang="en-GB" sz="1200" b="1" strike="noStrike" kern="0" normalizeH="0" noProof="0">
              <a:ln>
                <a:noFill/>
              </a:ln>
              <a:solidFill>
                <a:srgbClr val="6F6F6F"/>
              </a:solidFill>
              <a:effectLst/>
              <a:uLnTx/>
              <a:uFillTx/>
              <a:sym typeface="+mn-lt"/>
            </a:endParaRPr>
          </a:p>
        </p:txBody>
      </p:sp>
      <p:sp>
        <p:nvSpPr>
          <p:cNvPr id="256" name="Text Placeholder">
            <a:extLst>
              <a:ext uri="{FF2B5EF4-FFF2-40B4-BE49-F238E27FC236}">
                <a16:creationId xmlns:a16="http://schemas.microsoft.com/office/drawing/2014/main" id="{F150C418-0B50-402C-9A21-5185DB34AC2A}"/>
              </a:ext>
            </a:extLst>
          </p:cNvPr>
          <p:cNvSpPr>
            <a:spLocks noGrp="1"/>
          </p:cNvSpPr>
          <p:nvPr>
            <p:custDataLst>
              <p:tags r:id="rId53"/>
            </p:custDataLst>
          </p:nvPr>
        </p:nvSpPr>
        <p:spPr bwMode="gray">
          <a:xfrm>
            <a:off x="6489700" y="3517900"/>
            <a:ext cx="2381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309" rtl="0" eaLnBrk="1" fontAlgn="auto" latinLnBrk="0" hangingPunct="1">
              <a:lnSpc>
                <a:spcPct val="90000"/>
              </a:lnSpc>
              <a:spcBef>
                <a:spcPct val="0"/>
              </a:spcBef>
              <a:spcAft>
                <a:spcPct val="0"/>
              </a:spcAft>
              <a:buClrTx/>
              <a:buSzTx/>
              <a:buFont typeface="Arial Narrow" pitchFamily="34" charset="0"/>
              <a:buNone/>
              <a:tabLst/>
              <a:defRPr/>
            </a:pPr>
            <a:fld id="{4458A0A7-2753-4B01-BA74-CBF60B0A9179}" type="datetime'''''''''9''''''''''''''''''''''''''''''1'''''''''">
              <a:rPr lang="en-GB" altLang="en-US" sz="1200" b="1" u="none" strike="noStrike" kern="0" normalizeH="0" noProof="0" dirty="0">
                <a:ln>
                  <a:noFill/>
                </a:ln>
                <a:solidFill>
                  <a:srgbClr val="6F6F6F"/>
                </a:solidFill>
                <a:effectLst/>
                <a:uLnTx/>
                <a:uFillTx/>
                <a:sym typeface="+mn-lt"/>
              </a:rPr>
              <a:pPr marL="0" marR="0" lvl="0" indent="0" algn="l" defTabSz="914309" rtl="0" eaLnBrk="1" fontAlgn="auto" latinLnBrk="0" hangingPunct="1">
                <a:lnSpc>
                  <a:spcPct val="90000"/>
                </a:lnSpc>
                <a:spcBef>
                  <a:spcPct val="0"/>
                </a:spcBef>
                <a:spcAft>
                  <a:spcPct val="0"/>
                </a:spcAft>
                <a:buClrTx/>
                <a:buSzTx/>
                <a:buFont typeface="Arial Narrow" pitchFamily="34" charset="0"/>
                <a:buNone/>
                <a:tabLst/>
                <a:defRPr/>
              </a:pPr>
              <a:t>91</a:t>
            </a:fld>
            <a:endParaRPr lang="en-GB" sz="1200" b="1" u="none" strike="noStrike" kern="0" normalizeH="0" noProof="0">
              <a:ln>
                <a:noFill/>
              </a:ln>
              <a:solidFill>
                <a:srgbClr val="6F6F6F"/>
              </a:solidFill>
              <a:effectLst/>
              <a:uLnTx/>
              <a:uFillTx/>
              <a:sym typeface="+mn-lt"/>
            </a:endParaRPr>
          </a:p>
        </p:txBody>
      </p:sp>
      <p:sp>
        <p:nvSpPr>
          <p:cNvPr id="289" name="Text Placeholder">
            <a:extLst>
              <a:ext uri="{FF2B5EF4-FFF2-40B4-BE49-F238E27FC236}">
                <a16:creationId xmlns:a16="http://schemas.microsoft.com/office/drawing/2014/main" id="{A4E4B4AD-452F-4A98-93F0-19753129F2E3}"/>
              </a:ext>
            </a:extLst>
          </p:cNvPr>
          <p:cNvSpPr>
            <a:spLocks noGrp="1"/>
          </p:cNvSpPr>
          <p:nvPr>
            <p:custDataLst>
              <p:tags r:id="rId54"/>
            </p:custDataLst>
          </p:nvPr>
        </p:nvSpPr>
        <p:spPr bwMode="gray">
          <a:xfrm>
            <a:off x="6489700" y="4494213"/>
            <a:ext cx="2381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309" rtl="0" eaLnBrk="1" fontAlgn="auto" latinLnBrk="0" hangingPunct="1">
              <a:lnSpc>
                <a:spcPct val="90000"/>
              </a:lnSpc>
              <a:spcBef>
                <a:spcPct val="0"/>
              </a:spcBef>
              <a:spcAft>
                <a:spcPct val="0"/>
              </a:spcAft>
              <a:buClrTx/>
              <a:buSzTx/>
              <a:buFont typeface="Arial Narrow" pitchFamily="34" charset="0"/>
              <a:buNone/>
              <a:tabLst/>
              <a:defRPr/>
            </a:pPr>
            <a:fld id="{A006FB0E-2392-4282-99BA-33DA954BEFC3}" type="datetime'''''1''0'''''''''''''''">
              <a:rPr lang="en-GB" altLang="en-US" sz="1200" b="1" u="none" strike="noStrike" kern="0" normalizeH="0" noProof="0" dirty="0">
                <a:ln>
                  <a:noFill/>
                </a:ln>
                <a:solidFill>
                  <a:srgbClr val="6F6F6F"/>
                </a:solidFill>
                <a:effectLst/>
                <a:uLnTx/>
                <a:uFillTx/>
                <a:sym typeface="+mn-lt"/>
              </a:rPr>
              <a:pPr marL="0" marR="0" lvl="0" indent="0" algn="l" defTabSz="914309" rtl="0" eaLnBrk="1" fontAlgn="auto" latinLnBrk="0" hangingPunct="1">
                <a:lnSpc>
                  <a:spcPct val="90000"/>
                </a:lnSpc>
                <a:spcBef>
                  <a:spcPct val="0"/>
                </a:spcBef>
                <a:spcAft>
                  <a:spcPct val="0"/>
                </a:spcAft>
                <a:buClrTx/>
                <a:buSzTx/>
                <a:buFont typeface="Arial Narrow" pitchFamily="34" charset="0"/>
                <a:buNone/>
                <a:tabLst/>
                <a:defRPr/>
              </a:pPr>
              <a:t>10</a:t>
            </a:fld>
            <a:endParaRPr lang="en-GB" sz="1200" b="1" u="none" strike="noStrike" kern="0" normalizeH="0" noProof="0">
              <a:ln>
                <a:noFill/>
              </a:ln>
              <a:solidFill>
                <a:srgbClr val="6F6F6F"/>
              </a:solidFill>
              <a:effectLst/>
              <a:uLnTx/>
              <a:uFillTx/>
              <a:sym typeface="+mn-lt"/>
            </a:endParaRPr>
          </a:p>
        </p:txBody>
      </p:sp>
      <p:sp>
        <p:nvSpPr>
          <p:cNvPr id="136" name="Rectangle 135">
            <a:extLst>
              <a:ext uri="{FF2B5EF4-FFF2-40B4-BE49-F238E27FC236}">
                <a16:creationId xmlns:a16="http://schemas.microsoft.com/office/drawing/2014/main" id="{48F7F45C-748F-4835-8039-2156F7BAAD37}"/>
              </a:ext>
            </a:extLst>
          </p:cNvPr>
          <p:cNvSpPr/>
          <p:nvPr>
            <p:custDataLst>
              <p:tags r:id="rId55"/>
            </p:custDataLst>
          </p:nvPr>
        </p:nvSpPr>
        <p:spPr bwMode="auto">
          <a:xfrm>
            <a:off x="4841875" y="5918200"/>
            <a:ext cx="179388" cy="133350"/>
          </a:xfrm>
          <a:prstGeom prst="rect">
            <a:avLst/>
          </a:prstGeom>
          <a:solidFill>
            <a:srgbClr val="4C6C9C"/>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144" name="Rectangle 143">
            <a:extLst>
              <a:ext uri="{FF2B5EF4-FFF2-40B4-BE49-F238E27FC236}">
                <a16:creationId xmlns:a16="http://schemas.microsoft.com/office/drawing/2014/main" id="{672E1D5D-EAA0-43E8-8619-5618B84DBC83}"/>
              </a:ext>
            </a:extLst>
          </p:cNvPr>
          <p:cNvSpPr/>
          <p:nvPr>
            <p:custDataLst>
              <p:tags r:id="rId56"/>
            </p:custDataLst>
          </p:nvPr>
        </p:nvSpPr>
        <p:spPr bwMode="auto">
          <a:xfrm>
            <a:off x="1035050" y="5918200"/>
            <a:ext cx="179388" cy="133350"/>
          </a:xfrm>
          <a:prstGeom prst="rect">
            <a:avLst/>
          </a:prstGeom>
          <a:solidFill>
            <a:schemeClr val="tx1"/>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139" name="Rectangle 138">
            <a:extLst>
              <a:ext uri="{FF2B5EF4-FFF2-40B4-BE49-F238E27FC236}">
                <a16:creationId xmlns:a16="http://schemas.microsoft.com/office/drawing/2014/main" id="{471E8760-CCC9-4833-B71D-D43E4611DC37}"/>
              </a:ext>
            </a:extLst>
          </p:cNvPr>
          <p:cNvSpPr/>
          <p:nvPr>
            <p:custDataLst>
              <p:tags r:id="rId57"/>
            </p:custDataLst>
          </p:nvPr>
        </p:nvSpPr>
        <p:spPr bwMode="auto">
          <a:xfrm>
            <a:off x="3582988" y="5918200"/>
            <a:ext cx="179388" cy="133350"/>
          </a:xfrm>
          <a:prstGeom prst="rect">
            <a:avLst/>
          </a:prstGeom>
          <a:solidFill>
            <a:schemeClr val="accent3"/>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142" name="Rectangle 141">
            <a:extLst>
              <a:ext uri="{FF2B5EF4-FFF2-40B4-BE49-F238E27FC236}">
                <a16:creationId xmlns:a16="http://schemas.microsoft.com/office/drawing/2014/main" id="{535814A7-3C95-47AD-8C38-EC46F4CBA197}"/>
              </a:ext>
            </a:extLst>
          </p:cNvPr>
          <p:cNvSpPr/>
          <p:nvPr>
            <p:custDataLst>
              <p:tags r:id="rId58"/>
            </p:custDataLst>
          </p:nvPr>
        </p:nvSpPr>
        <p:spPr bwMode="auto">
          <a:xfrm>
            <a:off x="1622425" y="5918200"/>
            <a:ext cx="179388" cy="133350"/>
          </a:xfrm>
          <a:prstGeom prst="rect">
            <a:avLst/>
          </a:prstGeom>
          <a:solidFill>
            <a:schemeClr val="accent4"/>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141" name="Rectangle 140">
            <a:extLst>
              <a:ext uri="{FF2B5EF4-FFF2-40B4-BE49-F238E27FC236}">
                <a16:creationId xmlns:a16="http://schemas.microsoft.com/office/drawing/2014/main" id="{4DB19150-0A03-42BA-880A-4C9206883FE8}"/>
              </a:ext>
            </a:extLst>
          </p:cNvPr>
          <p:cNvSpPr/>
          <p:nvPr>
            <p:custDataLst>
              <p:tags r:id="rId59"/>
            </p:custDataLst>
          </p:nvPr>
        </p:nvSpPr>
        <p:spPr bwMode="auto">
          <a:xfrm>
            <a:off x="2657475" y="5918200"/>
            <a:ext cx="179388" cy="133350"/>
          </a:xfrm>
          <a:prstGeom prst="rect">
            <a:avLst/>
          </a:prstGeom>
          <a:solidFill>
            <a:schemeClr val="accent2"/>
          </a:solidFill>
          <a:ln w="9525" cap="flat" cmpd="sng" algn="ctr">
            <a:solidFill>
              <a:schemeClr val="bg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354" rtl="0" eaLnBrk="1" fontAlgn="auto" latinLnBrk="0" hangingPunct="1">
              <a:lnSpc>
                <a:spcPct val="90000"/>
              </a:lnSpc>
              <a:spcBef>
                <a:spcPts val="400"/>
              </a:spcBef>
              <a:spcAft>
                <a:spcPts val="0"/>
              </a:spcAft>
              <a:buClrTx/>
              <a:buSzTx/>
              <a:buFontTx/>
              <a:buNone/>
              <a:tabLst/>
              <a:defRPr/>
            </a:pPr>
            <a:endParaRPr kumimoji="0" lang="en-GB" sz="1500" b="0" i="0" u="none" strike="noStrike" kern="1200" cap="none" spc="0" normalizeH="0" baseline="0" noProof="0">
              <a:ln>
                <a:noFill/>
              </a:ln>
              <a:solidFill>
                <a:srgbClr val="6F6F6F"/>
              </a:solidFill>
              <a:effectLst/>
              <a:uLnTx/>
              <a:uFillTx/>
              <a:latin typeface="Arial"/>
              <a:ea typeface="+mn-ea"/>
              <a:cs typeface="+mn-cs"/>
            </a:endParaRPr>
          </a:p>
        </p:txBody>
      </p:sp>
      <p:sp>
        <p:nvSpPr>
          <p:cNvPr id="262" name="Text Placeholder">
            <a:extLst>
              <a:ext uri="{FF2B5EF4-FFF2-40B4-BE49-F238E27FC236}">
                <a16:creationId xmlns:a16="http://schemas.microsoft.com/office/drawing/2014/main" id="{11DA0715-9898-43CF-9414-E5AF4BFB1046}"/>
              </a:ext>
            </a:extLst>
          </p:cNvPr>
          <p:cNvSpPr>
            <a:spLocks noGrp="1"/>
          </p:cNvSpPr>
          <p:nvPr>
            <p:custDataLst>
              <p:tags r:id="rId60"/>
            </p:custDataLst>
          </p:nvPr>
        </p:nvSpPr>
        <p:spPr bwMode="auto">
          <a:xfrm>
            <a:off x="1265238" y="5926139"/>
            <a:ext cx="2555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defTabSz="914309">
              <a:spcBef>
                <a:spcPct val="0"/>
              </a:spcBef>
              <a:spcAft>
                <a:spcPct val="0"/>
              </a:spcAft>
              <a:defRPr/>
            </a:pPr>
            <a:fld id="{BE56015B-366D-4DC3-AA6A-3168C915AC69}" type="datetime'F''''''''u''''''''''''''el'''''''''''''''''''''''''''">
              <a:rPr lang="en-GB" altLang="en-US" sz="1000" smtClean="0">
                <a:solidFill>
                  <a:srgbClr val="6F6F6F"/>
                </a:solidFill>
              </a:rPr>
              <a:pPr lvl="0" defTabSz="914309">
                <a:spcBef>
                  <a:spcPct val="0"/>
                </a:spcBef>
                <a:spcAft>
                  <a:spcPct val="0"/>
                </a:spcAft>
                <a:defRPr/>
              </a:pPr>
              <a:t>Fuel</a:t>
            </a:fld>
            <a:endParaRPr lang="en-GB" sz="1000" strike="noStrike" normalizeH="0" noProof="0">
              <a:ln>
                <a:noFill/>
              </a:ln>
              <a:solidFill>
                <a:srgbClr val="6F6F6F"/>
              </a:solidFill>
              <a:effectLst/>
              <a:uLnTx/>
              <a:uFillTx/>
              <a:sym typeface="+mn-lt"/>
            </a:endParaRPr>
          </a:p>
        </p:txBody>
      </p:sp>
      <p:sp>
        <p:nvSpPr>
          <p:cNvPr id="264" name="Text Placeholder">
            <a:extLst>
              <a:ext uri="{FF2B5EF4-FFF2-40B4-BE49-F238E27FC236}">
                <a16:creationId xmlns:a16="http://schemas.microsoft.com/office/drawing/2014/main" id="{AE1AFE59-32AC-4884-BEEF-9B6114497B4F}"/>
              </a:ext>
            </a:extLst>
          </p:cNvPr>
          <p:cNvSpPr>
            <a:spLocks noGrp="1"/>
          </p:cNvSpPr>
          <p:nvPr>
            <p:custDataLst>
              <p:tags r:id="rId61"/>
            </p:custDataLst>
          </p:nvPr>
        </p:nvSpPr>
        <p:spPr bwMode="auto">
          <a:xfrm>
            <a:off x="1852614" y="5926139"/>
            <a:ext cx="7032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defTabSz="914309">
              <a:spcBef>
                <a:spcPct val="0"/>
              </a:spcBef>
              <a:spcAft>
                <a:spcPct val="0"/>
              </a:spcAft>
              <a:defRPr/>
            </a:pPr>
            <a:fld id="{8D812327-84BC-4AC3-92B7-3F514610CAA8}" type="datetime'''''''''N''''at''u''''r''a''l'''''''' ''g''a''s'">
              <a:rPr lang="en-GB" altLang="en-US" sz="1000" smtClean="0">
                <a:solidFill>
                  <a:srgbClr val="6F6F6F"/>
                </a:solidFill>
              </a:rPr>
              <a:pPr lvl="0" defTabSz="914309">
                <a:spcBef>
                  <a:spcPct val="0"/>
                </a:spcBef>
                <a:spcAft>
                  <a:spcPct val="0"/>
                </a:spcAft>
                <a:defRPr/>
              </a:pPr>
              <a:t>Natural gas</a:t>
            </a:fld>
            <a:endParaRPr lang="en-GB" sz="1000" strike="noStrike" normalizeH="0" noProof="0">
              <a:ln>
                <a:noFill/>
              </a:ln>
              <a:solidFill>
                <a:srgbClr val="6F6F6F"/>
              </a:solidFill>
              <a:effectLst/>
              <a:uLnTx/>
              <a:uFillTx/>
              <a:sym typeface="+mn-lt"/>
            </a:endParaRPr>
          </a:p>
        </p:txBody>
      </p:sp>
      <p:sp>
        <p:nvSpPr>
          <p:cNvPr id="277" name="Text Placeholder">
            <a:extLst>
              <a:ext uri="{FF2B5EF4-FFF2-40B4-BE49-F238E27FC236}">
                <a16:creationId xmlns:a16="http://schemas.microsoft.com/office/drawing/2014/main" id="{26842C0E-BB84-4930-82E7-3998463AF4A3}"/>
              </a:ext>
            </a:extLst>
          </p:cNvPr>
          <p:cNvSpPr>
            <a:spLocks noGrp="1"/>
          </p:cNvSpPr>
          <p:nvPr>
            <p:custDataLst>
              <p:tags r:id="rId62"/>
            </p:custDataLst>
          </p:nvPr>
        </p:nvSpPr>
        <p:spPr bwMode="auto">
          <a:xfrm>
            <a:off x="2887664" y="5926139"/>
            <a:ext cx="5937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defTabSz="914309">
              <a:spcBef>
                <a:spcPct val="0"/>
              </a:spcBef>
              <a:spcAft>
                <a:spcPct val="0"/>
              </a:spcAft>
              <a:defRPr/>
            </a:pPr>
            <a:fld id="{A4475117-9CF2-45F9-B137-37FFFBA3FED6}" type="datetime'E''''l''''''e''''''''''c''t''r''''''''i''''''ci''t''y'">
              <a:rPr lang="en-GB" altLang="en-US" sz="1000" smtClean="0">
                <a:solidFill>
                  <a:srgbClr val="6F6F6F"/>
                </a:solidFill>
              </a:rPr>
              <a:pPr lvl="0" defTabSz="914309">
                <a:spcBef>
                  <a:spcPct val="0"/>
                </a:spcBef>
                <a:spcAft>
                  <a:spcPct val="0"/>
                </a:spcAft>
                <a:defRPr/>
              </a:pPr>
              <a:t>Electricity</a:t>
            </a:fld>
            <a:endParaRPr lang="en-GB" sz="1000" strike="noStrike" normalizeH="0" noProof="0">
              <a:ln>
                <a:noFill/>
              </a:ln>
              <a:solidFill>
                <a:srgbClr val="6F6F6F"/>
              </a:solidFill>
              <a:effectLst/>
              <a:uLnTx/>
              <a:uFillTx/>
              <a:sym typeface="+mn-lt"/>
            </a:endParaRPr>
          </a:p>
        </p:txBody>
      </p:sp>
      <p:sp>
        <p:nvSpPr>
          <p:cNvPr id="278" name="Text Placeholder">
            <a:extLst>
              <a:ext uri="{FF2B5EF4-FFF2-40B4-BE49-F238E27FC236}">
                <a16:creationId xmlns:a16="http://schemas.microsoft.com/office/drawing/2014/main" id="{92FB0B26-7586-4C9E-A578-F038A6439C4F}"/>
              </a:ext>
            </a:extLst>
          </p:cNvPr>
          <p:cNvSpPr>
            <a:spLocks noGrp="1"/>
          </p:cNvSpPr>
          <p:nvPr>
            <p:custDataLst>
              <p:tags r:id="rId63"/>
            </p:custDataLst>
          </p:nvPr>
        </p:nvSpPr>
        <p:spPr bwMode="auto">
          <a:xfrm>
            <a:off x="3813175" y="5926139"/>
            <a:ext cx="9271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defTabSz="914309">
              <a:spcBef>
                <a:spcPct val="0"/>
              </a:spcBef>
              <a:spcAft>
                <a:spcPct val="0"/>
              </a:spcAft>
              <a:defRPr/>
            </a:pPr>
            <a:fld id="{3B7E0E6D-203C-44E7-B5F8-2C1F76E05AB6}" type="datetime'''''''''''''''Re''''''''''''n''''''ewab''''le''''s'''''''">
              <a:rPr lang="en-GB" altLang="en-US" sz="1000" smtClean="0">
                <a:solidFill>
                  <a:srgbClr val="6F6F6F"/>
                </a:solidFill>
              </a:rPr>
              <a:pPr lvl="0" defTabSz="914309">
                <a:spcBef>
                  <a:spcPct val="0"/>
                </a:spcBef>
                <a:spcAft>
                  <a:spcPct val="0"/>
                </a:spcAft>
                <a:defRPr/>
              </a:pPr>
              <a:t>Renewables</a:t>
            </a:fld>
            <a:r>
              <a:rPr lang="en-GB" altLang="en-US" sz="1000" u="none" strike="noStrike" normalizeH="0" noProof="0">
                <a:ln>
                  <a:noFill/>
                </a:ln>
                <a:solidFill>
                  <a:srgbClr val="6F6F6F"/>
                </a:solidFill>
                <a:effectLst/>
                <a:uLnTx/>
                <a:uFillTx/>
                <a:sym typeface="+mn-lt"/>
              </a:rPr>
              <a:t> (3)</a:t>
            </a:r>
            <a:endParaRPr lang="en-GB" sz="1000" u="none" strike="noStrike" normalizeH="0" noProof="0">
              <a:ln>
                <a:noFill/>
              </a:ln>
              <a:solidFill>
                <a:srgbClr val="6F6F6F"/>
              </a:solidFill>
              <a:effectLst/>
              <a:uLnTx/>
              <a:uFillTx/>
              <a:sym typeface="+mn-lt"/>
            </a:endParaRPr>
          </a:p>
        </p:txBody>
      </p:sp>
      <p:sp>
        <p:nvSpPr>
          <p:cNvPr id="279" name="Text Placeholder">
            <a:extLst>
              <a:ext uri="{FF2B5EF4-FFF2-40B4-BE49-F238E27FC236}">
                <a16:creationId xmlns:a16="http://schemas.microsoft.com/office/drawing/2014/main" id="{F6438FC1-39AB-48D0-B8FB-14C390BB3095}"/>
              </a:ext>
            </a:extLst>
          </p:cNvPr>
          <p:cNvSpPr>
            <a:spLocks noGrp="1"/>
          </p:cNvSpPr>
          <p:nvPr>
            <p:custDataLst>
              <p:tags r:id="rId64"/>
            </p:custDataLst>
          </p:nvPr>
        </p:nvSpPr>
        <p:spPr bwMode="auto">
          <a:xfrm>
            <a:off x="5072063" y="5926139"/>
            <a:ext cx="61753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54" rtl="0" eaLnBrk="1" latinLnBrk="0" hangingPunct="1">
              <a:lnSpc>
                <a:spcPct val="90000"/>
              </a:lnSpc>
              <a:spcBef>
                <a:spcPts val="0"/>
              </a:spcBef>
              <a:buFont typeface="Arial Narrow" pitchFamily="34" charset="0"/>
              <a:buNone/>
              <a:defRPr lang="en-US" sz="1600" b="0" i="0" kern="1200" baseline="0" dirty="0" smtClean="0">
                <a:solidFill>
                  <a:schemeClr val="tx1"/>
                </a:solidFill>
                <a:latin typeface="+mn-lt"/>
                <a:ea typeface="+mn-ea"/>
                <a:cs typeface="+mn-cs"/>
                <a:sym typeface="+mn-lt"/>
              </a:defRPr>
            </a:lvl1pPr>
            <a:lvl2pPr marL="230389" indent="-230389" algn="l" defTabSz="914354" rtl="0" eaLnBrk="1" latinLnBrk="0" hangingPunct="1">
              <a:lnSpc>
                <a:spcPct val="90000"/>
              </a:lnSpc>
              <a:spcBef>
                <a:spcPts val="1200"/>
              </a:spcBef>
              <a:buClr>
                <a:schemeClr val="accent4"/>
              </a:buClr>
              <a:buFont typeface="Wingdings" panose="05000000000000000000" pitchFamily="2" charset="2"/>
              <a:buChar char="§"/>
              <a:defRPr lang="en-US" sz="1600" b="0" kern="1200" dirty="0" smtClean="0">
                <a:solidFill>
                  <a:schemeClr val="tx1"/>
                </a:solidFill>
                <a:latin typeface="+mn-lt"/>
                <a:ea typeface="+mn-ea"/>
                <a:cs typeface="+mn-cs"/>
                <a:sym typeface="+mn-lt"/>
              </a:defRPr>
            </a:lvl2pPr>
            <a:lvl3pPr marL="482376" indent="-233989" algn="l" defTabSz="914354" rtl="0" eaLnBrk="1" latinLnBrk="0" hangingPunct="1">
              <a:lnSpc>
                <a:spcPct val="90000"/>
              </a:lnSpc>
              <a:spcBef>
                <a:spcPts val="400"/>
              </a:spcBef>
              <a:buFont typeface="Arial Narrow" pitchFamily="34" charset="0"/>
              <a:buChar char="–"/>
              <a:defRPr lang="en-US" sz="1600" b="0" kern="1200" dirty="0" smtClean="0">
                <a:solidFill>
                  <a:schemeClr val="tx1"/>
                </a:solidFill>
                <a:latin typeface="+mn-lt"/>
                <a:ea typeface="+mn-ea"/>
                <a:cs typeface="+mn-cs"/>
                <a:sym typeface="+mn-lt"/>
              </a:defRPr>
            </a:lvl3pPr>
            <a:lvl4pPr marL="698365" indent="-201590" algn="l" defTabSz="914354" rtl="0" eaLnBrk="1" latinLnBrk="0" hangingPunct="1">
              <a:lnSpc>
                <a:spcPct val="90000"/>
              </a:lnSpc>
              <a:spcBef>
                <a:spcPts val="200"/>
              </a:spcBef>
              <a:buFont typeface="Arial Narrow" pitchFamily="34" charset="0"/>
              <a:buChar char="-"/>
              <a:defRPr lang="en-US" sz="1600" b="0" kern="1200" dirty="0">
                <a:solidFill>
                  <a:schemeClr val="tx1"/>
                </a:solidFill>
                <a:latin typeface="+mn-lt"/>
                <a:ea typeface="+mn-ea"/>
                <a:cs typeface="+mn-cs"/>
                <a:sym typeface="+mn-lt"/>
              </a:defRPr>
            </a:lvl4pPr>
            <a:lvl5pPr marL="698365" indent="0" algn="l" defTabSz="914354"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474"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lvl="0" defTabSz="914309">
              <a:spcBef>
                <a:spcPct val="0"/>
              </a:spcBef>
              <a:spcAft>
                <a:spcPct val="0"/>
              </a:spcAft>
              <a:defRPr/>
            </a:pPr>
            <a:fld id="{2C9E70AE-6D6D-44AC-A53D-D67480611D1C}" type="datetime'O''''''''''''''''''the''''r''s'''''">
              <a:rPr lang="en-GB" altLang="en-US" sz="1000" smtClean="0">
                <a:solidFill>
                  <a:srgbClr val="6F6F6F"/>
                </a:solidFill>
              </a:rPr>
              <a:pPr lvl="0" defTabSz="914309">
                <a:spcBef>
                  <a:spcPct val="0"/>
                </a:spcBef>
                <a:spcAft>
                  <a:spcPct val="0"/>
                </a:spcAft>
                <a:defRPr/>
              </a:pPr>
              <a:t>Others</a:t>
            </a:fld>
            <a:r>
              <a:rPr lang="en-GB" altLang="en-US" sz="1000" u="none" strike="noStrike" normalizeH="0" noProof="0">
                <a:ln>
                  <a:noFill/>
                </a:ln>
                <a:solidFill>
                  <a:srgbClr val="6F6F6F"/>
                </a:solidFill>
                <a:effectLst/>
                <a:uLnTx/>
                <a:uFillTx/>
                <a:sym typeface="+mn-lt"/>
              </a:rPr>
              <a:t> (4)</a:t>
            </a:r>
            <a:endParaRPr lang="en-GB" sz="1000" u="none" strike="noStrike" normalizeH="0" noProof="0">
              <a:ln>
                <a:noFill/>
              </a:ln>
              <a:solidFill>
                <a:srgbClr val="6F6F6F"/>
              </a:solidFill>
              <a:effectLst/>
              <a:uLnTx/>
              <a:uFillTx/>
              <a:sym typeface="+mn-lt"/>
            </a:endParaRPr>
          </a:p>
        </p:txBody>
      </p:sp>
      <p:graphicFrame>
        <p:nvGraphicFramePr>
          <p:cNvPr id="109" name="Chart 108">
            <a:extLst>
              <a:ext uri="{FF2B5EF4-FFF2-40B4-BE49-F238E27FC236}">
                <a16:creationId xmlns:a16="http://schemas.microsoft.com/office/drawing/2014/main" id="{AFDCFA09-BEAE-44F5-9CDB-B739BA03959C}"/>
              </a:ext>
            </a:extLst>
          </p:cNvPr>
          <p:cNvGraphicFramePr/>
          <p:nvPr/>
        </p:nvGraphicFramePr>
        <p:xfrm>
          <a:off x="2625725" y="4602163"/>
          <a:ext cx="3786188" cy="1055687"/>
        </p:xfrm>
        <a:graphic>
          <a:graphicData uri="http://schemas.openxmlformats.org/drawingml/2006/chart">
            <c:chart xmlns:c="http://schemas.openxmlformats.org/drawingml/2006/chart" xmlns:r="http://schemas.openxmlformats.org/officeDocument/2006/relationships" r:id="rId90"/>
          </a:graphicData>
        </a:graphic>
      </p:graphicFrame>
      <p:graphicFrame>
        <p:nvGraphicFramePr>
          <p:cNvPr id="124" name="Chart 123">
            <a:extLst>
              <a:ext uri="{FF2B5EF4-FFF2-40B4-BE49-F238E27FC236}">
                <a16:creationId xmlns:a16="http://schemas.microsoft.com/office/drawing/2014/main" id="{7D3ACD0F-D161-4A80-A73A-6C567C67F8B0}"/>
              </a:ext>
            </a:extLst>
          </p:cNvPr>
          <p:cNvGraphicFramePr/>
          <p:nvPr>
            <p:custDataLst>
              <p:tags r:id="rId65"/>
            </p:custDataLst>
          </p:nvPr>
        </p:nvGraphicFramePr>
        <p:xfrm>
          <a:off x="2233613" y="4602163"/>
          <a:ext cx="4260850" cy="1055687"/>
        </p:xfrm>
        <a:graphic>
          <a:graphicData uri="http://schemas.openxmlformats.org/drawingml/2006/chart">
            <c:chart xmlns:c="http://schemas.openxmlformats.org/drawingml/2006/chart" xmlns:r="http://schemas.openxmlformats.org/officeDocument/2006/relationships" r:id="rId91"/>
          </a:graphicData>
        </a:graphic>
      </p:graphicFrame>
      <p:cxnSp>
        <p:nvCxnSpPr>
          <p:cNvPr id="334" name="Straight Connector 333">
            <a:extLst>
              <a:ext uri="{FF2B5EF4-FFF2-40B4-BE49-F238E27FC236}">
                <a16:creationId xmlns:a16="http://schemas.microsoft.com/office/drawing/2014/main" id="{1498B04A-C7C4-4F7F-8BD3-7BBFEB5263AB}"/>
              </a:ext>
            </a:extLst>
          </p:cNvPr>
          <p:cNvCxnSpPr>
            <a:cxnSpLocks/>
          </p:cNvCxnSpPr>
          <p:nvPr>
            <p:custDataLst>
              <p:tags r:id="rId66"/>
            </p:custDataLst>
          </p:nvPr>
        </p:nvCxnSpPr>
        <p:spPr bwMode="auto">
          <a:xfrm flipV="1">
            <a:off x="6411913" y="5441950"/>
            <a:ext cx="0" cy="203200"/>
          </a:xfrm>
          <a:prstGeom prst="line">
            <a:avLst/>
          </a:prstGeom>
          <a:ln w="9525" cap="flat" cmpd="sng" algn="ctr">
            <a:solidFill>
              <a:schemeClr val="tx1"/>
            </a:solidFill>
            <a:prstDash val="solid"/>
            <a:round/>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337" name="Text Placeholder">
            <a:extLst>
              <a:ext uri="{FF2B5EF4-FFF2-40B4-BE49-F238E27FC236}">
                <a16:creationId xmlns:a16="http://schemas.microsoft.com/office/drawing/2014/main" id="{A32FC3DE-F776-4352-8A7B-3D584713735F}"/>
              </a:ext>
            </a:extLst>
          </p:cNvPr>
          <p:cNvSpPr>
            <a:spLocks noGrp="1"/>
          </p:cNvSpPr>
          <p:nvPr>
            <p:custDataLst>
              <p:tags r:id="rId67"/>
            </p:custDataLst>
          </p:nvPr>
        </p:nvSpPr>
        <p:spPr bwMode="gray">
          <a:xfrm>
            <a:off x="6456363" y="5046662"/>
            <a:ext cx="3349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332" rtl="0" eaLnBrk="1" fontAlgn="base" latinLnBrk="0" hangingPunct="1">
              <a:lnSpc>
                <a:spcPct val="90000"/>
              </a:lnSpc>
              <a:spcBef>
                <a:spcPct val="0"/>
              </a:spcBef>
              <a:spcAft>
                <a:spcPct val="0"/>
              </a:spcAft>
              <a:buClrTx/>
              <a:buSzTx/>
              <a:buFont typeface="Arial Narrow" pitchFamily="34" charset="0"/>
              <a:buNone/>
              <a:tabLst/>
              <a:defRPr/>
            </a:pPr>
            <a:r>
              <a:rPr lang="en-US" altLang="en-US" sz="1200" b="1" u="none" strike="noStrike" normalizeH="0" noProof="0">
                <a:ln>
                  <a:noFill/>
                </a:ln>
                <a:solidFill>
                  <a:srgbClr val="6F6F6F"/>
                </a:solidFill>
                <a:effectLst/>
                <a:uLnTx/>
                <a:uFillTx/>
                <a:sym typeface="Symbol" panose="05050102010706020507" pitchFamily="18" charset="2"/>
              </a:rPr>
              <a:t>444</a:t>
            </a:r>
            <a:endParaRPr lang="en-US" sz="1200" b="1" u="none" strike="noStrike" normalizeH="0" noProof="0">
              <a:ln>
                <a:noFill/>
              </a:ln>
              <a:solidFill>
                <a:srgbClr val="6F6F6F"/>
              </a:solidFill>
              <a:effectLst/>
              <a:uLnTx/>
              <a:uFillTx/>
              <a:sym typeface="Symbol" panose="05050102010706020507" pitchFamily="18" charset="2"/>
            </a:endParaRPr>
          </a:p>
        </p:txBody>
      </p:sp>
      <p:sp>
        <p:nvSpPr>
          <p:cNvPr id="336" name="Text Placeholder">
            <a:extLst>
              <a:ext uri="{FF2B5EF4-FFF2-40B4-BE49-F238E27FC236}">
                <a16:creationId xmlns:a16="http://schemas.microsoft.com/office/drawing/2014/main" id="{4526372D-26E1-4549-A786-ABFD398716FD}"/>
              </a:ext>
            </a:extLst>
          </p:cNvPr>
          <p:cNvSpPr>
            <a:spLocks noGrp="1"/>
          </p:cNvSpPr>
          <p:nvPr>
            <p:custDataLst>
              <p:tags r:id="rId68"/>
            </p:custDataLst>
          </p:nvPr>
        </p:nvSpPr>
        <p:spPr bwMode="auto">
          <a:xfrm>
            <a:off x="1838325" y="5046662"/>
            <a:ext cx="3762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r" defTabSz="914332" rtl="0" eaLnBrk="1" fontAlgn="base" latinLnBrk="0" hangingPunct="1">
              <a:lnSpc>
                <a:spcPct val="90000"/>
              </a:lnSpc>
              <a:spcBef>
                <a:spcPct val="0"/>
              </a:spcBef>
              <a:spcAft>
                <a:spcPct val="0"/>
              </a:spcAft>
              <a:buClrTx/>
              <a:buSzTx/>
              <a:buFont typeface="Arial Narrow" pitchFamily="34" charset="0"/>
              <a:buNone/>
              <a:tabLst>
                <a:tab pos="714321" algn="r"/>
              </a:tabLst>
              <a:defRPr/>
            </a:pPr>
            <a:r>
              <a:rPr lang="en" sz="1200" b="1" u="none" strike="noStrike" kern="0" normalizeH="0" noProof="0">
                <a:ln>
                  <a:noFill/>
                </a:ln>
                <a:solidFill>
                  <a:srgbClr val="6F6F6F"/>
                </a:solidFill>
                <a:effectLst/>
                <a:uLnTx/>
                <a:uFillTx/>
                <a:sym typeface="+mn-lt"/>
              </a:rPr>
              <a:t>Total</a:t>
            </a:r>
          </a:p>
        </p:txBody>
      </p:sp>
      <p:sp>
        <p:nvSpPr>
          <p:cNvPr id="335" name="Text Placeholder">
            <a:extLst>
              <a:ext uri="{FF2B5EF4-FFF2-40B4-BE49-F238E27FC236}">
                <a16:creationId xmlns:a16="http://schemas.microsoft.com/office/drawing/2014/main" id="{04863B7D-FD01-4276-84AB-8F9498F2EEE5}"/>
              </a:ext>
            </a:extLst>
          </p:cNvPr>
          <p:cNvSpPr>
            <a:spLocks noGrp="1"/>
          </p:cNvSpPr>
          <p:nvPr>
            <p:custDataLst>
              <p:tags r:id="rId69"/>
            </p:custDataLst>
          </p:nvPr>
        </p:nvSpPr>
        <p:spPr bwMode="gray">
          <a:xfrm>
            <a:off x="6237288" y="5060950"/>
            <a:ext cx="200025" cy="136525"/>
          </a:xfrm>
          <a:prstGeom prst="rect">
            <a:avLst/>
          </a:prstGeom>
          <a:solidFill>
            <a:srgbClr val="6F8DB9"/>
          </a:solidFill>
          <a:ln>
            <a:no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ct val="0"/>
              </a:spcBef>
              <a:buFont typeface="Arial Narrow" pitchFamily="34" charset="0"/>
              <a:buNone/>
              <a:defRPr lang="en-US" sz="16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Clr>
                <a:schemeClr val="accent4"/>
              </a:buClr>
              <a:buFont typeface="Wingdings" pitchFamily="2" charset="2"/>
              <a:buChar char="§"/>
              <a:defRPr lang="en-US" sz="16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16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16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32" rtl="0" eaLnBrk="1" fontAlgn="base" latinLnBrk="0" hangingPunct="1">
              <a:lnSpc>
                <a:spcPct val="90000"/>
              </a:lnSpc>
              <a:spcBef>
                <a:spcPct val="0"/>
              </a:spcBef>
              <a:spcAft>
                <a:spcPct val="0"/>
              </a:spcAft>
              <a:buClrTx/>
              <a:buSzTx/>
              <a:buFont typeface="Arial Narrow" pitchFamily="34" charset="0"/>
              <a:buNone/>
              <a:tabLst/>
              <a:defRPr/>
            </a:pPr>
            <a:r>
              <a:rPr lang="en" sz="1000" u="none" strike="noStrike" normalizeH="0" noProof="0">
                <a:ln>
                  <a:noFill/>
                </a:ln>
                <a:solidFill>
                  <a:schemeClr val="bg1"/>
                </a:solidFill>
                <a:effectLst/>
                <a:uLnTx/>
                <a:uFillTx/>
                <a:sym typeface="+mn-lt"/>
              </a:rPr>
              <a:t>4%</a:t>
            </a:r>
          </a:p>
        </p:txBody>
      </p:sp>
      <p:sp>
        <p:nvSpPr>
          <p:cNvPr id="338" name="Text Placeholder">
            <a:extLst>
              <a:ext uri="{FF2B5EF4-FFF2-40B4-BE49-F238E27FC236}">
                <a16:creationId xmlns:a16="http://schemas.microsoft.com/office/drawing/2014/main" id="{ED9E65BF-5790-466B-B1D3-A1329A8AB1E0}"/>
              </a:ext>
            </a:extLst>
          </p:cNvPr>
          <p:cNvSpPr>
            <a:spLocks noGrp="1"/>
          </p:cNvSpPr>
          <p:nvPr>
            <p:custDataLst>
              <p:tags r:id="rId70"/>
            </p:custDataLst>
          </p:nvPr>
        </p:nvSpPr>
        <p:spPr bwMode="auto">
          <a:xfrm>
            <a:off x="6264275" y="5695951"/>
            <a:ext cx="295275"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ct val="0"/>
              </a:spcBef>
              <a:buFont typeface="Arial Narrow" pitchFamily="34" charset="0"/>
              <a:buNone/>
              <a:defRPr lang="en-US" sz="2100" b="0" i="0" kern="1200" baseline="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a:solidFill>
                  <a:schemeClr val="tx1"/>
                </a:solidFill>
                <a:latin typeface="+mn-lt"/>
                <a:ea typeface="+mn-ea"/>
                <a:cs typeface="+mn-cs"/>
                <a:sym typeface="+mn-lt"/>
              </a:defRPr>
            </a:lvl4pPr>
            <a:lvl5pPr marL="698400" indent="0" algn="l" defTabSz="914400" rtl="0" eaLnBrk="1" latinLnBrk="0" hangingPunct="1">
              <a:lnSpc>
                <a:spcPct val="93000"/>
              </a:lnSpc>
              <a:spcBef>
                <a:spcPct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914332" rtl="0" eaLnBrk="1" fontAlgn="base" latinLnBrk="0" hangingPunct="1">
              <a:lnSpc>
                <a:spcPct val="90000"/>
              </a:lnSpc>
              <a:spcBef>
                <a:spcPct val="0"/>
              </a:spcBef>
              <a:spcAft>
                <a:spcPct val="0"/>
              </a:spcAft>
              <a:buClrTx/>
              <a:buSzTx/>
              <a:buFont typeface="Arial Narrow" pitchFamily="34" charset="0"/>
              <a:buNone/>
              <a:tabLst/>
              <a:defRPr/>
            </a:pPr>
            <a:r>
              <a:rPr lang="en" sz="900" u="none" strike="noStrike" normalizeH="0" noProof="0">
                <a:ln>
                  <a:noFill/>
                </a:ln>
                <a:solidFill>
                  <a:srgbClr val="6F6F6F"/>
                </a:solidFill>
                <a:effectLst/>
                <a:uLnTx/>
                <a:uFillTx/>
                <a:sym typeface="+mn-lt"/>
              </a:rPr>
              <a:t>100%</a:t>
            </a:r>
          </a:p>
        </p:txBody>
      </p:sp>
      <p:sp>
        <p:nvSpPr>
          <p:cNvPr id="5" name="Title 4">
            <a:extLst>
              <a:ext uri="{FF2B5EF4-FFF2-40B4-BE49-F238E27FC236}">
                <a16:creationId xmlns:a16="http://schemas.microsoft.com/office/drawing/2014/main" id="{7C94F5E6-F229-478E-B6A3-7A307AA08813}"/>
              </a:ext>
            </a:extLst>
          </p:cNvPr>
          <p:cNvSpPr>
            <a:spLocks noGrp="1"/>
          </p:cNvSpPr>
          <p:nvPr>
            <p:ph type="title"/>
          </p:nvPr>
        </p:nvSpPr>
        <p:spPr/>
        <p:txBody>
          <a:bodyPr vert="horz">
            <a:normAutofit fontScale="90000"/>
          </a:bodyPr>
          <a:lstStyle/>
          <a:p>
            <a:r>
              <a:rPr lang="en-US"/>
              <a:t>In Belgium, the vast majority of the primary energy demand is being met by oil and gas, despite recent efforts</a:t>
            </a:r>
            <a:endParaRPr lang="en-GB"/>
          </a:p>
        </p:txBody>
      </p:sp>
      <p:sp>
        <p:nvSpPr>
          <p:cNvPr id="122" name="Notes">
            <a:extLst>
              <a:ext uri="{FF2B5EF4-FFF2-40B4-BE49-F238E27FC236}">
                <a16:creationId xmlns:a16="http://schemas.microsoft.com/office/drawing/2014/main" id="{FEFD9511-C312-4DD6-89E6-5764685D4BB0}"/>
              </a:ext>
            </a:extLst>
          </p:cNvPr>
          <p:cNvSpPr txBox="1"/>
          <p:nvPr/>
        </p:nvSpPr>
        <p:spPr>
          <a:xfrm>
            <a:off x="663779" y="6168241"/>
            <a:ext cx="10877543" cy="276999"/>
          </a:xfrm>
          <a:prstGeom prst="rect">
            <a:avLst/>
          </a:prstGeom>
        </p:spPr>
        <p:txBody>
          <a:bodyPr wrap="square" lIns="0" tIns="0" rIns="0" bIns="0" anchor="t" anchorCtr="0">
            <a:spAutoFit/>
          </a:bodyPr>
          <a:lstStyle>
            <a:defPPr>
              <a:defRPr lang="en-US"/>
            </a:defPPr>
            <a:lvl1pPr lvl="0">
              <a:defRPr sz="900">
                <a:solidFill>
                  <a:schemeClr val="tx1">
                    <a:tint val="75000"/>
                  </a:schemeClr>
                </a:solidFill>
              </a:defRPr>
            </a:lvl1pPr>
          </a:lstStyle>
          <a:p>
            <a:r>
              <a:rPr lang="en-US">
                <a:sym typeface="+mn-lt"/>
              </a:rPr>
              <a:t>1) Excluding international aviation and shipping; 2) Agriculture, forestry and non-specified other sectors; 3) Renewables include energy from biofuels, biomass, geothermal, solar and heat pumps; 4) Heat, solid fossil fuels, manufactured gases and non-renewable waste</a:t>
            </a:r>
          </a:p>
        </p:txBody>
      </p:sp>
      <p:sp>
        <p:nvSpPr>
          <p:cNvPr id="123" name="Source">
            <a:extLst>
              <a:ext uri="{FF2B5EF4-FFF2-40B4-BE49-F238E27FC236}">
                <a16:creationId xmlns:a16="http://schemas.microsoft.com/office/drawing/2014/main" id="{94B718C1-DC61-4851-8649-86AEF0B99BC8}"/>
              </a:ext>
            </a:extLst>
          </p:cNvPr>
          <p:cNvSpPr txBox="1"/>
          <p:nvPr/>
        </p:nvSpPr>
        <p:spPr>
          <a:xfrm>
            <a:off x="1199456" y="6525577"/>
            <a:ext cx="8204921" cy="107722"/>
          </a:xfrm>
          <a:prstGeom prst="rect">
            <a:avLst/>
          </a:prstGeom>
        </p:spPr>
        <p:txBody>
          <a:bodyPr wrap="square" lIns="0" tIns="0" rIns="0" bIns="0" anchor="t" anchorCtr="0">
            <a:spAutoFit/>
          </a:bodyPr>
          <a:lstStyle>
            <a:defPPr>
              <a:defRPr lang="en-US"/>
            </a:defPPr>
            <a:lvl1pPr lvl="0">
              <a:defRPr sz="700">
                <a:solidFill>
                  <a:schemeClr val="tx1">
                    <a:tint val="75000"/>
                  </a:schemeClr>
                </a:solidFill>
              </a:defRPr>
            </a:lvl1pPr>
          </a:lstStyle>
          <a:p>
            <a:r>
              <a:rPr lang="en"/>
              <a:t>Source: Statistics Belgium; Federal Planning Bureau; FEBEG; Roland Berger</a:t>
            </a:r>
          </a:p>
        </p:txBody>
      </p:sp>
      <p:graphicFrame>
        <p:nvGraphicFramePr>
          <p:cNvPr id="125" name="Chart 124">
            <a:extLst>
              <a:ext uri="{FF2B5EF4-FFF2-40B4-BE49-F238E27FC236}">
                <a16:creationId xmlns:a16="http://schemas.microsoft.com/office/drawing/2014/main" id="{5094AEA8-CBD0-4113-8744-2B0A9457E943}"/>
              </a:ext>
            </a:extLst>
          </p:cNvPr>
          <p:cNvGraphicFramePr/>
          <p:nvPr>
            <p:custDataLst>
              <p:tags r:id="rId71"/>
            </p:custDataLst>
          </p:nvPr>
        </p:nvGraphicFramePr>
        <p:xfrm>
          <a:off x="9129713" y="2259013"/>
          <a:ext cx="1450975" cy="3376612"/>
        </p:xfrm>
        <a:graphic>
          <a:graphicData uri="http://schemas.openxmlformats.org/drawingml/2006/chart">
            <c:chart xmlns:c="http://schemas.openxmlformats.org/drawingml/2006/chart" xmlns:r="http://schemas.openxmlformats.org/officeDocument/2006/relationships" r:id="rId92"/>
          </a:graphicData>
        </a:graphic>
      </p:graphicFrame>
      <p:cxnSp>
        <p:nvCxnSpPr>
          <p:cNvPr id="54" name="Straight Connector 53">
            <a:extLst>
              <a:ext uri="{FF2B5EF4-FFF2-40B4-BE49-F238E27FC236}">
                <a16:creationId xmlns:a16="http://schemas.microsoft.com/office/drawing/2014/main" id="{6583F08D-DA06-429D-B2BA-26119E156BAD}"/>
              </a:ext>
            </a:extLst>
          </p:cNvPr>
          <p:cNvCxnSpPr>
            <a:cxnSpLocks/>
          </p:cNvCxnSpPr>
          <p:nvPr>
            <p:custDataLst>
              <p:tags r:id="rId72"/>
            </p:custDataLst>
          </p:nvPr>
        </p:nvCxnSpPr>
        <p:spPr bwMode="auto">
          <a:xfrm flipH="1" flipV="1">
            <a:off x="10250488" y="2373313"/>
            <a:ext cx="79375"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6" name="Tijdelijke aanduiding voor tekst 1">
            <a:extLst>
              <a:ext uri="{FF2B5EF4-FFF2-40B4-BE49-F238E27FC236}">
                <a16:creationId xmlns:a16="http://schemas.microsoft.com/office/drawing/2014/main" id="{F2A0CBEE-8B5A-43BA-8428-1D3010A689E2}"/>
              </a:ext>
            </a:extLst>
          </p:cNvPr>
          <p:cNvSpPr>
            <a:spLocks noGrp="1"/>
          </p:cNvSpPr>
          <p:nvPr>
            <p:custDataLst>
              <p:tags r:id="rId73"/>
            </p:custDataLst>
          </p:nvPr>
        </p:nvSpPr>
        <p:spPr bwMode="auto">
          <a:xfrm>
            <a:off x="8928100" y="2395538"/>
            <a:ext cx="4270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r">
              <a:spcBef>
                <a:spcPct val="0"/>
              </a:spcBef>
              <a:spcAft>
                <a:spcPct val="0"/>
              </a:spcAft>
              <a:buNone/>
            </a:pPr>
            <a:fld id="{09394D40-F8B7-4CA0-ADDD-A098A1F2717B}" type="datetime'''''''''''''S''''''''''''''''''''''o''''la''''r'''''''''">
              <a:rPr lang="en-GB" altLang="en-US" sz="1400" kern="0" smtClean="0"/>
              <a:pPr marL="0" indent="0" algn="r">
                <a:spcBef>
                  <a:spcPct val="0"/>
                </a:spcBef>
                <a:spcAft>
                  <a:spcPct val="0"/>
                </a:spcAft>
                <a:buNone/>
              </a:pPr>
              <a:t>Solar</a:t>
            </a:fld>
            <a:endParaRPr lang="en-GB" sz="1400" kern="0" noProof="0"/>
          </a:p>
        </p:txBody>
      </p:sp>
      <p:sp>
        <p:nvSpPr>
          <p:cNvPr id="114" name="Tijdelijke aanduiding voor tekst 1">
            <a:extLst>
              <a:ext uri="{FF2B5EF4-FFF2-40B4-BE49-F238E27FC236}">
                <a16:creationId xmlns:a16="http://schemas.microsoft.com/office/drawing/2014/main" id="{F2A0CBEE-8B5A-43BA-8428-1D3010A689E2}"/>
              </a:ext>
            </a:extLst>
          </p:cNvPr>
          <p:cNvSpPr>
            <a:spLocks noGrp="1"/>
          </p:cNvSpPr>
          <p:nvPr>
            <p:custDataLst>
              <p:tags r:id="rId74"/>
            </p:custDataLst>
          </p:nvPr>
        </p:nvSpPr>
        <p:spPr bwMode="auto">
          <a:xfrm>
            <a:off x="10355263" y="2341563"/>
            <a:ext cx="4873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spcBef>
                <a:spcPct val="0"/>
              </a:spcBef>
              <a:spcAft>
                <a:spcPct val="0"/>
              </a:spcAft>
              <a:buNone/>
            </a:pPr>
            <a:fld id="{146D1F1D-CAA1-41E0-BD19-350BDDE1E01E}" type="datetime'''''O''t''''''''h''''''''''''e''''''''''''''''''''''''r'''''''">
              <a:rPr lang="en-GB" altLang="en-US" sz="1400" kern="0" smtClean="0"/>
              <a:pPr marL="0" indent="0">
                <a:spcBef>
                  <a:spcPct val="0"/>
                </a:spcBef>
                <a:spcAft>
                  <a:spcPct val="0"/>
                </a:spcAft>
                <a:buNone/>
              </a:pPr>
              <a:t>Other</a:t>
            </a:fld>
            <a:endParaRPr lang="en-GB" sz="1400" kern="0" noProof="0"/>
          </a:p>
        </p:txBody>
      </p:sp>
      <p:sp>
        <p:nvSpPr>
          <p:cNvPr id="305" name="Tijdelijke aanduiding voor tekst 1">
            <a:extLst>
              <a:ext uri="{FF2B5EF4-FFF2-40B4-BE49-F238E27FC236}">
                <a16:creationId xmlns:a16="http://schemas.microsoft.com/office/drawing/2014/main" id="{F2A0CBEE-8B5A-43BA-8428-1D3010A689E2}"/>
              </a:ext>
            </a:extLst>
          </p:cNvPr>
          <p:cNvSpPr>
            <a:spLocks noGrp="1"/>
          </p:cNvSpPr>
          <p:nvPr>
            <p:custDataLst>
              <p:tags r:id="rId75"/>
            </p:custDataLst>
          </p:nvPr>
        </p:nvSpPr>
        <p:spPr bwMode="gray">
          <a:xfrm>
            <a:off x="9685339" y="485140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ctr">
              <a:spcBef>
                <a:spcPct val="0"/>
              </a:spcBef>
              <a:spcAft>
                <a:spcPct val="0"/>
              </a:spcAft>
              <a:buNone/>
            </a:pPr>
            <a:fld id="{EFCE73DA-9818-45F6-AF8A-2863EFC23B07}" type="datetime'''''''''3''''8''''''''''''''''''''''''''''''''%'''''''''''''''">
              <a:rPr lang="en-GB" altLang="en-US" sz="1200" smtClean="0"/>
              <a:pPr marL="0" indent="0" algn="ctr">
                <a:spcBef>
                  <a:spcPct val="0"/>
                </a:spcBef>
                <a:spcAft>
                  <a:spcPct val="0"/>
                </a:spcAft>
                <a:buNone/>
              </a:pPr>
              <a:t>38%</a:t>
            </a:fld>
            <a:endParaRPr lang="en-GB" sz="1200" noProof="0"/>
          </a:p>
        </p:txBody>
      </p:sp>
      <p:sp>
        <p:nvSpPr>
          <p:cNvPr id="118" name="Tijdelijke aanduiding voor tekst 1">
            <a:extLst>
              <a:ext uri="{FF2B5EF4-FFF2-40B4-BE49-F238E27FC236}">
                <a16:creationId xmlns:a16="http://schemas.microsoft.com/office/drawing/2014/main" id="{F2A0CBEE-8B5A-43BA-8428-1D3010A689E2}"/>
              </a:ext>
            </a:extLst>
          </p:cNvPr>
          <p:cNvSpPr>
            <a:spLocks noGrp="1"/>
          </p:cNvSpPr>
          <p:nvPr>
            <p:custDataLst>
              <p:tags r:id="rId76"/>
            </p:custDataLst>
          </p:nvPr>
        </p:nvSpPr>
        <p:spPr bwMode="gray">
          <a:xfrm>
            <a:off x="9501188" y="2070100"/>
            <a:ext cx="7080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ctr">
              <a:spcBef>
                <a:spcPct val="0"/>
              </a:spcBef>
              <a:spcAft>
                <a:spcPct val="0"/>
              </a:spcAft>
              <a:buNone/>
            </a:pPr>
            <a:fld id="{54A5969F-1984-40FA-99B5-A6F3E2025F66}" type="datetime'''''8''''''''''5'''''">
              <a:rPr lang="en-GB" altLang="en-US" sz="1400" b="1" kern="0" smtClean="0"/>
              <a:pPr marL="0" indent="0" algn="ctr">
                <a:spcBef>
                  <a:spcPct val="0"/>
                </a:spcBef>
                <a:spcAft>
                  <a:spcPct val="0"/>
                </a:spcAft>
                <a:buNone/>
              </a:pPr>
              <a:t>85</a:t>
            </a:fld>
            <a:r>
              <a:rPr lang="en-GB" altLang="en-US" sz="1400" b="1" kern="0"/>
              <a:t> TWh</a:t>
            </a:r>
            <a:endParaRPr lang="en-GB" sz="1400" b="1" kern="0" noProof="0"/>
          </a:p>
        </p:txBody>
      </p:sp>
      <p:sp>
        <p:nvSpPr>
          <p:cNvPr id="219" name="Tijdelijke aanduiding voor tekst 1">
            <a:extLst>
              <a:ext uri="{FF2B5EF4-FFF2-40B4-BE49-F238E27FC236}">
                <a16:creationId xmlns:a16="http://schemas.microsoft.com/office/drawing/2014/main" id="{F2A0CBEE-8B5A-43BA-8428-1D3010A689E2}"/>
              </a:ext>
            </a:extLst>
          </p:cNvPr>
          <p:cNvSpPr>
            <a:spLocks noGrp="1"/>
          </p:cNvSpPr>
          <p:nvPr>
            <p:custDataLst>
              <p:tags r:id="rId77"/>
            </p:custDataLst>
          </p:nvPr>
        </p:nvSpPr>
        <p:spPr bwMode="gray">
          <a:xfrm>
            <a:off x="9913938" y="2282825"/>
            <a:ext cx="242888" cy="182563"/>
          </a:xfrm>
          <a:prstGeom prst="rect">
            <a:avLst/>
          </a:prstGeom>
          <a:solidFill>
            <a:srgbClr val="4C6C9C"/>
          </a:solidFill>
          <a:ln>
            <a:noFill/>
          </a:ln>
          <a:effectLst/>
        </p:spPr>
        <p:txBody>
          <a:bodyPr vert="horz" wrap="none" lIns="22225" tIns="0" rIns="22225"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ctr">
              <a:spcBef>
                <a:spcPct val="0"/>
              </a:spcBef>
              <a:spcAft>
                <a:spcPct val="0"/>
              </a:spcAft>
              <a:buNone/>
            </a:pPr>
            <a:fld id="{7625EF43-E4F8-4632-BEE2-CF18E545646E}" type="datetime'''''''''''''''''''''''2''''''''%'''''''">
              <a:rPr lang="en-GB" altLang="en-US" sz="1200" smtClean="0">
                <a:solidFill>
                  <a:schemeClr val="bg1"/>
                </a:solidFill>
              </a:rPr>
              <a:pPr marL="0" indent="0" algn="ctr">
                <a:spcBef>
                  <a:spcPct val="0"/>
                </a:spcBef>
                <a:spcAft>
                  <a:spcPct val="0"/>
                </a:spcAft>
                <a:buNone/>
              </a:pPr>
              <a:t>2%</a:t>
            </a:fld>
            <a:endParaRPr lang="en-GB" sz="1200" noProof="0">
              <a:solidFill>
                <a:schemeClr val="bg1"/>
              </a:solidFill>
            </a:endParaRPr>
          </a:p>
        </p:txBody>
      </p:sp>
      <p:sp>
        <p:nvSpPr>
          <p:cNvPr id="300" name="Tijdelijke aanduiding voor tekst 1">
            <a:extLst>
              <a:ext uri="{FF2B5EF4-FFF2-40B4-BE49-F238E27FC236}">
                <a16:creationId xmlns:a16="http://schemas.microsoft.com/office/drawing/2014/main" id="{F2A0CBEE-8B5A-43BA-8428-1D3010A689E2}"/>
              </a:ext>
            </a:extLst>
          </p:cNvPr>
          <p:cNvSpPr>
            <a:spLocks noGrp="1"/>
          </p:cNvSpPr>
          <p:nvPr>
            <p:custDataLst>
              <p:tags r:id="rId78"/>
            </p:custDataLst>
          </p:nvPr>
        </p:nvSpPr>
        <p:spPr bwMode="gray">
          <a:xfrm>
            <a:off x="9556750" y="2411413"/>
            <a:ext cx="2428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ctr">
              <a:spcBef>
                <a:spcPct val="0"/>
              </a:spcBef>
              <a:spcAft>
                <a:spcPct val="0"/>
              </a:spcAft>
              <a:buNone/>
            </a:pPr>
            <a:fld id="{0081814E-B4FD-4C01-B9D1-D4A2AF2FFEF7}" type="datetime'''''''''6''''''''''''''''''''''''''%'''''''">
              <a:rPr lang="en-GB" altLang="en-US" sz="1200" smtClean="0"/>
              <a:pPr marL="0" indent="0" algn="ctr">
                <a:spcBef>
                  <a:spcPct val="0"/>
                </a:spcBef>
                <a:spcAft>
                  <a:spcPct val="0"/>
                </a:spcAft>
                <a:buNone/>
              </a:pPr>
              <a:t>6%</a:t>
            </a:fld>
            <a:endParaRPr lang="en-GB" sz="1200" noProof="0"/>
          </a:p>
        </p:txBody>
      </p:sp>
      <p:sp>
        <p:nvSpPr>
          <p:cNvPr id="301" name="Tijdelijke aanduiding voor tekst 1">
            <a:extLst>
              <a:ext uri="{FF2B5EF4-FFF2-40B4-BE49-F238E27FC236}">
                <a16:creationId xmlns:a16="http://schemas.microsoft.com/office/drawing/2014/main" id="{F2A0CBEE-8B5A-43BA-8428-1D3010A689E2}"/>
              </a:ext>
            </a:extLst>
          </p:cNvPr>
          <p:cNvSpPr>
            <a:spLocks noGrp="1"/>
          </p:cNvSpPr>
          <p:nvPr>
            <p:custDataLst>
              <p:tags r:id="rId79"/>
            </p:custDataLst>
          </p:nvPr>
        </p:nvSpPr>
        <p:spPr bwMode="gray">
          <a:xfrm>
            <a:off x="9685339" y="27479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ctr">
              <a:spcBef>
                <a:spcPct val="0"/>
              </a:spcBef>
              <a:spcAft>
                <a:spcPct val="0"/>
              </a:spcAft>
              <a:buNone/>
            </a:pPr>
            <a:fld id="{1ED708FB-3DC8-4220-9383-8584E7D0E0D0}" type="datetime'''''1''''''''''''5''''''''''''''''''%'''''''''''''''''''''">
              <a:rPr lang="en-GB" altLang="en-US" sz="1200" smtClean="0"/>
              <a:pPr marL="0" indent="0" algn="ctr">
                <a:spcBef>
                  <a:spcPct val="0"/>
                </a:spcBef>
                <a:spcAft>
                  <a:spcPct val="0"/>
                </a:spcAft>
                <a:buNone/>
              </a:pPr>
              <a:t>15%</a:t>
            </a:fld>
            <a:endParaRPr lang="en-GB" sz="1200" noProof="0"/>
          </a:p>
        </p:txBody>
      </p:sp>
      <p:sp>
        <p:nvSpPr>
          <p:cNvPr id="302" name="Tijdelijke aanduiding voor tekst 1">
            <a:extLst>
              <a:ext uri="{FF2B5EF4-FFF2-40B4-BE49-F238E27FC236}">
                <a16:creationId xmlns:a16="http://schemas.microsoft.com/office/drawing/2014/main" id="{F2A0CBEE-8B5A-43BA-8428-1D3010A689E2}"/>
              </a:ext>
            </a:extLst>
          </p:cNvPr>
          <p:cNvSpPr>
            <a:spLocks noGrp="1"/>
          </p:cNvSpPr>
          <p:nvPr>
            <p:custDataLst>
              <p:tags r:id="rId80"/>
            </p:custDataLst>
          </p:nvPr>
        </p:nvSpPr>
        <p:spPr bwMode="gray">
          <a:xfrm>
            <a:off x="9734550" y="3101975"/>
            <a:ext cx="2428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ctr">
              <a:spcBef>
                <a:spcPct val="0"/>
              </a:spcBef>
              <a:spcAft>
                <a:spcPct val="0"/>
              </a:spcAft>
              <a:buNone/>
            </a:pPr>
            <a:fld id="{3848E74E-B8D3-431C-9D37-85B398CB233F}" type="datetime'''''''''7''''%'''''''''''''''''''''''''''''''''">
              <a:rPr lang="en-GB" altLang="en-US" sz="1200" smtClean="0"/>
              <a:pPr marL="0" indent="0" algn="ctr">
                <a:spcBef>
                  <a:spcPct val="0"/>
                </a:spcBef>
                <a:spcAft>
                  <a:spcPct val="0"/>
                </a:spcAft>
                <a:buNone/>
              </a:pPr>
              <a:t>7%</a:t>
            </a:fld>
            <a:endParaRPr lang="en-GB" sz="1200" noProof="0"/>
          </a:p>
        </p:txBody>
      </p:sp>
      <p:sp>
        <p:nvSpPr>
          <p:cNvPr id="304" name="Tijdelijke aanduiding voor tekst 1">
            <a:extLst>
              <a:ext uri="{FF2B5EF4-FFF2-40B4-BE49-F238E27FC236}">
                <a16:creationId xmlns:a16="http://schemas.microsoft.com/office/drawing/2014/main" id="{F2A0CBEE-8B5A-43BA-8428-1D3010A689E2}"/>
              </a:ext>
            </a:extLst>
          </p:cNvPr>
          <p:cNvSpPr>
            <a:spLocks noGrp="1"/>
          </p:cNvSpPr>
          <p:nvPr>
            <p:custDataLst>
              <p:tags r:id="rId81"/>
            </p:custDataLst>
          </p:nvPr>
        </p:nvSpPr>
        <p:spPr bwMode="gray">
          <a:xfrm>
            <a:off x="9685339" y="372745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ctr">
              <a:spcBef>
                <a:spcPct val="0"/>
              </a:spcBef>
              <a:spcAft>
                <a:spcPct val="0"/>
              </a:spcAft>
              <a:buNone/>
            </a:pPr>
            <a:fld id="{6E326BA3-B7C7-42F5-A8AF-D3D038E239B2}" type="datetime'''''''''''''''''3''''''''''''''2''''''''''''''''''''''''%'''''">
              <a:rPr lang="en-GB" altLang="en-US" sz="1200" smtClean="0"/>
              <a:pPr marL="0" indent="0" algn="ctr">
                <a:spcBef>
                  <a:spcPct val="0"/>
                </a:spcBef>
                <a:spcAft>
                  <a:spcPct val="0"/>
                </a:spcAft>
                <a:buNone/>
              </a:pPr>
              <a:t>32%</a:t>
            </a:fld>
            <a:endParaRPr lang="en-GB" sz="1200" noProof="0"/>
          </a:p>
        </p:txBody>
      </p:sp>
      <p:sp>
        <p:nvSpPr>
          <p:cNvPr id="117" name="Tijdelijke aanduiding voor tekst 1">
            <a:extLst>
              <a:ext uri="{FF2B5EF4-FFF2-40B4-BE49-F238E27FC236}">
                <a16:creationId xmlns:a16="http://schemas.microsoft.com/office/drawing/2014/main" id="{F2A0CBEE-8B5A-43BA-8428-1D3010A689E2}"/>
              </a:ext>
            </a:extLst>
          </p:cNvPr>
          <p:cNvSpPr>
            <a:spLocks noGrp="1"/>
          </p:cNvSpPr>
          <p:nvPr>
            <p:custDataLst>
              <p:tags r:id="rId82"/>
            </p:custDataLst>
          </p:nvPr>
        </p:nvSpPr>
        <p:spPr bwMode="auto">
          <a:xfrm>
            <a:off x="8929688" y="2732088"/>
            <a:ext cx="4254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r">
              <a:spcBef>
                <a:spcPct val="0"/>
              </a:spcBef>
              <a:spcAft>
                <a:spcPct val="0"/>
              </a:spcAft>
              <a:buNone/>
            </a:pPr>
            <a:fld id="{6E9A1E3E-8931-4B16-A185-8FD908642F99}" type="datetime'''''''''''''''''''W''''''''''''in''''d'''''''">
              <a:rPr lang="en-GB" altLang="en-US" sz="1400" kern="0" smtClean="0"/>
              <a:pPr marL="0" indent="0" algn="r">
                <a:spcBef>
                  <a:spcPct val="0"/>
                </a:spcBef>
                <a:spcAft>
                  <a:spcPct val="0"/>
                </a:spcAft>
                <a:buNone/>
              </a:pPr>
              <a:t>Wind</a:t>
            </a:fld>
            <a:endParaRPr lang="en-GB" sz="1400" kern="0" noProof="0"/>
          </a:p>
        </p:txBody>
      </p:sp>
      <p:sp>
        <p:nvSpPr>
          <p:cNvPr id="134" name="Tijdelijke aanduiding voor tekst 1">
            <a:extLst>
              <a:ext uri="{FF2B5EF4-FFF2-40B4-BE49-F238E27FC236}">
                <a16:creationId xmlns:a16="http://schemas.microsoft.com/office/drawing/2014/main" id="{3C80662F-DD2C-4639-86FA-4A7D1C5CB30A}"/>
              </a:ext>
            </a:extLst>
          </p:cNvPr>
          <p:cNvSpPr>
            <a:spLocks noGrp="1"/>
          </p:cNvSpPr>
          <p:nvPr>
            <p:custDataLst>
              <p:tags r:id="rId83"/>
            </p:custDataLst>
          </p:nvPr>
        </p:nvSpPr>
        <p:spPr bwMode="auto">
          <a:xfrm>
            <a:off x="8647113" y="3086100"/>
            <a:ext cx="7080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r">
              <a:spcBef>
                <a:spcPct val="0"/>
              </a:spcBef>
              <a:spcAft>
                <a:spcPct val="0"/>
              </a:spcAft>
              <a:buNone/>
            </a:pPr>
            <a:fld id="{71E7893F-A493-4CB1-B1D2-A551FDBEB9D6}" type="datetime'B''''i''''''''''''''''''''''''o''''''''''ma''''''ss'">
              <a:rPr lang="en-GB" altLang="en-US" sz="1400" kern="0" smtClean="0"/>
              <a:pPr marL="0" indent="0" algn="r">
                <a:spcBef>
                  <a:spcPct val="0"/>
                </a:spcBef>
                <a:spcAft>
                  <a:spcPct val="0"/>
                </a:spcAft>
                <a:buNone/>
              </a:pPr>
              <a:t>Biomass</a:t>
            </a:fld>
            <a:endParaRPr lang="en-GB" sz="1400" kern="0" noProof="0"/>
          </a:p>
        </p:txBody>
      </p:sp>
      <p:sp>
        <p:nvSpPr>
          <p:cNvPr id="140" name="Tijdelijke aanduiding voor tekst 1">
            <a:extLst>
              <a:ext uri="{FF2B5EF4-FFF2-40B4-BE49-F238E27FC236}">
                <a16:creationId xmlns:a16="http://schemas.microsoft.com/office/drawing/2014/main" id="{D69DC8B7-9FA8-482F-9492-1D70CE2D523F}"/>
              </a:ext>
            </a:extLst>
          </p:cNvPr>
          <p:cNvSpPr>
            <a:spLocks noGrp="1"/>
          </p:cNvSpPr>
          <p:nvPr>
            <p:custDataLst>
              <p:tags r:id="rId84"/>
            </p:custDataLst>
          </p:nvPr>
        </p:nvSpPr>
        <p:spPr bwMode="auto">
          <a:xfrm>
            <a:off x="8369300" y="3711575"/>
            <a:ext cx="9858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r">
              <a:spcBef>
                <a:spcPct val="0"/>
              </a:spcBef>
              <a:spcAft>
                <a:spcPct val="0"/>
              </a:spcAft>
              <a:buNone/>
            </a:pPr>
            <a:fld id="{9C6DF62C-2D35-4C30-BC34-0D91DCE8ED7B}" type="datetime'''Na''''t''''''''''''''ur''al'' ''''g''as'''''''''''''''">
              <a:rPr lang="en-GB" altLang="en-US" sz="1400" kern="0" smtClean="0"/>
              <a:pPr marL="0" indent="0" algn="r">
                <a:spcBef>
                  <a:spcPct val="0"/>
                </a:spcBef>
                <a:spcAft>
                  <a:spcPct val="0"/>
                </a:spcAft>
                <a:buNone/>
              </a:pPr>
              <a:t>Natural gas</a:t>
            </a:fld>
            <a:endParaRPr lang="en-GB" sz="1400" kern="0" noProof="0"/>
          </a:p>
        </p:txBody>
      </p:sp>
      <p:sp>
        <p:nvSpPr>
          <p:cNvPr id="145" name="Tijdelijke aanduiding voor tekst 1">
            <a:extLst>
              <a:ext uri="{FF2B5EF4-FFF2-40B4-BE49-F238E27FC236}">
                <a16:creationId xmlns:a16="http://schemas.microsoft.com/office/drawing/2014/main" id="{DC17FCA6-A64B-4B31-A05B-1E4314677789}"/>
              </a:ext>
            </a:extLst>
          </p:cNvPr>
          <p:cNvSpPr>
            <a:spLocks noGrp="1"/>
          </p:cNvSpPr>
          <p:nvPr>
            <p:custDataLst>
              <p:tags r:id="rId85"/>
            </p:custDataLst>
          </p:nvPr>
        </p:nvSpPr>
        <p:spPr bwMode="auto">
          <a:xfrm>
            <a:off x="8701088" y="4835525"/>
            <a:ext cx="654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80990" indent="-380990" eaLnBrk="1" hangingPunct="1">
              <a:buClr>
                <a:schemeClr val="accent1"/>
              </a:buClr>
              <a:buFont typeface="Arial" panose="020B0604020202020204" pitchFamily="34" charset="0"/>
              <a:buChar char="•"/>
              <a:defRPr lang="nl-NL" sz="1600"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600"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600"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r">
              <a:spcBef>
                <a:spcPct val="0"/>
              </a:spcBef>
              <a:spcAft>
                <a:spcPct val="0"/>
              </a:spcAft>
              <a:buNone/>
            </a:pPr>
            <a:fld id="{134942F0-9BF7-4CD6-82C1-89E86C4037A5}" type="datetime'''''''''''N''''u''''''''''cle''''''''''''a''''''r'''''">
              <a:rPr lang="en-GB" altLang="en-US" sz="1400" kern="0" smtClean="0"/>
              <a:pPr marL="0" indent="0" algn="r">
                <a:spcBef>
                  <a:spcPct val="0"/>
                </a:spcBef>
                <a:spcAft>
                  <a:spcPct val="0"/>
                </a:spcAft>
                <a:buNone/>
              </a:pPr>
              <a:t>Nuclear</a:t>
            </a:fld>
            <a:endParaRPr lang="en-GB" sz="1400" kern="0" noProof="0"/>
          </a:p>
        </p:txBody>
      </p:sp>
      <p:sp>
        <p:nvSpPr>
          <p:cNvPr id="3" name="Slide Number Placeholder 5">
            <a:extLst>
              <a:ext uri="{FF2B5EF4-FFF2-40B4-BE49-F238E27FC236}">
                <a16:creationId xmlns:a16="http://schemas.microsoft.com/office/drawing/2014/main" id="{0E2AA5DA-AFEF-4031-0DE5-2B4816A290C0}"/>
              </a:ext>
            </a:extLst>
          </p:cNvPr>
          <p:cNvSpPr>
            <a:spLocks noGrp="1"/>
          </p:cNvSpPr>
          <p:nvPr>
            <p:ph type="sldNum" sz="quarter" idx="12"/>
          </p:nvPr>
        </p:nvSpPr>
        <p:spPr>
          <a:xfrm>
            <a:off x="73923" y="6387465"/>
            <a:ext cx="589856" cy="276224"/>
          </a:xfrm>
        </p:spPr>
        <p:txBody>
          <a:bodyPr/>
          <a:lstStyle/>
          <a:p>
            <a:fld id="{9BE375CD-4755-4D83-B134-E6AD5007676A}" type="slidenum">
              <a:rPr lang="nl-BE" smtClean="0"/>
              <a:t>24</a:t>
            </a:fld>
            <a:endParaRPr lang="nl-BE" dirty="0"/>
          </a:p>
        </p:txBody>
      </p:sp>
    </p:spTree>
    <p:extLst>
      <p:ext uri="{BB962C8B-B14F-4D97-AF65-F5344CB8AC3E}">
        <p14:creationId xmlns:p14="http://schemas.microsoft.com/office/powerpoint/2010/main" val="236538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232596-27E1-416B-B4BA-C0A20E9FE8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603" imgH="603" progId="TCLayout.ActiveDocument.1">
                  <p:embed/>
                </p:oleObj>
              </mc:Choice>
              <mc:Fallback>
                <p:oleObj name="think-cell Slide" r:id="rId25" imgW="603" imgH="603" progId="TCLayout.ActiveDocument.1">
                  <p:embed/>
                  <p:pic>
                    <p:nvPicPr>
                      <p:cNvPr id="6" name="Object 5" hidden="1">
                        <a:extLst>
                          <a:ext uri="{FF2B5EF4-FFF2-40B4-BE49-F238E27FC236}">
                            <a16:creationId xmlns:a16="http://schemas.microsoft.com/office/drawing/2014/main" id="{F0232596-27E1-416B-B4BA-C0A20E9FE8F9}"/>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F1EBC7A-805D-4BDE-9B64-12753EC0FB3F}"/>
              </a:ext>
            </a:extLst>
          </p:cNvPr>
          <p:cNvSpPr>
            <a:spLocks noGrp="1"/>
          </p:cNvSpPr>
          <p:nvPr>
            <p:ph type="title"/>
          </p:nvPr>
        </p:nvSpPr>
        <p:spPr/>
        <p:txBody>
          <a:bodyPr vert="horz">
            <a:normAutofit fontScale="90000"/>
          </a:bodyPr>
          <a:lstStyle/>
          <a:p>
            <a:r>
              <a:rPr lang="fr-FR" dirty="0"/>
              <a:t>The </a:t>
            </a:r>
            <a:r>
              <a:rPr lang="fr-FR" dirty="0" err="1"/>
              <a:t>expected</a:t>
            </a:r>
            <a:r>
              <a:rPr lang="fr-FR" dirty="0"/>
              <a:t> 3 </a:t>
            </a:r>
            <a:r>
              <a:rPr lang="fr-FR" dirty="0" err="1"/>
              <a:t>fold</a:t>
            </a:r>
            <a:r>
              <a:rPr lang="fr-FR" dirty="0"/>
              <a:t> </a:t>
            </a:r>
            <a:r>
              <a:rPr lang="fr-FR" dirty="0" err="1"/>
              <a:t>growth</a:t>
            </a:r>
            <a:r>
              <a:rPr lang="fr-FR" dirty="0"/>
              <a:t> in </a:t>
            </a:r>
            <a:r>
              <a:rPr lang="fr-FR" dirty="0" err="1"/>
              <a:t>electricity</a:t>
            </a:r>
            <a:r>
              <a:rPr lang="fr-FR" dirty="0"/>
              <a:t> </a:t>
            </a:r>
            <a:r>
              <a:rPr lang="fr-FR" dirty="0" err="1"/>
              <a:t>demand</a:t>
            </a:r>
            <a:r>
              <a:rPr lang="fr-FR" dirty="0"/>
              <a:t> </a:t>
            </a:r>
            <a:r>
              <a:rPr lang="fr-FR" dirty="0" err="1"/>
              <a:t>will</a:t>
            </a:r>
            <a:r>
              <a:rPr lang="fr-FR" dirty="0"/>
              <a:t> </a:t>
            </a:r>
            <a:r>
              <a:rPr lang="fr-FR" dirty="0" err="1"/>
              <a:t>require</a:t>
            </a:r>
            <a:r>
              <a:rPr lang="fr-FR" dirty="0"/>
              <a:t> </a:t>
            </a:r>
            <a:r>
              <a:rPr lang="fr-FR" dirty="0" err="1"/>
              <a:t>very</a:t>
            </a:r>
            <a:r>
              <a:rPr lang="fr-FR" dirty="0"/>
              <a:t> </a:t>
            </a:r>
            <a:r>
              <a:rPr lang="fr-FR" dirty="0" err="1"/>
              <a:t>significant</a:t>
            </a:r>
            <a:r>
              <a:rPr lang="fr-FR" dirty="0"/>
              <a:t> </a:t>
            </a:r>
            <a:r>
              <a:rPr lang="fr-FR" dirty="0" err="1"/>
              <a:t>investments</a:t>
            </a:r>
            <a:br>
              <a:rPr lang="fr-FR" dirty="0"/>
            </a:br>
            <a:endParaRPr lang="nl-BE" dirty="0"/>
          </a:p>
        </p:txBody>
      </p:sp>
      <p:sp>
        <p:nvSpPr>
          <p:cNvPr id="4" name="Tekstvak 3">
            <a:extLst>
              <a:ext uri="{FF2B5EF4-FFF2-40B4-BE49-F238E27FC236}">
                <a16:creationId xmlns:a16="http://schemas.microsoft.com/office/drawing/2014/main" id="{1D2B8D82-6AE6-4D19-A92A-50D1431B3EFC}"/>
              </a:ext>
            </a:extLst>
          </p:cNvPr>
          <p:cNvSpPr txBox="1"/>
          <p:nvPr/>
        </p:nvSpPr>
        <p:spPr>
          <a:xfrm>
            <a:off x="8596081" y="6123978"/>
            <a:ext cx="2442336" cy="260199"/>
          </a:xfrm>
          <a:prstGeom prst="rect">
            <a:avLst/>
          </a:prstGeom>
          <a:noFill/>
        </p:spPr>
        <p:txBody>
          <a:bodyPr wrap="square" rtlCol="0">
            <a:spAutoFit/>
          </a:bodyPr>
          <a:lstStyle/>
          <a:p>
            <a:pPr marL="0" marR="0" lvl="0" indent="0" algn="l" defTabSz="554357" rtl="0" eaLnBrk="1" fontAlgn="auto" latinLnBrk="0" hangingPunct="1">
              <a:lnSpc>
                <a:spcPct val="100000"/>
              </a:lnSpc>
              <a:spcBef>
                <a:spcPts val="0"/>
              </a:spcBef>
              <a:spcAft>
                <a:spcPts val="0"/>
              </a:spcAft>
              <a:buClrTx/>
              <a:buSzTx/>
              <a:buFontTx/>
              <a:buNone/>
              <a:tabLst/>
              <a:defRPr/>
            </a:pPr>
            <a:r>
              <a:rPr kumimoji="0" lang="nl-BE" sz="1091" b="1" i="0" u="none" strike="noStrike" kern="1200" cap="none" spc="0" normalizeH="0" baseline="0" noProof="0">
                <a:ln>
                  <a:noFill/>
                </a:ln>
                <a:solidFill>
                  <a:prstClr val="black"/>
                </a:solidFill>
                <a:effectLst/>
                <a:uLnTx/>
                <a:uFillTx/>
                <a:latin typeface="Arial"/>
                <a:ea typeface="+mn-ea"/>
                <a:cs typeface="+mn-cs"/>
              </a:rPr>
              <a:t>Elia Road to net zero</a:t>
            </a:r>
          </a:p>
        </p:txBody>
      </p:sp>
      <p:graphicFrame>
        <p:nvGraphicFramePr>
          <p:cNvPr id="7" name="Grafiek 13">
            <a:extLst>
              <a:ext uri="{FF2B5EF4-FFF2-40B4-BE49-F238E27FC236}">
                <a16:creationId xmlns:a16="http://schemas.microsoft.com/office/drawing/2014/main" id="{9599EAF1-3DDD-41FA-86F6-87CB8C47D9B4}"/>
              </a:ext>
            </a:extLst>
          </p:cNvPr>
          <p:cNvGraphicFramePr/>
          <p:nvPr/>
        </p:nvGraphicFramePr>
        <p:xfrm>
          <a:off x="754618" y="2772497"/>
          <a:ext cx="4694727" cy="2493708"/>
        </p:xfrm>
        <a:graphic>
          <a:graphicData uri="http://schemas.openxmlformats.org/drawingml/2006/chart">
            <c:chart xmlns:c="http://schemas.openxmlformats.org/drawingml/2006/chart" xmlns:r="http://schemas.openxmlformats.org/officeDocument/2006/relationships" r:id="rId27"/>
          </a:graphicData>
        </a:graphic>
      </p:graphicFrame>
      <p:sp>
        <p:nvSpPr>
          <p:cNvPr id="8" name="Tijdelijke aanduiding voor dianummer 2">
            <a:extLst>
              <a:ext uri="{FF2B5EF4-FFF2-40B4-BE49-F238E27FC236}">
                <a16:creationId xmlns:a16="http://schemas.microsoft.com/office/drawing/2014/main" id="{9306466D-126A-4A64-9179-39DFEB8067FA}"/>
              </a:ext>
            </a:extLst>
          </p:cNvPr>
          <p:cNvSpPr txBox="1">
            <a:spLocks/>
          </p:cNvSpPr>
          <p:nvPr/>
        </p:nvSpPr>
        <p:spPr>
          <a:xfrm>
            <a:off x="8727019" y="6324602"/>
            <a:ext cx="2804583" cy="16721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554343" rtl="0" eaLnBrk="1" fontAlgn="auto" latinLnBrk="0" hangingPunct="1">
              <a:lnSpc>
                <a:spcPct val="100000"/>
              </a:lnSpc>
              <a:spcBef>
                <a:spcPts val="0"/>
              </a:spcBef>
              <a:spcAft>
                <a:spcPts val="0"/>
              </a:spcAft>
              <a:buClrTx/>
              <a:buSzTx/>
              <a:buFontTx/>
              <a:buNone/>
              <a:tabLst/>
              <a:defRPr/>
            </a:pPr>
            <a:fld id="{C3DBC619-4B65-4D60-A3B7-FFDFE3A8824F}" type="slidenum">
              <a:rPr kumimoji="0" lang="fr-BE" sz="1091" b="0" i="0" u="none" strike="noStrike" kern="1200" cap="none" spc="0" normalizeH="0" baseline="0" noProof="0" smtClean="0">
                <a:ln>
                  <a:noFill/>
                </a:ln>
                <a:solidFill>
                  <a:prstClr val="black">
                    <a:tint val="75000"/>
                  </a:prstClr>
                </a:solidFill>
                <a:effectLst/>
                <a:uLnTx/>
                <a:uFillTx/>
                <a:latin typeface="Arial"/>
                <a:ea typeface="+mn-ea"/>
                <a:cs typeface="Arial"/>
              </a:rPr>
              <a:pPr marL="0" marR="0" lvl="0" indent="0" algn="r" defTabSz="554343" rtl="0" eaLnBrk="1" fontAlgn="auto" latinLnBrk="0" hangingPunct="1">
                <a:lnSpc>
                  <a:spcPct val="100000"/>
                </a:lnSpc>
                <a:spcBef>
                  <a:spcPts val="0"/>
                </a:spcBef>
                <a:spcAft>
                  <a:spcPts val="0"/>
                </a:spcAft>
                <a:buClrTx/>
                <a:buSzTx/>
                <a:buFontTx/>
                <a:buNone/>
                <a:tabLst/>
                <a:defRPr/>
              </a:pPr>
              <a:t>25</a:t>
            </a:fld>
            <a:endParaRPr kumimoji="0" lang="fr-BE" sz="1091" b="0" i="0" u="none" strike="noStrike" kern="1200" cap="none" spc="0" normalizeH="0" baseline="0" noProof="0">
              <a:ln>
                <a:noFill/>
              </a:ln>
              <a:solidFill>
                <a:prstClr val="black">
                  <a:tint val="75000"/>
                </a:prstClr>
              </a:solidFill>
              <a:effectLst/>
              <a:uLnTx/>
              <a:uFillTx/>
              <a:latin typeface="Arial"/>
              <a:ea typeface="+mn-ea"/>
              <a:cs typeface="Arial"/>
            </a:endParaRPr>
          </a:p>
        </p:txBody>
      </p:sp>
      <p:sp>
        <p:nvSpPr>
          <p:cNvPr id="9" name="Rectangle 25">
            <a:extLst>
              <a:ext uri="{FF2B5EF4-FFF2-40B4-BE49-F238E27FC236}">
                <a16:creationId xmlns:a16="http://schemas.microsoft.com/office/drawing/2014/main" id="{BEF3EF04-6DD7-4A00-A498-82656A1DDE33}"/>
              </a:ext>
            </a:extLst>
          </p:cNvPr>
          <p:cNvSpPr/>
          <p:nvPr>
            <p:custDataLst>
              <p:tags r:id="rId2"/>
            </p:custDataLst>
          </p:nvPr>
        </p:nvSpPr>
        <p:spPr bwMode="auto">
          <a:xfrm>
            <a:off x="1376383" y="3679424"/>
            <a:ext cx="198000" cy="196851"/>
          </a:xfrm>
          <a:prstGeom prst="rect">
            <a:avLst/>
          </a:prstGeom>
          <a:solidFill>
            <a:srgbClr val="B2CD6D"/>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343" rtl="0" eaLnBrk="1" fontAlgn="auto" latinLnBrk="0" hangingPunct="1">
              <a:lnSpc>
                <a:spcPct val="100000"/>
              </a:lnSpc>
              <a:spcBef>
                <a:spcPts val="0"/>
              </a:spcBef>
              <a:spcAft>
                <a:spcPts val="0"/>
              </a:spcAft>
              <a:buClrTx/>
              <a:buSzTx/>
              <a:buFontTx/>
              <a:buNone/>
              <a:tabLst/>
              <a:defRPr/>
            </a:pPr>
            <a:endParaRPr kumimoji="0" lang="fr-BE" sz="1091" b="0" i="0" u="none" strike="noStrike" kern="1200" cap="none" spc="0" normalizeH="0" baseline="0" noProof="0">
              <a:ln>
                <a:noFill/>
              </a:ln>
              <a:solidFill>
                <a:prstClr val="white"/>
              </a:solidFill>
              <a:effectLst/>
              <a:uLnTx/>
              <a:uFillTx/>
              <a:latin typeface="Arial"/>
              <a:ea typeface="+mn-ea"/>
              <a:cs typeface="Arial"/>
            </a:endParaRPr>
          </a:p>
        </p:txBody>
      </p:sp>
      <p:sp>
        <p:nvSpPr>
          <p:cNvPr id="10" name="Rectangle 26">
            <a:extLst>
              <a:ext uri="{FF2B5EF4-FFF2-40B4-BE49-F238E27FC236}">
                <a16:creationId xmlns:a16="http://schemas.microsoft.com/office/drawing/2014/main" id="{4599ABD6-7481-49D2-93C1-984BC164CBAA}"/>
              </a:ext>
            </a:extLst>
          </p:cNvPr>
          <p:cNvSpPr/>
          <p:nvPr>
            <p:custDataLst>
              <p:tags r:id="rId3"/>
            </p:custDataLst>
          </p:nvPr>
        </p:nvSpPr>
        <p:spPr bwMode="auto">
          <a:xfrm>
            <a:off x="1376383" y="4833133"/>
            <a:ext cx="198000" cy="196851"/>
          </a:xfrm>
          <a:prstGeom prst="rect">
            <a:avLst/>
          </a:prstGeom>
          <a:solidFill>
            <a:srgbClr val="FFC000"/>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343" rtl="0" eaLnBrk="1" fontAlgn="auto" latinLnBrk="0" hangingPunct="1">
              <a:lnSpc>
                <a:spcPct val="100000"/>
              </a:lnSpc>
              <a:spcBef>
                <a:spcPts val="0"/>
              </a:spcBef>
              <a:spcAft>
                <a:spcPts val="0"/>
              </a:spcAft>
              <a:buClrTx/>
              <a:buSzTx/>
              <a:buFontTx/>
              <a:buNone/>
              <a:tabLst/>
              <a:defRPr/>
            </a:pPr>
            <a:endParaRPr kumimoji="0" lang="fr-BE" sz="1091" b="0" i="0" u="none" strike="noStrike" kern="1200" cap="none" spc="0" normalizeH="0" baseline="0" noProof="0">
              <a:ln>
                <a:noFill/>
              </a:ln>
              <a:solidFill>
                <a:prstClr val="white"/>
              </a:solidFill>
              <a:effectLst/>
              <a:uLnTx/>
              <a:uFillTx/>
              <a:latin typeface="Arial"/>
              <a:ea typeface="+mn-ea"/>
              <a:cs typeface="Arial"/>
            </a:endParaRPr>
          </a:p>
        </p:txBody>
      </p:sp>
      <p:sp>
        <p:nvSpPr>
          <p:cNvPr id="11" name="Rectangle 27">
            <a:extLst>
              <a:ext uri="{FF2B5EF4-FFF2-40B4-BE49-F238E27FC236}">
                <a16:creationId xmlns:a16="http://schemas.microsoft.com/office/drawing/2014/main" id="{5033C88C-0FB0-484F-B2FC-82AF3D82C994}"/>
              </a:ext>
            </a:extLst>
          </p:cNvPr>
          <p:cNvSpPr/>
          <p:nvPr>
            <p:custDataLst>
              <p:tags r:id="rId4"/>
            </p:custDataLst>
          </p:nvPr>
        </p:nvSpPr>
        <p:spPr bwMode="auto">
          <a:xfrm>
            <a:off x="1376383" y="4544707"/>
            <a:ext cx="198000" cy="196851"/>
          </a:xfrm>
          <a:prstGeom prst="rect">
            <a:avLst/>
          </a:prstGeom>
          <a:solidFill>
            <a:srgbClr val="CACACA"/>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343" rtl="0" eaLnBrk="1" fontAlgn="auto" latinLnBrk="0" hangingPunct="1">
              <a:lnSpc>
                <a:spcPct val="100000"/>
              </a:lnSpc>
              <a:spcBef>
                <a:spcPts val="0"/>
              </a:spcBef>
              <a:spcAft>
                <a:spcPts val="0"/>
              </a:spcAft>
              <a:buClrTx/>
              <a:buSzTx/>
              <a:buFontTx/>
              <a:buNone/>
              <a:tabLst/>
              <a:defRPr/>
            </a:pPr>
            <a:endParaRPr kumimoji="0" lang="fr-BE" sz="1091" b="0" i="0" u="none" strike="noStrike" kern="1200" cap="none" spc="0" normalizeH="0" baseline="0" noProof="0">
              <a:ln>
                <a:noFill/>
              </a:ln>
              <a:solidFill>
                <a:prstClr val="white"/>
              </a:solidFill>
              <a:effectLst/>
              <a:uLnTx/>
              <a:uFillTx/>
              <a:latin typeface="Arial"/>
              <a:ea typeface="+mn-ea"/>
              <a:cs typeface="Arial"/>
            </a:endParaRPr>
          </a:p>
        </p:txBody>
      </p:sp>
      <p:sp>
        <p:nvSpPr>
          <p:cNvPr id="12" name="Rectangle 29">
            <a:extLst>
              <a:ext uri="{FF2B5EF4-FFF2-40B4-BE49-F238E27FC236}">
                <a16:creationId xmlns:a16="http://schemas.microsoft.com/office/drawing/2014/main" id="{81C42FE7-834D-4C86-89F7-A0916D75204A}"/>
              </a:ext>
            </a:extLst>
          </p:cNvPr>
          <p:cNvSpPr/>
          <p:nvPr>
            <p:custDataLst>
              <p:tags r:id="rId5"/>
            </p:custDataLst>
          </p:nvPr>
        </p:nvSpPr>
        <p:spPr bwMode="auto">
          <a:xfrm>
            <a:off x="1376383" y="3967852"/>
            <a:ext cx="198000" cy="196851"/>
          </a:xfrm>
          <a:prstGeom prst="rect">
            <a:avLst/>
          </a:prstGeom>
          <a:solidFill>
            <a:srgbClr val="9BBE42"/>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343" rtl="0" eaLnBrk="1" fontAlgn="auto" latinLnBrk="0" hangingPunct="1">
              <a:lnSpc>
                <a:spcPct val="100000"/>
              </a:lnSpc>
              <a:spcBef>
                <a:spcPts val="0"/>
              </a:spcBef>
              <a:spcAft>
                <a:spcPts val="0"/>
              </a:spcAft>
              <a:buClrTx/>
              <a:buSzTx/>
              <a:buFontTx/>
              <a:buNone/>
              <a:tabLst/>
              <a:defRPr/>
            </a:pPr>
            <a:endParaRPr kumimoji="0" lang="fr-BE" sz="1091" b="0" i="0" u="none" strike="noStrike" kern="1200" cap="none" spc="0" normalizeH="0" baseline="0" noProof="0">
              <a:ln>
                <a:noFill/>
              </a:ln>
              <a:solidFill>
                <a:prstClr val="white"/>
              </a:solidFill>
              <a:effectLst/>
              <a:uLnTx/>
              <a:uFillTx/>
              <a:latin typeface="Arial"/>
              <a:ea typeface="+mn-ea"/>
              <a:cs typeface="Arial"/>
            </a:endParaRPr>
          </a:p>
        </p:txBody>
      </p:sp>
      <p:sp>
        <p:nvSpPr>
          <p:cNvPr id="13" name="Rectangle 28">
            <a:extLst>
              <a:ext uri="{FF2B5EF4-FFF2-40B4-BE49-F238E27FC236}">
                <a16:creationId xmlns:a16="http://schemas.microsoft.com/office/drawing/2014/main" id="{C5DE3EB8-67E6-4396-A0B2-3E373FCC6B72}"/>
              </a:ext>
            </a:extLst>
          </p:cNvPr>
          <p:cNvSpPr/>
          <p:nvPr>
            <p:custDataLst>
              <p:tags r:id="rId6"/>
            </p:custDataLst>
          </p:nvPr>
        </p:nvSpPr>
        <p:spPr bwMode="auto">
          <a:xfrm>
            <a:off x="1376383" y="3390996"/>
            <a:ext cx="198000" cy="196851"/>
          </a:xfrm>
          <a:prstGeom prst="rect">
            <a:avLst/>
          </a:prstGeom>
          <a:solidFill>
            <a:srgbClr val="CCDE9E"/>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343" rtl="0" eaLnBrk="1" fontAlgn="auto" latinLnBrk="0" hangingPunct="1">
              <a:lnSpc>
                <a:spcPct val="100000"/>
              </a:lnSpc>
              <a:spcBef>
                <a:spcPts val="0"/>
              </a:spcBef>
              <a:spcAft>
                <a:spcPts val="0"/>
              </a:spcAft>
              <a:buClrTx/>
              <a:buSzTx/>
              <a:buFontTx/>
              <a:buNone/>
              <a:tabLst/>
              <a:defRPr/>
            </a:pPr>
            <a:endParaRPr kumimoji="0" lang="fr-BE" sz="1091" b="0" i="0" u="none" strike="noStrike" kern="1200" cap="none" spc="0" normalizeH="0" baseline="0" noProof="0">
              <a:ln>
                <a:noFill/>
              </a:ln>
              <a:solidFill>
                <a:prstClr val="white"/>
              </a:solidFill>
              <a:effectLst/>
              <a:uLnTx/>
              <a:uFillTx/>
              <a:latin typeface="Arial"/>
              <a:ea typeface="+mn-ea"/>
              <a:cs typeface="Arial"/>
            </a:endParaRPr>
          </a:p>
        </p:txBody>
      </p:sp>
      <p:sp>
        <p:nvSpPr>
          <p:cNvPr id="14" name="Rectangle 30">
            <a:extLst>
              <a:ext uri="{FF2B5EF4-FFF2-40B4-BE49-F238E27FC236}">
                <a16:creationId xmlns:a16="http://schemas.microsoft.com/office/drawing/2014/main" id="{15D03E2E-E46B-40D4-AE16-AA4DD8546EEE}"/>
              </a:ext>
            </a:extLst>
          </p:cNvPr>
          <p:cNvSpPr/>
          <p:nvPr>
            <p:custDataLst>
              <p:tags r:id="rId7"/>
            </p:custDataLst>
          </p:nvPr>
        </p:nvSpPr>
        <p:spPr bwMode="auto">
          <a:xfrm>
            <a:off x="1376383" y="3102568"/>
            <a:ext cx="198000" cy="196851"/>
          </a:xfrm>
          <a:prstGeom prst="rect">
            <a:avLst/>
          </a:prstGeom>
          <a:solidFill>
            <a:srgbClr val="48A9E7"/>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343" rtl="0" eaLnBrk="1" fontAlgn="auto" latinLnBrk="0" hangingPunct="1">
              <a:lnSpc>
                <a:spcPct val="100000"/>
              </a:lnSpc>
              <a:spcBef>
                <a:spcPts val="0"/>
              </a:spcBef>
              <a:spcAft>
                <a:spcPts val="0"/>
              </a:spcAft>
              <a:buClrTx/>
              <a:buSzTx/>
              <a:buFontTx/>
              <a:buNone/>
              <a:tabLst/>
              <a:defRPr/>
            </a:pPr>
            <a:endParaRPr kumimoji="0" lang="fr-BE" sz="1091" b="0" i="0" u="none" strike="noStrike" kern="1200" cap="none" spc="0" normalizeH="0" baseline="0" noProof="0">
              <a:ln>
                <a:noFill/>
              </a:ln>
              <a:solidFill>
                <a:prstClr val="white"/>
              </a:solidFill>
              <a:effectLst/>
              <a:uLnTx/>
              <a:uFillTx/>
              <a:latin typeface="Arial"/>
              <a:ea typeface="+mn-ea"/>
              <a:cs typeface="Arial"/>
            </a:endParaRPr>
          </a:p>
        </p:txBody>
      </p:sp>
      <p:sp>
        <p:nvSpPr>
          <p:cNvPr id="15" name="Rectangle 31">
            <a:extLst>
              <a:ext uri="{FF2B5EF4-FFF2-40B4-BE49-F238E27FC236}">
                <a16:creationId xmlns:a16="http://schemas.microsoft.com/office/drawing/2014/main" id="{3E02C5BD-4E8E-4E39-B2C7-D78CD02E642F}"/>
              </a:ext>
            </a:extLst>
          </p:cNvPr>
          <p:cNvSpPr/>
          <p:nvPr>
            <p:custDataLst>
              <p:tags r:id="rId8"/>
            </p:custDataLst>
          </p:nvPr>
        </p:nvSpPr>
        <p:spPr bwMode="auto">
          <a:xfrm>
            <a:off x="1376383" y="4256280"/>
            <a:ext cx="198000" cy="196851"/>
          </a:xfrm>
          <a:prstGeom prst="rect">
            <a:avLst/>
          </a:prstGeom>
          <a:solidFill>
            <a:srgbClr val="A6A6A6"/>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343" rtl="0" eaLnBrk="1" fontAlgn="auto" latinLnBrk="0" hangingPunct="1">
              <a:lnSpc>
                <a:spcPct val="100000"/>
              </a:lnSpc>
              <a:spcBef>
                <a:spcPts val="0"/>
              </a:spcBef>
              <a:spcAft>
                <a:spcPts val="0"/>
              </a:spcAft>
              <a:buClrTx/>
              <a:buSzTx/>
              <a:buFontTx/>
              <a:buNone/>
              <a:tabLst/>
              <a:defRPr/>
            </a:pPr>
            <a:endParaRPr kumimoji="0" lang="fr-BE" sz="1091" b="0" i="0" u="none" strike="noStrike" kern="1200" cap="none" spc="0" normalizeH="0" baseline="0" noProof="0">
              <a:ln>
                <a:noFill/>
              </a:ln>
              <a:solidFill>
                <a:prstClr val="white"/>
              </a:solidFill>
              <a:effectLst/>
              <a:uLnTx/>
              <a:uFillTx/>
              <a:latin typeface="Arial"/>
              <a:ea typeface="+mn-ea"/>
              <a:cs typeface="Arial"/>
            </a:endParaRPr>
          </a:p>
        </p:txBody>
      </p:sp>
      <p:sp>
        <p:nvSpPr>
          <p:cNvPr id="16" name="Tijdelijke aanduiding voor tekst 1">
            <a:extLst>
              <a:ext uri="{FF2B5EF4-FFF2-40B4-BE49-F238E27FC236}">
                <a16:creationId xmlns:a16="http://schemas.microsoft.com/office/drawing/2014/main" id="{1295D3FF-BC88-4F5E-ACA0-EC96B908C437}"/>
              </a:ext>
            </a:extLst>
          </p:cNvPr>
          <p:cNvSpPr>
            <a:spLocks noGrp="1"/>
          </p:cNvSpPr>
          <p:nvPr>
            <p:custDataLst>
              <p:tags r:id="rId9"/>
            </p:custDataLst>
          </p:nvPr>
        </p:nvSpPr>
        <p:spPr bwMode="auto">
          <a:xfrm>
            <a:off x="1706585" y="3384647"/>
            <a:ext cx="196851"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l" defTabSz="554343" rtl="0" eaLnBrk="1" fontAlgn="auto" latinLnBrk="0" hangingPunct="1">
              <a:lnSpc>
                <a:spcPct val="100000"/>
              </a:lnSpc>
              <a:spcBef>
                <a:spcPct val="0"/>
              </a:spcBef>
              <a:spcAft>
                <a:spcPct val="0"/>
              </a:spcAft>
              <a:buClrTx/>
              <a:buSzTx/>
              <a:buFontTx/>
              <a:buNone/>
              <a:tabLst/>
              <a:defRPr/>
            </a:pPr>
            <a:r>
              <a:rPr kumimoji="0" lang="fr-BE" sz="1467" b="0" i="0" u="none" strike="noStrike" kern="0" cap="none" spc="0" normalizeH="0" baseline="0" noProof="0">
                <a:ln>
                  <a:noFill/>
                </a:ln>
                <a:solidFill>
                  <a:srgbClr val="6F6F6F"/>
                </a:solidFill>
                <a:effectLst/>
                <a:uLnTx/>
                <a:uFillTx/>
                <a:latin typeface="Arial"/>
                <a:ea typeface="+mn-ea"/>
                <a:cs typeface="Arial"/>
              </a:rPr>
              <a:t>Solar</a:t>
            </a:r>
          </a:p>
        </p:txBody>
      </p:sp>
      <p:sp>
        <p:nvSpPr>
          <p:cNvPr id="17" name="Tijdelijke aanduiding voor tekst 1">
            <a:extLst>
              <a:ext uri="{FF2B5EF4-FFF2-40B4-BE49-F238E27FC236}">
                <a16:creationId xmlns:a16="http://schemas.microsoft.com/office/drawing/2014/main" id="{5606D64B-C490-43F9-9DB9-7BECB6097645}"/>
              </a:ext>
            </a:extLst>
          </p:cNvPr>
          <p:cNvSpPr>
            <a:spLocks noGrp="1"/>
          </p:cNvSpPr>
          <p:nvPr>
            <p:custDataLst>
              <p:tags r:id="rId10"/>
            </p:custDataLst>
          </p:nvPr>
        </p:nvSpPr>
        <p:spPr bwMode="auto">
          <a:xfrm>
            <a:off x="1706585" y="4826784"/>
            <a:ext cx="654051"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l" defTabSz="554343" rtl="0" eaLnBrk="1" fontAlgn="auto" latinLnBrk="0" hangingPunct="1">
              <a:lnSpc>
                <a:spcPct val="100000"/>
              </a:lnSpc>
              <a:spcBef>
                <a:spcPct val="0"/>
              </a:spcBef>
              <a:spcAft>
                <a:spcPct val="0"/>
              </a:spcAft>
              <a:buClrTx/>
              <a:buSzTx/>
              <a:buFontTx/>
              <a:buNone/>
              <a:tabLst/>
              <a:defRPr/>
            </a:pPr>
            <a:r>
              <a:rPr kumimoji="0" lang="fr-BE" altLang="en-US" sz="1467" b="0" i="0" u="none" strike="noStrike" kern="0" cap="none" spc="0" normalizeH="0" baseline="0" noProof="0" err="1">
                <a:ln>
                  <a:noFill/>
                </a:ln>
                <a:solidFill>
                  <a:srgbClr val="6F6F6F"/>
                </a:solidFill>
                <a:effectLst/>
                <a:uLnTx/>
                <a:uFillTx/>
                <a:latin typeface="Arial"/>
                <a:ea typeface="+mn-ea"/>
                <a:cs typeface="Arial"/>
              </a:rPr>
              <a:t>Nuclear</a:t>
            </a:r>
            <a:endParaRPr kumimoji="0" lang="fr-BE" sz="1467" b="0" i="0" u="none" strike="noStrike" kern="0" cap="none" spc="0" normalizeH="0" baseline="0" noProof="0">
              <a:ln>
                <a:noFill/>
              </a:ln>
              <a:solidFill>
                <a:srgbClr val="6F6F6F"/>
              </a:solidFill>
              <a:effectLst/>
              <a:uLnTx/>
              <a:uFillTx/>
              <a:latin typeface="Arial"/>
              <a:ea typeface="+mn-ea"/>
              <a:cs typeface="Arial"/>
            </a:endParaRPr>
          </a:p>
        </p:txBody>
      </p:sp>
      <p:sp>
        <p:nvSpPr>
          <p:cNvPr id="18" name="Tijdelijke aanduiding voor tekst 1">
            <a:extLst>
              <a:ext uri="{FF2B5EF4-FFF2-40B4-BE49-F238E27FC236}">
                <a16:creationId xmlns:a16="http://schemas.microsoft.com/office/drawing/2014/main" id="{5CBA4933-19D0-47A6-9AC7-F74262B6CB4A}"/>
              </a:ext>
            </a:extLst>
          </p:cNvPr>
          <p:cNvSpPr>
            <a:spLocks noGrp="1"/>
          </p:cNvSpPr>
          <p:nvPr>
            <p:custDataLst>
              <p:tags r:id="rId11"/>
            </p:custDataLst>
          </p:nvPr>
        </p:nvSpPr>
        <p:spPr bwMode="auto">
          <a:xfrm>
            <a:off x="1706585" y="3961503"/>
            <a:ext cx="1157817"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l" defTabSz="554343" rtl="0" eaLnBrk="1" fontAlgn="auto" latinLnBrk="0" hangingPunct="1">
              <a:lnSpc>
                <a:spcPct val="100000"/>
              </a:lnSpc>
              <a:spcBef>
                <a:spcPct val="0"/>
              </a:spcBef>
              <a:spcAft>
                <a:spcPct val="0"/>
              </a:spcAft>
              <a:buClrTx/>
              <a:buSzTx/>
              <a:buFontTx/>
              <a:buNone/>
              <a:tabLst/>
              <a:defRPr/>
            </a:pPr>
            <a:r>
              <a:rPr kumimoji="0" lang="fr-BE" altLang="en-US" sz="1467" b="0" i="0" u="none" strike="noStrike" kern="0" cap="none" spc="0" normalizeH="0" baseline="0" noProof="0">
                <a:ln>
                  <a:noFill/>
                </a:ln>
                <a:solidFill>
                  <a:srgbClr val="6F6F6F"/>
                </a:solidFill>
                <a:effectLst/>
                <a:uLnTx/>
                <a:uFillTx/>
                <a:latin typeface="Arial"/>
                <a:ea typeface="+mn-ea"/>
                <a:cs typeface="Arial"/>
              </a:rPr>
              <a:t>Offshore </a:t>
            </a:r>
            <a:r>
              <a:rPr kumimoji="0" lang="fr-BE" altLang="en-US" sz="1467" b="0" i="0" u="none" strike="noStrike" kern="0" cap="none" spc="0" normalizeH="0" baseline="0" noProof="0" err="1">
                <a:ln>
                  <a:noFill/>
                </a:ln>
                <a:solidFill>
                  <a:srgbClr val="6F6F6F"/>
                </a:solidFill>
                <a:effectLst/>
                <a:uLnTx/>
                <a:uFillTx/>
                <a:latin typeface="Arial"/>
                <a:ea typeface="+mn-ea"/>
                <a:cs typeface="Arial"/>
              </a:rPr>
              <a:t>wind</a:t>
            </a:r>
            <a:endParaRPr kumimoji="0" lang="fr-BE" sz="1467" b="0" i="0" u="none" strike="noStrike" kern="0" cap="none" spc="0" normalizeH="0" baseline="0" noProof="0">
              <a:ln>
                <a:noFill/>
              </a:ln>
              <a:solidFill>
                <a:srgbClr val="6F6F6F"/>
              </a:solidFill>
              <a:effectLst/>
              <a:uLnTx/>
              <a:uFillTx/>
              <a:latin typeface="Arial"/>
              <a:ea typeface="+mn-ea"/>
              <a:cs typeface="Arial"/>
            </a:endParaRPr>
          </a:p>
        </p:txBody>
      </p:sp>
      <p:sp>
        <p:nvSpPr>
          <p:cNvPr id="19" name="Tijdelijke aanduiding voor tekst 1">
            <a:extLst>
              <a:ext uri="{FF2B5EF4-FFF2-40B4-BE49-F238E27FC236}">
                <a16:creationId xmlns:a16="http://schemas.microsoft.com/office/drawing/2014/main" id="{0064353D-A4C5-4071-84CA-01C9450D585E}"/>
              </a:ext>
            </a:extLst>
          </p:cNvPr>
          <p:cNvSpPr>
            <a:spLocks noGrp="1"/>
          </p:cNvSpPr>
          <p:nvPr>
            <p:custDataLst>
              <p:tags r:id="rId12"/>
            </p:custDataLst>
          </p:nvPr>
        </p:nvSpPr>
        <p:spPr bwMode="auto">
          <a:xfrm>
            <a:off x="1706585" y="4538358"/>
            <a:ext cx="806451"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l" defTabSz="554343" rtl="0" eaLnBrk="1" fontAlgn="auto" latinLnBrk="0" hangingPunct="1">
              <a:lnSpc>
                <a:spcPct val="100000"/>
              </a:lnSpc>
              <a:spcBef>
                <a:spcPct val="0"/>
              </a:spcBef>
              <a:spcAft>
                <a:spcPct val="0"/>
              </a:spcAft>
              <a:buClrTx/>
              <a:buSzTx/>
              <a:buFontTx/>
              <a:buNone/>
              <a:tabLst/>
              <a:defRPr/>
            </a:pPr>
            <a:r>
              <a:rPr kumimoji="0" lang="fr-BE" altLang="en-US" sz="1467" b="0" i="0" u="none" strike="noStrike" kern="0" cap="none" spc="0" normalizeH="0" baseline="0" noProof="0">
                <a:ln>
                  <a:noFill/>
                </a:ln>
                <a:solidFill>
                  <a:srgbClr val="6F6F6F"/>
                </a:solidFill>
                <a:effectLst/>
                <a:uLnTx/>
                <a:uFillTx/>
                <a:latin typeface="Arial"/>
                <a:ea typeface="+mn-ea"/>
                <a:cs typeface="Arial"/>
              </a:rPr>
              <a:t>Natural gas</a:t>
            </a:r>
            <a:endParaRPr kumimoji="0" lang="fr-BE" sz="1467" b="0" i="0" u="none" strike="noStrike" kern="0" cap="none" spc="0" normalizeH="0" baseline="0" noProof="0">
              <a:ln>
                <a:noFill/>
              </a:ln>
              <a:solidFill>
                <a:srgbClr val="6F6F6F"/>
              </a:solidFill>
              <a:effectLst/>
              <a:uLnTx/>
              <a:uFillTx/>
              <a:latin typeface="Arial"/>
              <a:ea typeface="+mn-ea"/>
              <a:cs typeface="Arial"/>
            </a:endParaRPr>
          </a:p>
        </p:txBody>
      </p:sp>
      <p:sp>
        <p:nvSpPr>
          <p:cNvPr id="20" name="Tijdelijke aanduiding voor tekst 1">
            <a:extLst>
              <a:ext uri="{FF2B5EF4-FFF2-40B4-BE49-F238E27FC236}">
                <a16:creationId xmlns:a16="http://schemas.microsoft.com/office/drawing/2014/main" id="{3794AD46-B5CC-49C2-81BF-206A7340C520}"/>
              </a:ext>
            </a:extLst>
          </p:cNvPr>
          <p:cNvSpPr>
            <a:spLocks noGrp="1"/>
          </p:cNvSpPr>
          <p:nvPr>
            <p:custDataLst>
              <p:tags r:id="rId13"/>
            </p:custDataLst>
          </p:nvPr>
        </p:nvSpPr>
        <p:spPr bwMode="auto">
          <a:xfrm>
            <a:off x="1706585" y="3673075"/>
            <a:ext cx="1159933"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l" defTabSz="554343" rtl="0" eaLnBrk="1" fontAlgn="auto" latinLnBrk="0" hangingPunct="1">
              <a:lnSpc>
                <a:spcPct val="100000"/>
              </a:lnSpc>
              <a:spcBef>
                <a:spcPct val="0"/>
              </a:spcBef>
              <a:spcAft>
                <a:spcPct val="0"/>
              </a:spcAft>
              <a:buClrTx/>
              <a:buSzTx/>
              <a:buFontTx/>
              <a:buNone/>
              <a:tabLst/>
              <a:defRPr/>
            </a:pPr>
            <a:r>
              <a:rPr kumimoji="0" lang="fr-BE" altLang="en-US" sz="1467" b="0" i="0" u="none" strike="noStrike" kern="0" cap="none" spc="0" normalizeH="0" baseline="0" noProof="0">
                <a:ln>
                  <a:noFill/>
                </a:ln>
                <a:solidFill>
                  <a:srgbClr val="6F6F6F"/>
                </a:solidFill>
                <a:effectLst/>
                <a:uLnTx/>
                <a:uFillTx/>
                <a:latin typeface="Arial"/>
                <a:ea typeface="+mn-ea"/>
                <a:cs typeface="Arial"/>
              </a:rPr>
              <a:t>Onshore </a:t>
            </a:r>
            <a:r>
              <a:rPr kumimoji="0" lang="fr-BE" altLang="en-US" sz="1467" b="0" i="0" u="none" strike="noStrike" kern="0" cap="none" spc="0" normalizeH="0" baseline="0" noProof="0" err="1">
                <a:ln>
                  <a:noFill/>
                </a:ln>
                <a:solidFill>
                  <a:srgbClr val="6F6F6F"/>
                </a:solidFill>
                <a:effectLst/>
                <a:uLnTx/>
                <a:uFillTx/>
                <a:latin typeface="Arial"/>
                <a:ea typeface="+mn-ea"/>
                <a:cs typeface="Arial"/>
              </a:rPr>
              <a:t>wind</a:t>
            </a:r>
            <a:endParaRPr kumimoji="0" lang="fr-BE" sz="1467" b="0" i="0" u="none" strike="noStrike" kern="0" cap="none" spc="0" normalizeH="0" baseline="0" noProof="0">
              <a:ln>
                <a:noFill/>
              </a:ln>
              <a:solidFill>
                <a:srgbClr val="6F6F6F"/>
              </a:solidFill>
              <a:effectLst/>
              <a:uLnTx/>
              <a:uFillTx/>
              <a:latin typeface="Arial"/>
              <a:ea typeface="+mn-ea"/>
              <a:cs typeface="Arial"/>
            </a:endParaRPr>
          </a:p>
        </p:txBody>
      </p:sp>
      <p:sp>
        <p:nvSpPr>
          <p:cNvPr id="21" name="Tijdelijke aanduiding voor tekst 1">
            <a:extLst>
              <a:ext uri="{FF2B5EF4-FFF2-40B4-BE49-F238E27FC236}">
                <a16:creationId xmlns:a16="http://schemas.microsoft.com/office/drawing/2014/main" id="{3CDB7A22-4C59-41F0-A9CD-2804A62D7869}"/>
              </a:ext>
            </a:extLst>
          </p:cNvPr>
          <p:cNvSpPr>
            <a:spLocks noGrp="1"/>
          </p:cNvSpPr>
          <p:nvPr>
            <p:custDataLst>
              <p:tags r:id="rId14"/>
            </p:custDataLst>
          </p:nvPr>
        </p:nvSpPr>
        <p:spPr bwMode="auto">
          <a:xfrm>
            <a:off x="1706585" y="3096219"/>
            <a:ext cx="960967"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l" defTabSz="554343" rtl="0" eaLnBrk="1" fontAlgn="auto" latinLnBrk="0" hangingPunct="1">
              <a:lnSpc>
                <a:spcPct val="100000"/>
              </a:lnSpc>
              <a:spcBef>
                <a:spcPct val="0"/>
              </a:spcBef>
              <a:spcAft>
                <a:spcPct val="0"/>
              </a:spcAft>
              <a:buClrTx/>
              <a:buSzTx/>
              <a:buFontTx/>
              <a:buNone/>
              <a:tabLst/>
              <a:defRPr/>
            </a:pPr>
            <a:r>
              <a:rPr kumimoji="0" lang="fr-BE" sz="1467" b="0" i="0" u="none" strike="noStrike" kern="0" cap="none" spc="0" normalizeH="0" baseline="0" noProof="0" err="1">
                <a:ln>
                  <a:noFill/>
                </a:ln>
                <a:solidFill>
                  <a:srgbClr val="6F6F6F"/>
                </a:solidFill>
                <a:effectLst/>
                <a:uLnTx/>
                <a:uFillTx/>
                <a:latin typeface="Arial"/>
                <a:ea typeface="+mn-ea"/>
                <a:cs typeface="Arial"/>
              </a:rPr>
              <a:t>Hydropower</a:t>
            </a:r>
            <a:endParaRPr kumimoji="0" lang="fr-BE" sz="1467" b="0" i="0" u="none" strike="noStrike" kern="0" cap="none" spc="0" normalizeH="0" baseline="0" noProof="0">
              <a:ln>
                <a:noFill/>
              </a:ln>
              <a:solidFill>
                <a:srgbClr val="6F6F6F"/>
              </a:solidFill>
              <a:effectLst/>
              <a:uLnTx/>
              <a:uFillTx/>
              <a:latin typeface="Arial"/>
              <a:ea typeface="+mn-ea"/>
              <a:cs typeface="Arial"/>
            </a:endParaRPr>
          </a:p>
        </p:txBody>
      </p:sp>
      <p:sp>
        <p:nvSpPr>
          <p:cNvPr id="22" name="Tijdelijke aanduiding voor tekst 1">
            <a:extLst>
              <a:ext uri="{FF2B5EF4-FFF2-40B4-BE49-F238E27FC236}">
                <a16:creationId xmlns:a16="http://schemas.microsoft.com/office/drawing/2014/main" id="{20239929-E245-4980-B454-090DC8E3E4CB}"/>
              </a:ext>
            </a:extLst>
          </p:cNvPr>
          <p:cNvSpPr>
            <a:spLocks noGrp="1"/>
          </p:cNvSpPr>
          <p:nvPr>
            <p:custDataLst>
              <p:tags r:id="rId15"/>
            </p:custDataLst>
          </p:nvPr>
        </p:nvSpPr>
        <p:spPr bwMode="auto">
          <a:xfrm>
            <a:off x="1706585" y="4249931"/>
            <a:ext cx="922867"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l" defTabSz="554343" rtl="0" eaLnBrk="1" fontAlgn="auto" latinLnBrk="0" hangingPunct="1">
              <a:lnSpc>
                <a:spcPct val="100000"/>
              </a:lnSpc>
              <a:spcBef>
                <a:spcPct val="0"/>
              </a:spcBef>
              <a:spcAft>
                <a:spcPct val="0"/>
              </a:spcAft>
              <a:buClrTx/>
              <a:buSzTx/>
              <a:buFontTx/>
              <a:buNone/>
              <a:tabLst/>
              <a:defRPr/>
            </a:pPr>
            <a:r>
              <a:rPr kumimoji="0" lang="fr-BE" altLang="en-US" sz="1467" b="0" i="0" u="none" strike="noStrike" kern="0" cap="none" spc="0" normalizeH="0" baseline="0" noProof="0" err="1">
                <a:ln>
                  <a:noFill/>
                </a:ln>
                <a:solidFill>
                  <a:srgbClr val="6F6F6F"/>
                </a:solidFill>
                <a:effectLst/>
                <a:uLnTx/>
                <a:uFillTx/>
                <a:latin typeface="Arial"/>
                <a:ea typeface="+mn-ea"/>
                <a:cs typeface="Arial"/>
              </a:rPr>
              <a:t>Biomass</a:t>
            </a:r>
            <a:endParaRPr kumimoji="0" lang="fr-BE" sz="1467" b="0" i="0" u="none" strike="noStrike" kern="0" cap="none" spc="0" normalizeH="0" baseline="0" noProof="0">
              <a:ln>
                <a:noFill/>
              </a:ln>
              <a:solidFill>
                <a:srgbClr val="6F6F6F"/>
              </a:solidFill>
              <a:effectLst/>
              <a:uLnTx/>
              <a:uFillTx/>
              <a:latin typeface="Arial"/>
              <a:ea typeface="+mn-ea"/>
              <a:cs typeface="Arial"/>
            </a:endParaRPr>
          </a:p>
        </p:txBody>
      </p:sp>
      <p:sp>
        <p:nvSpPr>
          <p:cNvPr id="23" name="TextBox 12">
            <a:extLst>
              <a:ext uri="{FF2B5EF4-FFF2-40B4-BE49-F238E27FC236}">
                <a16:creationId xmlns:a16="http://schemas.microsoft.com/office/drawing/2014/main" id="{4BC39803-511B-4841-B635-88CD2289BA64}"/>
              </a:ext>
            </a:extLst>
          </p:cNvPr>
          <p:cNvSpPr txBox="1"/>
          <p:nvPr/>
        </p:nvSpPr>
        <p:spPr>
          <a:xfrm>
            <a:off x="4855207" y="6285099"/>
            <a:ext cx="6109612" cy="246221"/>
          </a:xfrm>
          <a:prstGeom prst="rect">
            <a:avLst/>
          </a:prstGeom>
          <a:noFill/>
        </p:spPr>
        <p:txBody>
          <a:bodyPr wrap="square" rtlCol="0">
            <a:spAutoFit/>
          </a:bodyPr>
          <a:lstStyle/>
          <a:p>
            <a:pPr marL="0" marR="0" lvl="0" indent="0" algn="r" defTabSz="554343" rtl="0" eaLnBrk="1" fontAlgn="auto" latinLnBrk="0" hangingPunct="1">
              <a:lnSpc>
                <a:spcPct val="100000"/>
              </a:lnSpc>
              <a:spcBef>
                <a:spcPts val="0"/>
              </a:spcBef>
              <a:spcAft>
                <a:spcPts val="0"/>
              </a:spcAft>
              <a:buClrTx/>
              <a:buSzTx/>
              <a:buFontTx/>
              <a:buNone/>
              <a:tabLst/>
              <a:defRPr/>
            </a:pPr>
            <a:r>
              <a:rPr kumimoji="0" lang="fr-BE" sz="1000" b="0" i="0" u="none" strike="noStrike" kern="1200" cap="none" spc="0" normalizeH="0" baseline="0" noProof="0">
                <a:ln>
                  <a:noFill/>
                </a:ln>
                <a:solidFill>
                  <a:srgbClr val="6F6F6F"/>
                </a:solidFill>
                <a:effectLst/>
                <a:uLnTx/>
                <a:uFillTx/>
                <a:latin typeface="Arial"/>
                <a:ea typeface="+mn-ea"/>
                <a:cs typeface="Arial"/>
              </a:rPr>
              <a:t>Sources: FEBEG, European Commission (interpolation des scénarios 1,5°C), </a:t>
            </a:r>
            <a:r>
              <a:rPr kumimoji="0" lang="fr-BE" sz="1000" b="0" i="0" u="none" strike="noStrike" kern="1200" cap="none" spc="0" normalizeH="0" baseline="0" noProof="0" err="1">
                <a:ln>
                  <a:noFill/>
                </a:ln>
                <a:solidFill>
                  <a:srgbClr val="6F6F6F"/>
                </a:solidFill>
                <a:effectLst/>
                <a:uLnTx/>
                <a:uFillTx/>
                <a:latin typeface="Arial"/>
                <a:ea typeface="+mn-ea"/>
                <a:cs typeface="Arial"/>
              </a:rPr>
              <a:t>Eurelectric</a:t>
            </a:r>
            <a:endParaRPr kumimoji="0" lang="fr-BE" sz="1000" b="0" i="0" u="none" strike="noStrike" kern="1200" cap="none" spc="0" normalizeH="0" baseline="0" noProof="0">
              <a:ln>
                <a:noFill/>
              </a:ln>
              <a:solidFill>
                <a:srgbClr val="6F6F6F"/>
              </a:solidFill>
              <a:effectLst/>
              <a:uLnTx/>
              <a:uFillTx/>
              <a:latin typeface="Arial"/>
              <a:ea typeface="+mn-ea"/>
              <a:cs typeface="Arial"/>
            </a:endParaRPr>
          </a:p>
        </p:txBody>
      </p:sp>
      <p:cxnSp>
        <p:nvCxnSpPr>
          <p:cNvPr id="24" name="Rechte verbindingslijn 3">
            <a:extLst>
              <a:ext uri="{FF2B5EF4-FFF2-40B4-BE49-F238E27FC236}">
                <a16:creationId xmlns:a16="http://schemas.microsoft.com/office/drawing/2014/main" id="{C0A6B49A-4E41-468C-A688-338A4B094FC6}"/>
              </a:ext>
            </a:extLst>
          </p:cNvPr>
          <p:cNvCxnSpPr>
            <a:cxnSpLocks/>
          </p:cNvCxnSpPr>
          <p:nvPr/>
        </p:nvCxnSpPr>
        <p:spPr>
          <a:xfrm>
            <a:off x="4063367" y="5782935"/>
            <a:ext cx="640649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5">
            <a:extLst>
              <a:ext uri="{FF2B5EF4-FFF2-40B4-BE49-F238E27FC236}">
                <a16:creationId xmlns:a16="http://schemas.microsoft.com/office/drawing/2014/main" id="{7B2DCCF4-D110-4566-BAB2-98988E988403}"/>
              </a:ext>
            </a:extLst>
          </p:cNvPr>
          <p:cNvCxnSpPr/>
          <p:nvPr/>
        </p:nvCxnSpPr>
        <p:spPr>
          <a:xfrm flipV="1">
            <a:off x="4063367" y="5640308"/>
            <a:ext cx="0" cy="14485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7">
            <a:extLst>
              <a:ext uri="{FF2B5EF4-FFF2-40B4-BE49-F238E27FC236}">
                <a16:creationId xmlns:a16="http://schemas.microsoft.com/office/drawing/2014/main" id="{1655D848-C7BE-42A1-94EC-1EDEA7421C83}"/>
              </a:ext>
            </a:extLst>
          </p:cNvPr>
          <p:cNvCxnSpPr>
            <a:cxnSpLocks/>
          </p:cNvCxnSpPr>
          <p:nvPr/>
        </p:nvCxnSpPr>
        <p:spPr>
          <a:xfrm flipV="1">
            <a:off x="6625965" y="5640308"/>
            <a:ext cx="0" cy="14485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Rechte verbindingslijn 9">
            <a:extLst>
              <a:ext uri="{FF2B5EF4-FFF2-40B4-BE49-F238E27FC236}">
                <a16:creationId xmlns:a16="http://schemas.microsoft.com/office/drawing/2014/main" id="{976C50ED-6F6E-4303-AC21-CA81F6B9A559}"/>
              </a:ext>
            </a:extLst>
          </p:cNvPr>
          <p:cNvCxnSpPr>
            <a:cxnSpLocks/>
          </p:cNvCxnSpPr>
          <p:nvPr/>
        </p:nvCxnSpPr>
        <p:spPr>
          <a:xfrm flipV="1">
            <a:off x="5344667" y="5640308"/>
            <a:ext cx="0" cy="14485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Rechte verbindingslijn 10">
            <a:extLst>
              <a:ext uri="{FF2B5EF4-FFF2-40B4-BE49-F238E27FC236}">
                <a16:creationId xmlns:a16="http://schemas.microsoft.com/office/drawing/2014/main" id="{95B548F0-3EF6-42AA-8152-FC5C7B6C0495}"/>
              </a:ext>
            </a:extLst>
          </p:cNvPr>
          <p:cNvCxnSpPr>
            <a:cxnSpLocks/>
          </p:cNvCxnSpPr>
          <p:nvPr/>
        </p:nvCxnSpPr>
        <p:spPr>
          <a:xfrm flipV="1">
            <a:off x="7907264" y="5640308"/>
            <a:ext cx="0" cy="14485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11">
            <a:extLst>
              <a:ext uri="{FF2B5EF4-FFF2-40B4-BE49-F238E27FC236}">
                <a16:creationId xmlns:a16="http://schemas.microsoft.com/office/drawing/2014/main" id="{41F0DFED-DD1C-44A6-972D-8941C3CFE348}"/>
              </a:ext>
            </a:extLst>
          </p:cNvPr>
          <p:cNvCxnSpPr>
            <a:cxnSpLocks/>
          </p:cNvCxnSpPr>
          <p:nvPr/>
        </p:nvCxnSpPr>
        <p:spPr>
          <a:xfrm flipV="1">
            <a:off x="9188563" y="5640308"/>
            <a:ext cx="0" cy="14485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Tijdelijke aanduiding voor tekst 1">
            <a:extLst>
              <a:ext uri="{FF2B5EF4-FFF2-40B4-BE49-F238E27FC236}">
                <a16:creationId xmlns:a16="http://schemas.microsoft.com/office/drawing/2014/main" id="{59BAABF8-D12A-4D81-AC8A-2F9E48809B7E}"/>
              </a:ext>
            </a:extLst>
          </p:cNvPr>
          <p:cNvSpPr>
            <a:spLocks noGrp="1"/>
          </p:cNvSpPr>
          <p:nvPr>
            <p:custDataLst>
              <p:tags r:id="rId16"/>
            </p:custDataLst>
          </p:nvPr>
        </p:nvSpPr>
        <p:spPr bwMode="auto">
          <a:xfrm>
            <a:off x="3690917" y="5344629"/>
            <a:ext cx="744903"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ctr" defTabSz="554343" rtl="0" eaLnBrk="1" fontAlgn="auto" latinLnBrk="0" hangingPunct="1">
              <a:lnSpc>
                <a:spcPct val="100000"/>
              </a:lnSpc>
              <a:spcBef>
                <a:spcPct val="0"/>
              </a:spcBef>
              <a:spcAft>
                <a:spcPct val="0"/>
              </a:spcAft>
              <a:buClrTx/>
              <a:buSzTx/>
              <a:buFontTx/>
              <a:buNone/>
              <a:tabLst/>
              <a:defRPr/>
            </a:pPr>
            <a:r>
              <a:rPr kumimoji="0" lang="fr-BE" altLang="en-US" sz="1400" b="0" i="0" u="none" strike="noStrike" kern="0" cap="none" spc="0" normalizeH="0" baseline="0" noProof="0" dirty="0">
                <a:ln>
                  <a:noFill/>
                </a:ln>
                <a:solidFill>
                  <a:srgbClr val="6F6F6F"/>
                </a:solidFill>
                <a:effectLst/>
                <a:uLnTx/>
                <a:uFillTx/>
                <a:latin typeface="Arial"/>
                <a:ea typeface="+mn-ea"/>
                <a:cs typeface="Arial"/>
              </a:rPr>
              <a:t>2020</a:t>
            </a:r>
            <a:endParaRPr kumimoji="0" lang="fr-BE" sz="1400" b="0" i="0" u="none" strike="noStrike" kern="0" cap="none" spc="0" normalizeH="0" baseline="0" noProof="0" dirty="0">
              <a:ln>
                <a:noFill/>
              </a:ln>
              <a:solidFill>
                <a:srgbClr val="6F6F6F"/>
              </a:solidFill>
              <a:effectLst/>
              <a:uLnTx/>
              <a:uFillTx/>
              <a:latin typeface="Arial"/>
              <a:ea typeface="+mn-ea"/>
              <a:cs typeface="Arial"/>
            </a:endParaRPr>
          </a:p>
        </p:txBody>
      </p:sp>
      <p:sp>
        <p:nvSpPr>
          <p:cNvPr id="32" name="Tijdelijke aanduiding voor tekst 1">
            <a:extLst>
              <a:ext uri="{FF2B5EF4-FFF2-40B4-BE49-F238E27FC236}">
                <a16:creationId xmlns:a16="http://schemas.microsoft.com/office/drawing/2014/main" id="{6F3B2F0B-9AF0-41CE-9470-101CE00E939E}"/>
              </a:ext>
            </a:extLst>
          </p:cNvPr>
          <p:cNvSpPr>
            <a:spLocks noGrp="1"/>
          </p:cNvSpPr>
          <p:nvPr>
            <p:custDataLst>
              <p:tags r:id="rId17"/>
            </p:custDataLst>
          </p:nvPr>
        </p:nvSpPr>
        <p:spPr bwMode="auto">
          <a:xfrm>
            <a:off x="4972215" y="5344629"/>
            <a:ext cx="744903"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ctr" defTabSz="554343" rtl="0" eaLnBrk="1" fontAlgn="auto" latinLnBrk="0" hangingPunct="1">
              <a:lnSpc>
                <a:spcPct val="100000"/>
              </a:lnSpc>
              <a:spcBef>
                <a:spcPct val="0"/>
              </a:spcBef>
              <a:spcAft>
                <a:spcPct val="0"/>
              </a:spcAft>
              <a:buClrTx/>
              <a:buSzTx/>
              <a:buFontTx/>
              <a:buNone/>
              <a:tabLst/>
              <a:defRPr/>
            </a:pPr>
            <a:r>
              <a:rPr kumimoji="0" lang="fr-BE" altLang="en-US" sz="1400" b="0" i="0" u="none" strike="noStrike" kern="0" cap="none" spc="0" normalizeH="0" baseline="0" noProof="0">
                <a:ln>
                  <a:noFill/>
                </a:ln>
                <a:solidFill>
                  <a:srgbClr val="6F6F6F"/>
                </a:solidFill>
                <a:effectLst/>
                <a:uLnTx/>
                <a:uFillTx/>
                <a:latin typeface="Arial"/>
                <a:ea typeface="+mn-ea"/>
                <a:cs typeface="Arial"/>
              </a:rPr>
              <a:t>2030</a:t>
            </a:r>
            <a:endParaRPr kumimoji="0" lang="fr-BE" sz="1400" b="0" i="0" u="none" strike="noStrike" kern="0" cap="none" spc="0" normalizeH="0" baseline="0" noProof="0">
              <a:ln>
                <a:noFill/>
              </a:ln>
              <a:solidFill>
                <a:srgbClr val="6F6F6F"/>
              </a:solidFill>
              <a:effectLst/>
              <a:uLnTx/>
              <a:uFillTx/>
              <a:latin typeface="Arial"/>
              <a:ea typeface="+mn-ea"/>
              <a:cs typeface="Arial"/>
            </a:endParaRPr>
          </a:p>
        </p:txBody>
      </p:sp>
      <p:sp>
        <p:nvSpPr>
          <p:cNvPr id="33" name="Tijdelijke aanduiding voor tekst 1">
            <a:extLst>
              <a:ext uri="{FF2B5EF4-FFF2-40B4-BE49-F238E27FC236}">
                <a16:creationId xmlns:a16="http://schemas.microsoft.com/office/drawing/2014/main" id="{4F43383A-F161-4ECE-9984-298CD75CC645}"/>
              </a:ext>
            </a:extLst>
          </p:cNvPr>
          <p:cNvSpPr>
            <a:spLocks noGrp="1"/>
          </p:cNvSpPr>
          <p:nvPr>
            <p:custDataLst>
              <p:tags r:id="rId18"/>
            </p:custDataLst>
          </p:nvPr>
        </p:nvSpPr>
        <p:spPr bwMode="auto">
          <a:xfrm>
            <a:off x="6253514" y="5344629"/>
            <a:ext cx="744903"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ctr" defTabSz="554343" rtl="0" eaLnBrk="1" fontAlgn="auto" latinLnBrk="0" hangingPunct="1">
              <a:lnSpc>
                <a:spcPct val="100000"/>
              </a:lnSpc>
              <a:spcBef>
                <a:spcPct val="0"/>
              </a:spcBef>
              <a:spcAft>
                <a:spcPct val="0"/>
              </a:spcAft>
              <a:buClrTx/>
              <a:buSzTx/>
              <a:buFontTx/>
              <a:buNone/>
              <a:tabLst/>
              <a:defRPr/>
            </a:pPr>
            <a:r>
              <a:rPr kumimoji="0" lang="fr-BE" altLang="en-US" sz="1400" b="0" i="0" u="none" strike="noStrike" kern="0" cap="none" spc="0" normalizeH="0" baseline="0" noProof="0">
                <a:ln>
                  <a:noFill/>
                </a:ln>
                <a:solidFill>
                  <a:srgbClr val="6F6F6F"/>
                </a:solidFill>
                <a:effectLst/>
                <a:uLnTx/>
                <a:uFillTx/>
                <a:latin typeface="Arial"/>
                <a:ea typeface="+mn-ea"/>
                <a:cs typeface="Arial"/>
              </a:rPr>
              <a:t>2035</a:t>
            </a:r>
            <a:endParaRPr kumimoji="0" lang="fr-BE" sz="1400" b="0" i="0" u="none" strike="noStrike" kern="0" cap="none" spc="0" normalizeH="0" baseline="0" noProof="0">
              <a:ln>
                <a:noFill/>
              </a:ln>
              <a:solidFill>
                <a:srgbClr val="6F6F6F"/>
              </a:solidFill>
              <a:effectLst/>
              <a:uLnTx/>
              <a:uFillTx/>
              <a:latin typeface="Arial"/>
              <a:ea typeface="+mn-ea"/>
              <a:cs typeface="Arial"/>
            </a:endParaRPr>
          </a:p>
        </p:txBody>
      </p:sp>
      <p:sp>
        <p:nvSpPr>
          <p:cNvPr id="34" name="Tijdelijke aanduiding voor tekst 1">
            <a:extLst>
              <a:ext uri="{FF2B5EF4-FFF2-40B4-BE49-F238E27FC236}">
                <a16:creationId xmlns:a16="http://schemas.microsoft.com/office/drawing/2014/main" id="{715BE410-AEE5-4D0E-8121-1341BE004F77}"/>
              </a:ext>
            </a:extLst>
          </p:cNvPr>
          <p:cNvSpPr>
            <a:spLocks noGrp="1"/>
          </p:cNvSpPr>
          <p:nvPr>
            <p:custDataLst>
              <p:tags r:id="rId19"/>
            </p:custDataLst>
          </p:nvPr>
        </p:nvSpPr>
        <p:spPr bwMode="auto">
          <a:xfrm>
            <a:off x="7534814" y="5344629"/>
            <a:ext cx="744903"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ctr" defTabSz="554343" rtl="0" eaLnBrk="1" fontAlgn="auto" latinLnBrk="0" hangingPunct="1">
              <a:lnSpc>
                <a:spcPct val="100000"/>
              </a:lnSpc>
              <a:spcBef>
                <a:spcPct val="0"/>
              </a:spcBef>
              <a:spcAft>
                <a:spcPct val="0"/>
              </a:spcAft>
              <a:buClrTx/>
              <a:buSzTx/>
              <a:buFontTx/>
              <a:buNone/>
              <a:tabLst/>
              <a:defRPr/>
            </a:pPr>
            <a:r>
              <a:rPr kumimoji="0" lang="fr-BE" altLang="en-US" sz="1400" b="0" i="0" u="none" strike="noStrike" kern="0" cap="none" spc="0" normalizeH="0" baseline="0" noProof="0">
                <a:ln>
                  <a:noFill/>
                </a:ln>
                <a:solidFill>
                  <a:srgbClr val="6F6F6F"/>
                </a:solidFill>
                <a:effectLst/>
                <a:uLnTx/>
                <a:uFillTx/>
                <a:latin typeface="Arial"/>
                <a:ea typeface="+mn-ea"/>
                <a:cs typeface="Arial"/>
              </a:rPr>
              <a:t>2040</a:t>
            </a:r>
            <a:endParaRPr kumimoji="0" lang="fr-BE" sz="1400" b="0" i="0" u="none" strike="noStrike" kern="0" cap="none" spc="0" normalizeH="0" baseline="0" noProof="0">
              <a:ln>
                <a:noFill/>
              </a:ln>
              <a:solidFill>
                <a:srgbClr val="6F6F6F"/>
              </a:solidFill>
              <a:effectLst/>
              <a:uLnTx/>
              <a:uFillTx/>
              <a:latin typeface="Arial"/>
              <a:ea typeface="+mn-ea"/>
              <a:cs typeface="Arial"/>
            </a:endParaRPr>
          </a:p>
        </p:txBody>
      </p:sp>
      <p:sp>
        <p:nvSpPr>
          <p:cNvPr id="35" name="Tijdelijke aanduiding voor tekst 1">
            <a:extLst>
              <a:ext uri="{FF2B5EF4-FFF2-40B4-BE49-F238E27FC236}">
                <a16:creationId xmlns:a16="http://schemas.microsoft.com/office/drawing/2014/main" id="{66E8D2F0-E136-4C12-ACB7-240ACC189D43}"/>
              </a:ext>
            </a:extLst>
          </p:cNvPr>
          <p:cNvSpPr>
            <a:spLocks noGrp="1"/>
          </p:cNvSpPr>
          <p:nvPr>
            <p:custDataLst>
              <p:tags r:id="rId20"/>
            </p:custDataLst>
          </p:nvPr>
        </p:nvSpPr>
        <p:spPr bwMode="auto">
          <a:xfrm>
            <a:off x="8816113" y="5344629"/>
            <a:ext cx="744903"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ctr" defTabSz="554343" rtl="0" eaLnBrk="1" fontAlgn="auto" latinLnBrk="0" hangingPunct="1">
              <a:lnSpc>
                <a:spcPct val="100000"/>
              </a:lnSpc>
              <a:spcBef>
                <a:spcPct val="0"/>
              </a:spcBef>
              <a:spcAft>
                <a:spcPct val="0"/>
              </a:spcAft>
              <a:buClrTx/>
              <a:buSzTx/>
              <a:buFontTx/>
              <a:buNone/>
              <a:tabLst/>
              <a:defRPr/>
            </a:pPr>
            <a:r>
              <a:rPr kumimoji="0" lang="fr-BE" altLang="en-US" sz="1400" b="0" i="0" u="none" strike="noStrike" kern="0" cap="none" spc="0" normalizeH="0" baseline="0" noProof="0">
                <a:ln>
                  <a:noFill/>
                </a:ln>
                <a:solidFill>
                  <a:srgbClr val="6F6F6F"/>
                </a:solidFill>
                <a:effectLst/>
                <a:uLnTx/>
                <a:uFillTx/>
                <a:latin typeface="Arial"/>
                <a:ea typeface="+mn-ea"/>
                <a:cs typeface="Arial"/>
              </a:rPr>
              <a:t>2045</a:t>
            </a:r>
            <a:endParaRPr kumimoji="0" lang="fr-BE" sz="1400" b="0" i="0" u="none" strike="noStrike" kern="0" cap="none" spc="0" normalizeH="0" baseline="0" noProof="0">
              <a:ln>
                <a:noFill/>
              </a:ln>
              <a:solidFill>
                <a:srgbClr val="6F6F6F"/>
              </a:solidFill>
              <a:effectLst/>
              <a:uLnTx/>
              <a:uFillTx/>
              <a:latin typeface="Arial"/>
              <a:ea typeface="+mn-ea"/>
              <a:cs typeface="Arial"/>
            </a:endParaRPr>
          </a:p>
        </p:txBody>
      </p:sp>
      <p:sp>
        <p:nvSpPr>
          <p:cNvPr id="36" name="Tijdelijke aanduiding voor tekst 1">
            <a:extLst>
              <a:ext uri="{FF2B5EF4-FFF2-40B4-BE49-F238E27FC236}">
                <a16:creationId xmlns:a16="http://schemas.microsoft.com/office/drawing/2014/main" id="{B729A44E-E7D9-4F28-866F-C854747828F3}"/>
              </a:ext>
            </a:extLst>
          </p:cNvPr>
          <p:cNvSpPr>
            <a:spLocks noGrp="1"/>
          </p:cNvSpPr>
          <p:nvPr>
            <p:custDataLst>
              <p:tags r:id="rId21"/>
            </p:custDataLst>
          </p:nvPr>
        </p:nvSpPr>
        <p:spPr bwMode="auto">
          <a:xfrm>
            <a:off x="10097410" y="5344629"/>
            <a:ext cx="744903"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ctr" defTabSz="554343" rtl="0" eaLnBrk="1" fontAlgn="auto" latinLnBrk="0" hangingPunct="1">
              <a:lnSpc>
                <a:spcPct val="100000"/>
              </a:lnSpc>
              <a:spcBef>
                <a:spcPct val="0"/>
              </a:spcBef>
              <a:spcAft>
                <a:spcPct val="0"/>
              </a:spcAft>
              <a:buClrTx/>
              <a:buSzTx/>
              <a:buFontTx/>
              <a:buNone/>
              <a:tabLst/>
              <a:defRPr/>
            </a:pPr>
            <a:r>
              <a:rPr kumimoji="0" lang="fr-BE" altLang="en-US" sz="1400" b="0" i="0" u="none" strike="noStrike" kern="0" cap="none" spc="0" normalizeH="0" baseline="0" noProof="0">
                <a:ln>
                  <a:noFill/>
                </a:ln>
                <a:solidFill>
                  <a:srgbClr val="6F6F6F"/>
                </a:solidFill>
                <a:effectLst/>
                <a:uLnTx/>
                <a:uFillTx/>
                <a:latin typeface="Arial"/>
                <a:ea typeface="+mn-ea"/>
                <a:cs typeface="Arial"/>
              </a:rPr>
              <a:t>2050</a:t>
            </a:r>
            <a:endParaRPr kumimoji="0" lang="fr-BE" sz="1400" b="0" i="0" u="none" strike="noStrike" kern="0" cap="none" spc="0" normalizeH="0" baseline="0" noProof="0">
              <a:ln>
                <a:noFill/>
              </a:ln>
              <a:solidFill>
                <a:srgbClr val="6F6F6F"/>
              </a:solidFill>
              <a:effectLst/>
              <a:uLnTx/>
              <a:uFillTx/>
              <a:latin typeface="Arial"/>
              <a:ea typeface="+mn-ea"/>
              <a:cs typeface="Arial"/>
            </a:endParaRPr>
          </a:p>
        </p:txBody>
      </p:sp>
      <p:sp>
        <p:nvSpPr>
          <p:cNvPr id="37" name="Oval 9">
            <a:extLst>
              <a:ext uri="{FF2B5EF4-FFF2-40B4-BE49-F238E27FC236}">
                <a16:creationId xmlns:a16="http://schemas.microsoft.com/office/drawing/2014/main" id="{EF256AAB-52AC-4BB4-BCDD-15063F51034B}"/>
              </a:ext>
            </a:extLst>
          </p:cNvPr>
          <p:cNvSpPr>
            <a:spLocks noChangeAspect="1"/>
          </p:cNvSpPr>
          <p:nvPr/>
        </p:nvSpPr>
        <p:spPr>
          <a:xfrm>
            <a:off x="4335931" y="3648922"/>
            <a:ext cx="1141615" cy="114161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343" rtl="0" eaLnBrk="1" fontAlgn="auto" latinLnBrk="0" hangingPunct="1">
              <a:lnSpc>
                <a:spcPct val="100000"/>
              </a:lnSpc>
              <a:spcBef>
                <a:spcPts val="0"/>
              </a:spcBef>
              <a:spcAft>
                <a:spcPts val="0"/>
              </a:spcAft>
              <a:buClrTx/>
              <a:buSzTx/>
              <a:buFontTx/>
              <a:buNone/>
              <a:tabLst/>
              <a:defRPr/>
            </a:pPr>
            <a:r>
              <a:rPr kumimoji="0" lang="fr-BE" sz="1867" b="1" i="0" u="none" strike="noStrike" kern="1200" cap="none" spc="0" normalizeH="0" baseline="0" noProof="0" dirty="0">
                <a:ln>
                  <a:noFill/>
                </a:ln>
                <a:solidFill>
                  <a:prstClr val="black"/>
                </a:solidFill>
                <a:effectLst/>
                <a:uLnTx/>
                <a:uFillTx/>
                <a:latin typeface="Arial"/>
                <a:ea typeface="+mn-ea"/>
                <a:cs typeface="Arial"/>
              </a:rPr>
              <a:t> 85</a:t>
            </a:r>
            <a:r>
              <a:rPr kumimoji="0" lang="fr-BE" sz="1867" b="0" i="0" u="none" strike="noStrike" kern="1200" cap="none" spc="0" normalizeH="0" baseline="0" noProof="0" dirty="0">
                <a:ln>
                  <a:noFill/>
                </a:ln>
                <a:solidFill>
                  <a:prstClr val="black"/>
                </a:solidFill>
                <a:effectLst/>
                <a:uLnTx/>
                <a:uFillTx/>
                <a:latin typeface="Arial"/>
                <a:ea typeface="+mn-ea"/>
                <a:cs typeface="Arial"/>
              </a:rPr>
              <a:t> TWh</a:t>
            </a:r>
          </a:p>
        </p:txBody>
      </p:sp>
      <p:sp>
        <p:nvSpPr>
          <p:cNvPr id="38" name="Oval 9">
            <a:extLst>
              <a:ext uri="{FF2B5EF4-FFF2-40B4-BE49-F238E27FC236}">
                <a16:creationId xmlns:a16="http://schemas.microsoft.com/office/drawing/2014/main" id="{16E27333-1705-4A8A-B03E-B0E74369D1EB}"/>
              </a:ext>
            </a:extLst>
          </p:cNvPr>
          <p:cNvSpPr>
            <a:spLocks noChangeAspect="1"/>
          </p:cNvSpPr>
          <p:nvPr/>
        </p:nvSpPr>
        <p:spPr>
          <a:xfrm>
            <a:off x="8679932" y="1424597"/>
            <a:ext cx="1710617" cy="171061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343" rtl="0" eaLnBrk="1" fontAlgn="auto" latinLnBrk="0" hangingPunct="1">
              <a:lnSpc>
                <a:spcPct val="100000"/>
              </a:lnSpc>
              <a:spcBef>
                <a:spcPts val="0"/>
              </a:spcBef>
              <a:spcAft>
                <a:spcPts val="0"/>
              </a:spcAft>
              <a:buClrTx/>
              <a:buSzTx/>
              <a:buFontTx/>
              <a:buNone/>
              <a:tabLst/>
              <a:defRPr/>
            </a:pPr>
            <a:r>
              <a:rPr kumimoji="0" lang="fr-BE" sz="1867" b="1" i="0" u="none" strike="noStrike" kern="1200" cap="none" spc="0" normalizeH="0" baseline="0" noProof="0">
                <a:ln>
                  <a:noFill/>
                </a:ln>
                <a:solidFill>
                  <a:prstClr val="black"/>
                </a:solidFill>
                <a:effectLst/>
                <a:uLnTx/>
                <a:uFillTx/>
                <a:latin typeface="Arial"/>
                <a:ea typeface="+mn-ea"/>
                <a:cs typeface="Arial"/>
              </a:rPr>
              <a:t>245</a:t>
            </a:r>
            <a:r>
              <a:rPr kumimoji="0" lang="fr-BE" sz="1867" b="0" i="0" u="none" strike="noStrike" kern="1200" cap="none" spc="0" normalizeH="0" baseline="0" noProof="0">
                <a:ln>
                  <a:noFill/>
                </a:ln>
                <a:solidFill>
                  <a:prstClr val="black"/>
                </a:solidFill>
                <a:effectLst/>
                <a:uLnTx/>
                <a:uFillTx/>
                <a:latin typeface="Arial"/>
                <a:ea typeface="+mn-ea"/>
                <a:cs typeface="Arial"/>
              </a:rPr>
              <a:t> TWh </a:t>
            </a:r>
            <a:r>
              <a:rPr kumimoji="0" lang="fr-BE" sz="1400" b="0" i="0" u="none" strike="noStrike" kern="1200" cap="none" spc="0" normalizeH="0" baseline="0" noProof="0">
                <a:ln>
                  <a:noFill/>
                </a:ln>
                <a:solidFill>
                  <a:prstClr val="black"/>
                </a:solidFill>
                <a:effectLst/>
                <a:uLnTx/>
                <a:uFillTx/>
                <a:latin typeface="Arial"/>
                <a:ea typeface="+mn-ea"/>
                <a:cs typeface="Arial"/>
              </a:rPr>
              <a:t>(Elia)</a:t>
            </a:r>
            <a:endParaRPr kumimoji="0" lang="fr-BE" sz="1867" b="0" i="0" u="none" strike="noStrike" kern="1200" cap="none" spc="0" normalizeH="0" baseline="0" noProof="0">
              <a:ln>
                <a:noFill/>
              </a:ln>
              <a:solidFill>
                <a:prstClr val="black"/>
              </a:solidFill>
              <a:effectLst/>
              <a:uLnTx/>
              <a:uFillTx/>
              <a:latin typeface="Arial"/>
              <a:ea typeface="+mn-ea"/>
              <a:cs typeface="Arial"/>
            </a:endParaRPr>
          </a:p>
        </p:txBody>
      </p:sp>
      <p:grpSp>
        <p:nvGrpSpPr>
          <p:cNvPr id="39" name="Groep 33">
            <a:extLst>
              <a:ext uri="{FF2B5EF4-FFF2-40B4-BE49-F238E27FC236}">
                <a16:creationId xmlns:a16="http://schemas.microsoft.com/office/drawing/2014/main" id="{263B3659-43CE-4774-8FA3-A05170058AAA}"/>
              </a:ext>
            </a:extLst>
          </p:cNvPr>
          <p:cNvGrpSpPr/>
          <p:nvPr/>
        </p:nvGrpSpPr>
        <p:grpSpPr>
          <a:xfrm rot="1336460">
            <a:off x="5779169" y="1689938"/>
            <a:ext cx="2438495" cy="1867303"/>
            <a:chOff x="5918640" y="3285893"/>
            <a:chExt cx="2438495" cy="1867303"/>
          </a:xfrm>
        </p:grpSpPr>
        <p:sp>
          <p:nvSpPr>
            <p:cNvPr id="40" name="Vrije vorm: vorm 34">
              <a:extLst>
                <a:ext uri="{FF2B5EF4-FFF2-40B4-BE49-F238E27FC236}">
                  <a16:creationId xmlns:a16="http://schemas.microsoft.com/office/drawing/2014/main" id="{559591D7-C8D3-4C61-85AD-8D8CA6976032}"/>
                </a:ext>
              </a:extLst>
            </p:cNvPr>
            <p:cNvSpPr/>
            <p:nvPr/>
          </p:nvSpPr>
          <p:spPr>
            <a:xfrm rot="20353458">
              <a:off x="5918640" y="3756616"/>
              <a:ext cx="2438495" cy="1396580"/>
            </a:xfrm>
            <a:custGeom>
              <a:avLst/>
              <a:gdLst>
                <a:gd name="connsiteX0" fmla="*/ 0 w 2157732"/>
                <a:gd name="connsiteY0" fmla="*/ 1235782 h 1235781"/>
                <a:gd name="connsiteX1" fmla="*/ 2157732 w 2157732"/>
                <a:gd name="connsiteY1" fmla="*/ 0 h 1235781"/>
              </a:gdLst>
              <a:ahLst/>
              <a:cxnLst>
                <a:cxn ang="0">
                  <a:pos x="connsiteX0" y="connsiteY0"/>
                </a:cxn>
                <a:cxn ang="0">
                  <a:pos x="connsiteX1" y="connsiteY1"/>
                </a:cxn>
              </a:cxnLst>
              <a:rect l="l" t="t" r="r" b="b"/>
              <a:pathLst>
                <a:path w="2157732" h="1235781">
                  <a:moveTo>
                    <a:pt x="0" y="1235782"/>
                  </a:moveTo>
                  <a:cubicBezTo>
                    <a:pt x="0" y="1235782"/>
                    <a:pt x="547733" y="131173"/>
                    <a:pt x="2157732" y="0"/>
                  </a:cubicBezTo>
                </a:path>
              </a:pathLst>
            </a:custGeom>
            <a:noFill/>
            <a:ln w="24297" cap="rnd">
              <a:solidFill>
                <a:schemeClr val="accent2"/>
              </a:solidFill>
              <a:prstDash val="solid"/>
              <a:round/>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black"/>
                </a:solidFill>
                <a:effectLst/>
                <a:uLnTx/>
                <a:uFillTx/>
                <a:latin typeface="Arial"/>
                <a:ea typeface="+mn-ea"/>
                <a:cs typeface="Arial"/>
              </a:endParaRPr>
            </a:p>
          </p:txBody>
        </p:sp>
        <p:sp>
          <p:nvSpPr>
            <p:cNvPr id="41" name="Vrije vorm: vorm 52">
              <a:extLst>
                <a:ext uri="{FF2B5EF4-FFF2-40B4-BE49-F238E27FC236}">
                  <a16:creationId xmlns:a16="http://schemas.microsoft.com/office/drawing/2014/main" id="{BDDC70A4-701E-4F20-A7A6-0BFE27CA5A01}"/>
                </a:ext>
              </a:extLst>
            </p:cNvPr>
            <p:cNvSpPr/>
            <p:nvPr/>
          </p:nvSpPr>
          <p:spPr>
            <a:xfrm rot="20353458">
              <a:off x="7862446" y="3285893"/>
              <a:ext cx="206530" cy="244542"/>
            </a:xfrm>
            <a:custGeom>
              <a:avLst/>
              <a:gdLst>
                <a:gd name="connsiteX0" fmla="*/ 20940 w 206530"/>
                <a:gd name="connsiteY0" fmla="*/ 239748 h 244542"/>
                <a:gd name="connsiteX1" fmla="*/ 23297 w 206530"/>
                <a:gd name="connsiteY1" fmla="*/ 222641 h 244542"/>
                <a:gd name="connsiteX2" fmla="*/ 171700 w 206530"/>
                <a:gd name="connsiteY2" fmla="*/ 109632 h 244542"/>
                <a:gd name="connsiteX3" fmla="*/ 6555 w 206530"/>
                <a:gd name="connsiteY3" fmla="*/ 22955 h 244542"/>
                <a:gd name="connsiteX4" fmla="*/ 1394 w 206530"/>
                <a:gd name="connsiteY4" fmla="*/ 6498 h 244542"/>
                <a:gd name="connsiteX5" fmla="*/ 17892 w 206530"/>
                <a:gd name="connsiteY5" fmla="*/ 1377 h 244542"/>
                <a:gd name="connsiteX6" fmla="*/ 199983 w 206530"/>
                <a:gd name="connsiteY6" fmla="*/ 96953 h 244542"/>
                <a:gd name="connsiteX7" fmla="*/ 206484 w 206530"/>
                <a:gd name="connsiteY7" fmla="*/ 106747 h 244542"/>
                <a:gd name="connsiteX8" fmla="*/ 201730 w 206530"/>
                <a:gd name="connsiteY8" fmla="*/ 117475 h 244542"/>
                <a:gd name="connsiteX9" fmla="*/ 38129 w 206530"/>
                <a:gd name="connsiteY9" fmla="*/ 242065 h 244542"/>
                <a:gd name="connsiteX10" fmla="*/ 31749 w 206530"/>
                <a:gd name="connsiteY10" fmla="*/ 244503 h 244542"/>
                <a:gd name="connsiteX11" fmla="*/ 21021 w 206530"/>
                <a:gd name="connsiteY11" fmla="*/ 239748 h 244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530" h="244542">
                  <a:moveTo>
                    <a:pt x="20940" y="239748"/>
                  </a:moveTo>
                  <a:cubicBezTo>
                    <a:pt x="16877" y="234384"/>
                    <a:pt x="17933" y="226745"/>
                    <a:pt x="23297" y="222641"/>
                  </a:cubicBezTo>
                  <a:lnTo>
                    <a:pt x="171700" y="109632"/>
                  </a:lnTo>
                  <a:lnTo>
                    <a:pt x="6555" y="22955"/>
                  </a:lnTo>
                  <a:cubicBezTo>
                    <a:pt x="581" y="19826"/>
                    <a:pt x="-1735" y="12430"/>
                    <a:pt x="1394" y="6498"/>
                  </a:cubicBezTo>
                  <a:cubicBezTo>
                    <a:pt x="4523" y="565"/>
                    <a:pt x="11960" y="-1711"/>
                    <a:pt x="17892" y="1377"/>
                  </a:cubicBezTo>
                  <a:lnTo>
                    <a:pt x="199983" y="96953"/>
                  </a:lnTo>
                  <a:cubicBezTo>
                    <a:pt x="203640" y="98904"/>
                    <a:pt x="206118" y="102561"/>
                    <a:pt x="206484" y="106747"/>
                  </a:cubicBezTo>
                  <a:cubicBezTo>
                    <a:pt x="206850" y="110891"/>
                    <a:pt x="205021" y="114955"/>
                    <a:pt x="201730" y="117475"/>
                  </a:cubicBezTo>
                  <a:lnTo>
                    <a:pt x="38129" y="242065"/>
                  </a:lnTo>
                  <a:cubicBezTo>
                    <a:pt x="36179" y="243527"/>
                    <a:pt x="33984" y="244340"/>
                    <a:pt x="31749" y="244503"/>
                  </a:cubicBezTo>
                  <a:cubicBezTo>
                    <a:pt x="27726" y="244828"/>
                    <a:pt x="23622" y="243162"/>
                    <a:pt x="21021" y="239748"/>
                  </a:cubicBezTo>
                  <a:close/>
                </a:path>
              </a:pathLst>
            </a:custGeom>
            <a:solidFill>
              <a:schemeClr val="accent2"/>
            </a:solidFill>
            <a:ln w="404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black"/>
                </a:solidFill>
                <a:effectLst/>
                <a:uLnTx/>
                <a:uFillTx/>
                <a:latin typeface="Arial"/>
                <a:ea typeface="+mn-ea"/>
                <a:cs typeface="Arial"/>
              </a:endParaRPr>
            </a:p>
          </p:txBody>
        </p:sp>
      </p:grpSp>
      <p:sp>
        <p:nvSpPr>
          <p:cNvPr id="47" name="ZoneTexte 57">
            <a:extLst>
              <a:ext uri="{FF2B5EF4-FFF2-40B4-BE49-F238E27FC236}">
                <a16:creationId xmlns:a16="http://schemas.microsoft.com/office/drawing/2014/main" id="{58805637-33B6-4A49-96CE-27584B74E26C}"/>
              </a:ext>
            </a:extLst>
          </p:cNvPr>
          <p:cNvSpPr txBox="1"/>
          <p:nvPr/>
        </p:nvSpPr>
        <p:spPr>
          <a:xfrm>
            <a:off x="4972215" y="2489589"/>
            <a:ext cx="3137364" cy="830997"/>
          </a:xfrm>
          <a:prstGeom prst="rect">
            <a:avLst/>
          </a:prstGeom>
          <a:noFill/>
        </p:spPr>
        <p:txBody>
          <a:bodyPr wrap="square" rtlCol="0">
            <a:spAutoFit/>
          </a:bodyPr>
          <a:lstStyle/>
          <a:p>
            <a:pPr marL="0" marR="0" lvl="0" indent="0" algn="ctr" defTabSz="554357"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a:ln>
                  <a:noFill/>
                </a:ln>
                <a:solidFill>
                  <a:srgbClr val="6F6F6F"/>
                </a:solidFill>
                <a:effectLst/>
                <a:uLnTx/>
                <a:uFillTx/>
                <a:latin typeface="Arial"/>
                <a:ea typeface="+mn-ea"/>
                <a:cs typeface="Arial"/>
              </a:rPr>
              <a:t>Increased demand requires</a:t>
            </a:r>
          </a:p>
          <a:p>
            <a:pPr marL="0" marR="0" lvl="0" indent="0" algn="ctr" defTabSz="554357"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a:ln>
                  <a:noFill/>
                </a:ln>
                <a:solidFill>
                  <a:srgbClr val="6F6F6F"/>
                </a:solidFill>
                <a:effectLst/>
                <a:uLnTx/>
                <a:uFillTx/>
                <a:latin typeface="Arial"/>
                <a:ea typeface="+mn-ea"/>
                <a:cs typeface="Arial"/>
              </a:rPr>
              <a:t>evolution of </a:t>
            </a:r>
            <a:r>
              <a:rPr kumimoji="0" lang="fr-BE" sz="1600" b="1" i="0" u="none" strike="noStrike" kern="1200" cap="none" spc="0" normalizeH="0" baseline="0" noProof="0" err="1">
                <a:ln>
                  <a:noFill/>
                </a:ln>
                <a:solidFill>
                  <a:srgbClr val="6F6F6F"/>
                </a:solidFill>
                <a:effectLst/>
                <a:uLnTx/>
                <a:uFillTx/>
                <a:latin typeface="Arial"/>
                <a:ea typeface="+mn-ea"/>
                <a:cs typeface="Arial"/>
              </a:rPr>
              <a:t>installed</a:t>
            </a:r>
            <a:r>
              <a:rPr kumimoji="0" lang="fr-BE" sz="1600" b="1" i="0" u="none" strike="noStrike" kern="1200" cap="none" spc="0" normalizeH="0" baseline="0" noProof="0">
                <a:ln>
                  <a:noFill/>
                </a:ln>
                <a:solidFill>
                  <a:srgbClr val="6F6F6F"/>
                </a:solidFill>
                <a:effectLst/>
                <a:uLnTx/>
                <a:uFillTx/>
                <a:latin typeface="Arial"/>
                <a:ea typeface="+mn-ea"/>
                <a:cs typeface="Arial"/>
              </a:rPr>
              <a:t> </a:t>
            </a:r>
            <a:r>
              <a:rPr kumimoji="0" lang="fr-BE" sz="1600" b="1" i="0" u="none" strike="noStrike" kern="1200" cap="none" spc="0" normalizeH="0" baseline="0" noProof="0" err="1">
                <a:ln>
                  <a:noFill/>
                </a:ln>
                <a:solidFill>
                  <a:srgbClr val="6F6F6F"/>
                </a:solidFill>
                <a:effectLst/>
                <a:uLnTx/>
                <a:uFillTx/>
                <a:latin typeface="Arial"/>
                <a:ea typeface="+mn-ea"/>
                <a:cs typeface="Arial"/>
              </a:rPr>
              <a:t>capacity</a:t>
            </a:r>
            <a:r>
              <a:rPr kumimoji="0" lang="fr-BE" sz="1600" b="1" i="0" u="none" strike="noStrike" kern="1200" cap="none" spc="0" normalizeH="0" baseline="0" noProof="0">
                <a:ln>
                  <a:noFill/>
                </a:ln>
                <a:solidFill>
                  <a:srgbClr val="6F6F6F"/>
                </a:solidFill>
                <a:effectLst/>
                <a:uLnTx/>
                <a:uFillTx/>
                <a:latin typeface="Arial"/>
                <a:ea typeface="+mn-ea"/>
                <a:cs typeface="Arial"/>
              </a:rPr>
              <a:t> (in GW)</a:t>
            </a:r>
          </a:p>
        </p:txBody>
      </p:sp>
      <p:sp>
        <p:nvSpPr>
          <p:cNvPr id="48" name="Tijdelijke aanduiding voor tekst 1">
            <a:extLst>
              <a:ext uri="{FF2B5EF4-FFF2-40B4-BE49-F238E27FC236}">
                <a16:creationId xmlns:a16="http://schemas.microsoft.com/office/drawing/2014/main" id="{0A9C7C60-F494-4924-800E-17A3A7647DEC}"/>
              </a:ext>
            </a:extLst>
          </p:cNvPr>
          <p:cNvSpPr>
            <a:spLocks noGrp="1"/>
          </p:cNvSpPr>
          <p:nvPr>
            <p:custDataLst>
              <p:tags r:id="rId22"/>
            </p:custDataLst>
          </p:nvPr>
        </p:nvSpPr>
        <p:spPr bwMode="gray">
          <a:xfrm>
            <a:off x="3690917" y="2841388"/>
            <a:ext cx="709776" cy="22436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7517" tIns="0" rIns="27517" bIns="0" numCol="1" spcCol="0" rtlCol="0" anchor="b" anchorCtr="0">
            <a:noAutofit/>
          </a:bodyPr>
          <a:lstStyle>
            <a:lvl1pPr marL="0" eaLnBrk="1" hangingPunct="1">
              <a:defRPr lang="nl-NL" sz="1400" dirty="0" smtClean="0">
                <a:solidFill>
                  <a:schemeClr val="tx2"/>
                </a:solidFill>
                <a:latin typeface="+mn-lt"/>
                <a:ea typeface="+mn-ea"/>
                <a:cs typeface="+mn-cs"/>
              </a:defRPr>
            </a:lvl1pPr>
            <a:lvl2pPr marL="0" eaLnBrk="1" hangingPunct="1">
              <a:defRPr sz="2000" b="1">
                <a:solidFill>
                  <a:schemeClr val="accent4"/>
                </a:solidFill>
                <a:latin typeface="+mj-lt"/>
                <a:ea typeface="+mn-ea"/>
                <a:cs typeface="+mn-cs"/>
              </a:defRPr>
            </a:lvl2pPr>
            <a:lvl3pPr marL="415869" eaLnBrk="1" hangingPunct="1">
              <a:defRPr>
                <a:latin typeface="+mn-lt"/>
                <a:ea typeface="+mn-ea"/>
                <a:cs typeface="+mn-cs"/>
              </a:defRPr>
            </a:lvl3pPr>
            <a:lvl4pPr marL="623804" eaLnBrk="1" hangingPunct="1">
              <a:defRPr>
                <a:latin typeface="+mn-lt"/>
                <a:ea typeface="+mn-ea"/>
                <a:cs typeface="+mn-cs"/>
              </a:defRPr>
            </a:lvl4pPr>
            <a:lvl5pPr marL="831738" eaLnBrk="1" hangingPunct="1">
              <a:defRPr>
                <a:latin typeface="+mn-lt"/>
                <a:ea typeface="+mn-ea"/>
                <a:cs typeface="+mn-cs"/>
              </a:defRPr>
            </a:lvl5pPr>
            <a:lvl6pPr marL="1039673" eaLnBrk="1" hangingPunct="1">
              <a:defRPr>
                <a:latin typeface="+mn-lt"/>
                <a:ea typeface="+mn-ea"/>
                <a:cs typeface="+mn-cs"/>
              </a:defRPr>
            </a:lvl6pPr>
            <a:lvl7pPr marL="1247607" eaLnBrk="1" hangingPunct="1">
              <a:defRPr>
                <a:latin typeface="+mn-lt"/>
                <a:ea typeface="+mn-ea"/>
                <a:cs typeface="+mn-cs"/>
              </a:defRPr>
            </a:lvl7pPr>
            <a:lvl8pPr marL="1455542" eaLnBrk="1" hangingPunct="1">
              <a:defRPr>
                <a:latin typeface="+mn-lt"/>
                <a:ea typeface="+mn-ea"/>
                <a:cs typeface="+mn-cs"/>
              </a:defRPr>
            </a:lvl8pPr>
            <a:lvl9pPr marL="1663476" eaLnBrk="1" hangingPunct="1">
              <a:defRPr>
                <a:latin typeface="+mn-lt"/>
                <a:ea typeface="+mn-ea"/>
                <a:cs typeface="+mn-cs"/>
              </a:defRPr>
            </a:lvl9pPr>
          </a:lstStyle>
          <a:p>
            <a:pPr marL="0" marR="0" lvl="0" indent="0" algn="ctr" defTabSz="554357" rtl="0" eaLnBrk="1" fontAlgn="auto" latinLnBrk="0" hangingPunct="1">
              <a:lnSpc>
                <a:spcPct val="100000"/>
              </a:lnSpc>
              <a:spcBef>
                <a:spcPct val="0"/>
              </a:spcBef>
              <a:spcAft>
                <a:spcPct val="0"/>
              </a:spcAft>
              <a:buClrTx/>
              <a:buSzTx/>
              <a:buFontTx/>
              <a:buNone/>
              <a:tabLst/>
              <a:defRPr/>
            </a:pPr>
            <a:r>
              <a:rPr kumimoji="0" lang="en-US" altLang="en-US" sz="1467" b="0" i="0" u="none" strike="noStrike" kern="0" cap="none" spc="0" normalizeH="0" baseline="0" noProof="0" dirty="0">
                <a:ln>
                  <a:noFill/>
                </a:ln>
                <a:solidFill>
                  <a:prstClr val="black">
                    <a:lumMod val="75000"/>
                    <a:lumOff val="25000"/>
                  </a:prstClr>
                </a:solidFill>
                <a:effectLst/>
                <a:uLnTx/>
                <a:uFillTx/>
                <a:latin typeface="Arial"/>
                <a:ea typeface="+mn-ea"/>
                <a:cs typeface="Arial"/>
              </a:rPr>
              <a:t>26 GW</a:t>
            </a:r>
            <a:endParaRPr kumimoji="0" lang="nl-BE" sz="1467" b="0" i="0" u="none" strike="noStrike" kern="0" cap="none" spc="0" normalizeH="0" baseline="0" noProof="0" dirty="0">
              <a:ln>
                <a:noFill/>
              </a:ln>
              <a:solidFill>
                <a:prstClr val="black">
                  <a:lumMod val="75000"/>
                  <a:lumOff val="25000"/>
                </a:prstClr>
              </a:solidFill>
              <a:effectLst/>
              <a:uLnTx/>
              <a:uFillTx/>
              <a:latin typeface="Arial"/>
              <a:ea typeface="+mn-ea"/>
              <a:cs typeface="Arial"/>
            </a:endParaRPr>
          </a:p>
        </p:txBody>
      </p:sp>
      <p:sp>
        <p:nvSpPr>
          <p:cNvPr id="3" name="Rectangle 2">
            <a:extLst>
              <a:ext uri="{FF2B5EF4-FFF2-40B4-BE49-F238E27FC236}">
                <a16:creationId xmlns:a16="http://schemas.microsoft.com/office/drawing/2014/main" id="{EC21FB96-2E57-49DD-8FE0-F1F9F4E55A56}"/>
              </a:ext>
            </a:extLst>
          </p:cNvPr>
          <p:cNvSpPr/>
          <p:nvPr/>
        </p:nvSpPr>
        <p:spPr>
          <a:xfrm>
            <a:off x="-217714" y="-87086"/>
            <a:ext cx="452770" cy="68797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000" b="0" i="0" u="none" strike="noStrike" kern="1200" cap="none" spc="0" normalizeH="0" baseline="0" noProof="0" dirty="0">
              <a:ln>
                <a:noFill/>
              </a:ln>
              <a:solidFill>
                <a:prstClr val="white"/>
              </a:solidFill>
              <a:effectLst/>
              <a:uLnTx/>
              <a:uFillTx/>
              <a:latin typeface="Lucida Sans Unicode"/>
              <a:ea typeface="+mn-ea"/>
              <a:cs typeface="+mn-cs"/>
            </a:endParaRPr>
          </a:p>
        </p:txBody>
      </p:sp>
    </p:spTree>
    <p:extLst>
      <p:ext uri="{BB962C8B-B14F-4D97-AF65-F5344CB8AC3E}">
        <p14:creationId xmlns:p14="http://schemas.microsoft.com/office/powerpoint/2010/main" val="408294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00000000-0008-0000-0400-000002000000}"/>
              </a:ext>
            </a:extLst>
          </p:cNvPr>
          <p:cNvGraphicFramePr>
            <a:graphicFrameLocks/>
          </p:cNvGraphicFramePr>
          <p:nvPr/>
        </p:nvGraphicFramePr>
        <p:xfrm>
          <a:off x="1487487" y="1700808"/>
          <a:ext cx="8014731" cy="4236442"/>
        </p:xfrm>
        <a:graphic>
          <a:graphicData uri="http://schemas.openxmlformats.org/drawingml/2006/chart">
            <c:chart xmlns:c="http://schemas.openxmlformats.org/drawingml/2006/chart" xmlns:r="http://schemas.openxmlformats.org/officeDocument/2006/relationships" r:id="rId2"/>
          </a:graphicData>
        </a:graphic>
      </p:graphicFrame>
      <p:sp>
        <p:nvSpPr>
          <p:cNvPr id="3" name="Date Placeholder 2">
            <a:extLst>
              <a:ext uri="{FF2B5EF4-FFF2-40B4-BE49-F238E27FC236}">
                <a16:creationId xmlns:a16="http://schemas.microsoft.com/office/drawing/2014/main" id="{73DF063F-83F6-4EC1-B1DD-564D27C7B656}"/>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BE" sz="700" b="0" i="0" u="none" strike="noStrike" kern="1200" cap="none" spc="0" normalizeH="0" baseline="0" noProof="0" dirty="0">
                <a:ln>
                  <a:noFill/>
                </a:ln>
                <a:solidFill>
                  <a:prstClr val="black">
                    <a:tint val="75000"/>
                  </a:prstClr>
                </a:solidFill>
                <a:effectLst/>
                <a:uLnTx/>
                <a:uFillTx/>
                <a:latin typeface="Lucida Sans Unicode"/>
                <a:ea typeface="+mn-ea"/>
                <a:cs typeface="+mn-cs"/>
              </a:rPr>
              <a:t>16/06/2023</a:t>
            </a:r>
          </a:p>
        </p:txBody>
      </p:sp>
      <p:sp>
        <p:nvSpPr>
          <p:cNvPr id="4" name="Footer Placeholder 3">
            <a:extLst>
              <a:ext uri="{FF2B5EF4-FFF2-40B4-BE49-F238E27FC236}">
                <a16:creationId xmlns:a16="http://schemas.microsoft.com/office/drawing/2014/main" id="{00496D00-B22D-4887-B720-481A76A2EF57}"/>
              </a:ext>
            </a:extLst>
          </p:cNvPr>
          <p:cNvSpPr>
            <a:spLocks noGrp="1"/>
          </p:cNvSpPr>
          <p:nvPr>
            <p:ph type="ftr" sz="quarter" idx="11"/>
          </p:nvPr>
        </p:nvSpPr>
        <p:spPr/>
        <p:txBody>
          <a:bodyPr/>
          <a:lstStyle/>
          <a:p>
            <a:pPr marL="88900" marR="0" lvl="0" indent="-88900" algn="l" defTabSz="914400" rtl="0" eaLnBrk="1" fontAlgn="auto" latinLnBrk="0" hangingPunct="1">
              <a:lnSpc>
                <a:spcPct val="100000"/>
              </a:lnSpc>
              <a:spcBef>
                <a:spcPts val="0"/>
              </a:spcBef>
              <a:spcAft>
                <a:spcPts val="0"/>
              </a:spcAft>
              <a:buClr>
                <a:srgbClr val="A2D3F3"/>
              </a:buClr>
              <a:buSzTx/>
              <a:buFont typeface="Arial" panose="020B0604020202020204" pitchFamily="34" charset="0"/>
              <a:buChar char="•"/>
              <a:tabLst/>
              <a:defRPr/>
            </a:pPr>
            <a:r>
              <a:rPr kumimoji="0" lang="nl-BE" sz="700" b="0" i="0" u="none" strike="noStrike" kern="1200" cap="none" spc="0" normalizeH="0" baseline="0" noProof="0" dirty="0">
                <a:ln>
                  <a:noFill/>
                </a:ln>
                <a:solidFill>
                  <a:prstClr val="black">
                    <a:tint val="75000"/>
                  </a:prstClr>
                </a:solidFill>
                <a:effectLst/>
                <a:uLnTx/>
                <a:uFillTx/>
                <a:latin typeface="Lucida Sans Unicode"/>
                <a:ea typeface="+mn-ea"/>
                <a:cs typeface="+mn-cs"/>
              </a:rPr>
              <a:t>FEBEG – Rapport annuel 2022 – Source : Elia, Energie Commune – </a:t>
            </a:r>
            <a:r>
              <a:rPr kumimoji="0" lang="nl-BE" sz="700" b="0" i="0" u="none" strike="noStrike" kern="1200" cap="none" spc="0" normalizeH="0" baseline="0" noProof="0" dirty="0" err="1">
                <a:ln>
                  <a:noFill/>
                </a:ln>
                <a:solidFill>
                  <a:prstClr val="black">
                    <a:tint val="75000"/>
                  </a:prstClr>
                </a:solidFill>
                <a:effectLst/>
                <a:uLnTx/>
                <a:uFillTx/>
                <a:latin typeface="Lucida Sans Unicode"/>
                <a:ea typeface="+mn-ea"/>
                <a:cs typeface="+mn-cs"/>
              </a:rPr>
              <a:t>Statut</a:t>
            </a:r>
            <a:r>
              <a:rPr kumimoji="0" lang="nl-BE" sz="700" b="0" i="0" u="none" strike="noStrike" kern="1200" cap="none" spc="0" normalizeH="0" baseline="0" noProof="0" dirty="0">
                <a:ln>
                  <a:noFill/>
                </a:ln>
                <a:solidFill>
                  <a:prstClr val="black">
                    <a:tint val="75000"/>
                  </a:prstClr>
                </a:solidFill>
                <a:effectLst/>
                <a:uLnTx/>
                <a:uFillTx/>
                <a:latin typeface="Lucida Sans Unicode"/>
                <a:ea typeface="+mn-ea"/>
                <a:cs typeface="+mn-cs"/>
              </a:rPr>
              <a:t> au 31/12/2022</a:t>
            </a:r>
          </a:p>
        </p:txBody>
      </p:sp>
      <p:sp>
        <p:nvSpPr>
          <p:cNvPr id="5" name="Slide Number Placeholder 4">
            <a:extLst>
              <a:ext uri="{FF2B5EF4-FFF2-40B4-BE49-F238E27FC236}">
                <a16:creationId xmlns:a16="http://schemas.microsoft.com/office/drawing/2014/main" id="{EA77562B-53DB-4ADF-A2E7-5375911DE0D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BE375CD-4755-4D83-B134-E6AD5007676A}" type="slidenum">
              <a:rPr kumimoji="0" lang="nl-BE" sz="700" b="0" i="0" u="none" strike="noStrike" kern="1200" cap="none" spc="0" normalizeH="0" baseline="0" noProof="0" smtClean="0">
                <a:ln>
                  <a:noFill/>
                </a:ln>
                <a:solidFill>
                  <a:prstClr val="black">
                    <a:tint val="75000"/>
                  </a:prstClr>
                </a:solidFill>
                <a:effectLst/>
                <a:uLnTx/>
                <a:uFillTx/>
                <a:latin typeface="Lucida Sans Unicod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nl-BE" sz="700" b="0" i="0" u="none" strike="noStrike" kern="1200" cap="none" spc="0" normalizeH="0" baseline="0" noProof="0">
              <a:ln>
                <a:noFill/>
              </a:ln>
              <a:solidFill>
                <a:prstClr val="black">
                  <a:tint val="75000"/>
                </a:prstClr>
              </a:solidFill>
              <a:effectLst/>
              <a:uLnTx/>
              <a:uFillTx/>
              <a:latin typeface="Lucida Sans Unicode"/>
              <a:ea typeface="+mn-ea"/>
              <a:cs typeface="+mn-cs"/>
            </a:endParaRPr>
          </a:p>
        </p:txBody>
      </p:sp>
      <p:sp>
        <p:nvSpPr>
          <p:cNvPr id="6" name="Title 5">
            <a:extLst>
              <a:ext uri="{FF2B5EF4-FFF2-40B4-BE49-F238E27FC236}">
                <a16:creationId xmlns:a16="http://schemas.microsoft.com/office/drawing/2014/main" id="{B67FD9F8-1FF9-3FE6-A8EA-36DD2E4D0736}"/>
              </a:ext>
            </a:extLst>
          </p:cNvPr>
          <p:cNvSpPr>
            <a:spLocks noGrp="1"/>
          </p:cNvSpPr>
          <p:nvPr>
            <p:ph type="title"/>
          </p:nvPr>
        </p:nvSpPr>
        <p:spPr/>
        <p:txBody>
          <a:bodyPr/>
          <a:lstStyle/>
          <a:p>
            <a:r>
              <a:rPr lang="en-GB" dirty="0"/>
              <a:t>Increasing RES capacities installed </a:t>
            </a:r>
            <a:endParaRPr lang="en-BE" dirty="0"/>
          </a:p>
        </p:txBody>
      </p:sp>
      <p:sp>
        <p:nvSpPr>
          <p:cNvPr id="7" name="Content Placeholder 6">
            <a:extLst>
              <a:ext uri="{FF2B5EF4-FFF2-40B4-BE49-F238E27FC236}">
                <a16:creationId xmlns:a16="http://schemas.microsoft.com/office/drawing/2014/main" id="{F26F877A-1510-42E7-8E6F-F8AE62DA998F}"/>
              </a:ext>
            </a:extLst>
          </p:cNvPr>
          <p:cNvSpPr>
            <a:spLocks noGrp="1"/>
          </p:cNvSpPr>
          <p:nvPr>
            <p:ph idx="13"/>
          </p:nvPr>
        </p:nvSpPr>
        <p:spPr/>
        <p:txBody>
          <a:bodyPr/>
          <a:lstStyle/>
          <a:p>
            <a:r>
              <a:rPr lang="en-GB" dirty="0"/>
              <a:t>Production</a:t>
            </a:r>
            <a:endParaRPr lang="en-BE" dirty="0"/>
          </a:p>
        </p:txBody>
      </p:sp>
      <p:sp>
        <p:nvSpPr>
          <p:cNvPr id="10" name="TextBox 9">
            <a:extLst>
              <a:ext uri="{FF2B5EF4-FFF2-40B4-BE49-F238E27FC236}">
                <a16:creationId xmlns:a16="http://schemas.microsoft.com/office/drawing/2014/main" id="{0434603B-FABB-40DF-84B9-C56463748299}"/>
              </a:ext>
            </a:extLst>
          </p:cNvPr>
          <p:cNvSpPr txBox="1"/>
          <p:nvPr/>
        </p:nvSpPr>
        <p:spPr>
          <a:xfrm>
            <a:off x="9336361" y="2479536"/>
            <a:ext cx="2412305" cy="3323987"/>
          </a:xfrm>
          <a:prstGeom prst="rect">
            <a:avLst/>
          </a:prstGeom>
          <a:solidFill>
            <a:schemeClr val="accent2">
              <a:lumMod val="20000"/>
              <a:lumOff val="80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A2D3F3"/>
              </a:buClr>
              <a:buSzTx/>
              <a:buFont typeface="Arial" panose="020B0604020202020204" pitchFamily="34" charset="0"/>
              <a:buChar char="•"/>
              <a:tabLst/>
              <a:defRPr/>
            </a:pPr>
            <a:r>
              <a:rPr kumimoji="0" lang="fr-BE" sz="1400" b="0" i="0" u="none" strike="noStrike" kern="1200" cap="none" spc="0" normalizeH="0" baseline="0" noProof="0" dirty="0">
                <a:ln>
                  <a:noFill/>
                </a:ln>
                <a:solidFill>
                  <a:prstClr val="black">
                    <a:lumMod val="65000"/>
                    <a:lumOff val="35000"/>
                  </a:prstClr>
                </a:solidFill>
                <a:effectLst/>
                <a:uLnTx/>
                <a:uFillTx/>
                <a:latin typeface="Lucida Sans Unicode"/>
                <a:ea typeface="+mn-ea"/>
                <a:cs typeface="+mn-cs"/>
              </a:rPr>
              <a:t>L’installation de nouvelles capacités principalement renouvelables pousse la capacité totale installée à un niveau record </a:t>
            </a:r>
          </a:p>
          <a:p>
            <a:pPr marL="285750" marR="0" lvl="0" indent="-285750" algn="l" defTabSz="914400" rtl="0" eaLnBrk="1" fontAlgn="auto" latinLnBrk="0" hangingPunct="1">
              <a:lnSpc>
                <a:spcPct val="100000"/>
              </a:lnSpc>
              <a:spcBef>
                <a:spcPts val="0"/>
              </a:spcBef>
              <a:spcAft>
                <a:spcPts val="0"/>
              </a:spcAft>
              <a:buClr>
                <a:srgbClr val="A2D3F3"/>
              </a:buClr>
              <a:buSzTx/>
              <a:buFont typeface="Arial" panose="020B0604020202020204" pitchFamily="34" charset="0"/>
              <a:buChar char="•"/>
              <a:tabLst/>
              <a:defRPr/>
            </a:pPr>
            <a:endParaRPr kumimoji="0" lang="fr-BE" sz="1400" b="0" i="0" u="none" strike="noStrike" kern="1200" cap="none" spc="0" normalizeH="0" baseline="0" noProof="0" dirty="0">
              <a:ln>
                <a:noFill/>
              </a:ln>
              <a:solidFill>
                <a:prstClr val="black">
                  <a:lumMod val="65000"/>
                  <a:lumOff val="35000"/>
                </a:prstClr>
              </a:solidFill>
              <a:effectLst/>
              <a:uLnTx/>
              <a:uFillTx/>
              <a:latin typeface="Lucida Sans Unicode"/>
              <a:ea typeface="+mn-ea"/>
              <a:cs typeface="+mn-cs"/>
            </a:endParaRPr>
          </a:p>
          <a:p>
            <a:pPr marL="285750" marR="0" lvl="0" indent="-285750" algn="l" defTabSz="914400" rtl="0" eaLnBrk="1" fontAlgn="auto" latinLnBrk="0" hangingPunct="1">
              <a:lnSpc>
                <a:spcPct val="100000"/>
              </a:lnSpc>
              <a:spcBef>
                <a:spcPts val="0"/>
              </a:spcBef>
              <a:spcAft>
                <a:spcPts val="0"/>
              </a:spcAft>
              <a:buClr>
                <a:srgbClr val="A2D3F3"/>
              </a:buClr>
              <a:buSzTx/>
              <a:buFont typeface="Arial" panose="020B0604020202020204" pitchFamily="34" charset="0"/>
              <a:buChar char="•"/>
              <a:tabLst/>
              <a:defRPr/>
            </a:pPr>
            <a:r>
              <a:rPr kumimoji="0" lang="fr-BE" sz="1400" b="0" i="0" u="none" strike="noStrike" kern="1200" cap="none" spc="0" normalizeH="0" baseline="0" noProof="0" dirty="0">
                <a:ln>
                  <a:noFill/>
                </a:ln>
                <a:solidFill>
                  <a:prstClr val="black">
                    <a:lumMod val="65000"/>
                    <a:lumOff val="35000"/>
                  </a:prstClr>
                </a:solidFill>
                <a:effectLst/>
                <a:uLnTx/>
                <a:uFillTx/>
                <a:latin typeface="Lucida Sans Unicode"/>
                <a:ea typeface="+mn-ea"/>
                <a:cs typeface="+mn-cs"/>
              </a:rPr>
              <a:t>La capacité nucléaire recule pour la première fois, avec le début de la mise en œuvre de la loi de sortie du nucléaire</a:t>
            </a:r>
            <a:br>
              <a:rPr kumimoji="0" lang="fr-BE" sz="1400" b="0" i="0" u="none" strike="noStrike" kern="1200" cap="none" spc="0" normalizeH="0" baseline="0" noProof="0" dirty="0">
                <a:ln>
                  <a:noFill/>
                </a:ln>
                <a:solidFill>
                  <a:prstClr val="black">
                    <a:lumMod val="65000"/>
                    <a:lumOff val="35000"/>
                  </a:prstClr>
                </a:solidFill>
                <a:effectLst/>
                <a:uLnTx/>
                <a:uFillTx/>
                <a:latin typeface="Lucida Sans Unicode"/>
                <a:ea typeface="+mn-ea"/>
                <a:cs typeface="+mn-cs"/>
              </a:rPr>
            </a:br>
            <a:endParaRPr kumimoji="0" lang="fr-BE" sz="1400" b="0" i="0" u="none" strike="noStrike" kern="1200" cap="none" spc="0" normalizeH="0" baseline="0" noProof="0" dirty="0">
              <a:ln>
                <a:noFill/>
              </a:ln>
              <a:solidFill>
                <a:prstClr val="black">
                  <a:lumMod val="65000"/>
                  <a:lumOff val="35000"/>
                </a:prstClr>
              </a:solidFill>
              <a:effectLst/>
              <a:uLnTx/>
              <a:uFillTx/>
              <a:latin typeface="Lucida Sans Unicode"/>
              <a:ea typeface="+mn-ea"/>
              <a:cs typeface="+mn-cs"/>
            </a:endParaRPr>
          </a:p>
        </p:txBody>
      </p:sp>
      <p:sp>
        <p:nvSpPr>
          <p:cNvPr id="12" name="Oval 11">
            <a:extLst>
              <a:ext uri="{FF2B5EF4-FFF2-40B4-BE49-F238E27FC236}">
                <a16:creationId xmlns:a16="http://schemas.microsoft.com/office/drawing/2014/main" id="{FA686ADB-2EBC-4D5B-B937-6BE19CD0E3A7}"/>
              </a:ext>
            </a:extLst>
          </p:cNvPr>
          <p:cNvSpPr/>
          <p:nvPr/>
        </p:nvSpPr>
        <p:spPr bwMode="auto">
          <a:xfrm>
            <a:off x="7712657" y="2551173"/>
            <a:ext cx="936104" cy="288032"/>
          </a:xfrm>
          <a:prstGeom prst="ellipse">
            <a:avLst/>
          </a:prstGeom>
          <a:solidFill>
            <a:schemeClr val="accent2">
              <a:lumMod val="50000"/>
            </a:schemeClr>
          </a:solidFill>
          <a:ln w="9525" cap="flat" cmpd="sng" algn="ctr">
            <a:solidFill>
              <a:schemeClr val="accent4"/>
            </a:solidFill>
            <a:prstDash val="solid"/>
            <a:roun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49263" rtl="0" eaLnBrk="1" fontAlgn="base" latinLnBrk="0" hangingPunct="1">
              <a:lnSpc>
                <a:spcPct val="100000"/>
              </a:lnSpc>
              <a:spcBef>
                <a:spcPct val="0"/>
              </a:spcBef>
              <a:spcAft>
                <a:spcPct val="0"/>
              </a:spcAft>
              <a:buClr>
                <a:srgbClr val="000000"/>
              </a:buClr>
              <a:buSzPct val="100000"/>
              <a:buFontTx/>
              <a:buNone/>
              <a:tabLst/>
              <a:defRPr/>
            </a:pPr>
            <a:r>
              <a:rPr kumimoji="0" lang="nl-BE" sz="1000" b="1" i="0" u="none" strike="noStrike" kern="1200" cap="none" spc="0" normalizeH="0" baseline="0" noProof="0" dirty="0">
                <a:ln>
                  <a:noFill/>
                </a:ln>
                <a:solidFill>
                  <a:prstClr val="white"/>
                </a:solidFill>
                <a:effectLst/>
                <a:uLnTx/>
                <a:uFillTx/>
                <a:latin typeface="Lucida Sans Unicode"/>
                <a:ea typeface="+mn-ea"/>
                <a:cs typeface="+mn-cs"/>
              </a:rPr>
              <a:t>+4,5  %</a:t>
            </a:r>
          </a:p>
        </p:txBody>
      </p:sp>
      <p:pic>
        <p:nvPicPr>
          <p:cNvPr id="13" name="Picture 12">
            <a:extLst>
              <a:ext uri="{FF2B5EF4-FFF2-40B4-BE49-F238E27FC236}">
                <a16:creationId xmlns:a16="http://schemas.microsoft.com/office/drawing/2014/main" id="{40842AA7-4757-4C47-A061-F04562CCCD2D}"/>
              </a:ext>
            </a:extLst>
          </p:cNvPr>
          <p:cNvPicPr>
            <a:picLocks noChangeAspect="1"/>
          </p:cNvPicPr>
          <p:nvPr/>
        </p:nvPicPr>
        <p:blipFill rotWithShape="1">
          <a:blip r:embed="rId3"/>
          <a:srcRect l="1857" r="57567"/>
          <a:stretch/>
        </p:blipFill>
        <p:spPr>
          <a:xfrm>
            <a:off x="596510" y="2839205"/>
            <a:ext cx="890978" cy="1179590"/>
          </a:xfrm>
          <a:prstGeom prst="rect">
            <a:avLst/>
          </a:prstGeom>
        </p:spPr>
      </p:pic>
    </p:spTree>
    <p:extLst>
      <p:ext uri="{BB962C8B-B14F-4D97-AF65-F5344CB8AC3E}">
        <p14:creationId xmlns:p14="http://schemas.microsoft.com/office/powerpoint/2010/main" val="26801429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EADF6EA-E587-75CA-066C-DC80787A664C}"/>
              </a:ext>
            </a:extLst>
          </p:cNvPr>
          <p:cNvSpPr>
            <a:spLocks noGrp="1"/>
          </p:cNvSpPr>
          <p:nvPr>
            <p:ph idx="1"/>
          </p:nvPr>
        </p:nvSpPr>
        <p:spPr>
          <a:xfrm>
            <a:off x="6240016" y="1969557"/>
            <a:ext cx="5486400" cy="4137343"/>
          </a:xfrm>
        </p:spPr>
        <p:txBody>
          <a:bodyPr/>
          <a:lstStyle/>
          <a:p>
            <a:r>
              <a:rPr lang="en-GB" dirty="0"/>
              <a:t>2new CCGT</a:t>
            </a:r>
          </a:p>
          <a:p>
            <a:r>
              <a:rPr lang="en-GB" dirty="0" err="1"/>
              <a:t>Strongh</a:t>
            </a:r>
            <a:r>
              <a:rPr lang="en-GB" dirty="0"/>
              <a:t> growth PV</a:t>
            </a:r>
          </a:p>
          <a:p>
            <a:pPr lvl="1"/>
            <a:r>
              <a:rPr lang="en-GB" dirty="0"/>
              <a:t>PV capacity &gt; low demand peak</a:t>
            </a:r>
          </a:p>
          <a:p>
            <a:r>
              <a:rPr lang="en-GB" dirty="0"/>
              <a:t>Flexibility needs! </a:t>
            </a:r>
          </a:p>
          <a:p>
            <a:pPr lvl="1"/>
            <a:r>
              <a:rPr lang="en-GB" dirty="0"/>
              <a:t>Evolution storage? </a:t>
            </a:r>
          </a:p>
          <a:p>
            <a:pPr lvl="2"/>
            <a:r>
              <a:rPr lang="en-GB" dirty="0"/>
              <a:t>Extra capacity? </a:t>
            </a:r>
          </a:p>
          <a:p>
            <a:r>
              <a:rPr lang="en-GB" dirty="0"/>
              <a:t>Permitting issues</a:t>
            </a:r>
          </a:p>
          <a:p>
            <a:pPr lvl="1"/>
            <a:r>
              <a:rPr lang="en-GB" dirty="0"/>
              <a:t>Infrastructure</a:t>
            </a:r>
          </a:p>
          <a:p>
            <a:pPr lvl="1"/>
            <a:r>
              <a:rPr lang="en-GB" dirty="0"/>
              <a:t>Wind</a:t>
            </a:r>
          </a:p>
          <a:p>
            <a:pPr lvl="1"/>
            <a:endParaRPr lang="en-GB" dirty="0"/>
          </a:p>
          <a:p>
            <a:pPr lvl="1"/>
            <a:endParaRPr lang="en-GB" dirty="0"/>
          </a:p>
          <a:p>
            <a:pPr lvl="1"/>
            <a:endParaRPr lang="en-BE" dirty="0"/>
          </a:p>
        </p:txBody>
      </p:sp>
      <p:sp>
        <p:nvSpPr>
          <p:cNvPr id="3" name="Date Placeholder 2">
            <a:extLst>
              <a:ext uri="{FF2B5EF4-FFF2-40B4-BE49-F238E27FC236}">
                <a16:creationId xmlns:a16="http://schemas.microsoft.com/office/drawing/2014/main" id="{9A44807A-AF3E-97A2-4558-C95DCE2919A0}"/>
              </a:ext>
            </a:extLst>
          </p:cNvPr>
          <p:cNvSpPr>
            <a:spLocks noGrp="1"/>
          </p:cNvSpPr>
          <p:nvPr>
            <p:ph type="dt" sz="half" idx="10"/>
          </p:nvPr>
        </p:nvSpPr>
        <p:spPr/>
        <p:txBody>
          <a:bodyPr/>
          <a:lstStyle/>
          <a:p>
            <a:fld id="{71616274-4FE1-42A0-958E-4F8D8C016092}" type="datetime1">
              <a:rPr lang="nl-BE" smtClean="0"/>
              <a:t>30/05/2023</a:t>
            </a:fld>
            <a:endParaRPr lang="nl-BE"/>
          </a:p>
        </p:txBody>
      </p:sp>
      <p:sp>
        <p:nvSpPr>
          <p:cNvPr id="4" name="Footer Placeholder 3">
            <a:extLst>
              <a:ext uri="{FF2B5EF4-FFF2-40B4-BE49-F238E27FC236}">
                <a16:creationId xmlns:a16="http://schemas.microsoft.com/office/drawing/2014/main" id="{9C9CBE16-149B-BADC-618D-C4C4897B70ED}"/>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849B6F85-47EA-1B78-3FBE-62D66DF018EC}"/>
              </a:ext>
            </a:extLst>
          </p:cNvPr>
          <p:cNvSpPr>
            <a:spLocks noGrp="1"/>
          </p:cNvSpPr>
          <p:nvPr>
            <p:ph type="sldNum" sz="quarter" idx="12"/>
          </p:nvPr>
        </p:nvSpPr>
        <p:spPr/>
        <p:txBody>
          <a:bodyPr/>
          <a:lstStyle/>
          <a:p>
            <a:fld id="{9BE375CD-4755-4D83-B134-E6AD5007676A}" type="slidenum">
              <a:rPr lang="nl-BE" smtClean="0"/>
              <a:t>27</a:t>
            </a:fld>
            <a:endParaRPr lang="nl-BE"/>
          </a:p>
        </p:txBody>
      </p:sp>
      <p:sp>
        <p:nvSpPr>
          <p:cNvPr id="6" name="Title 5">
            <a:extLst>
              <a:ext uri="{FF2B5EF4-FFF2-40B4-BE49-F238E27FC236}">
                <a16:creationId xmlns:a16="http://schemas.microsoft.com/office/drawing/2014/main" id="{C437B14E-0F61-48A6-6C25-FCE9AF4078D5}"/>
              </a:ext>
            </a:extLst>
          </p:cNvPr>
          <p:cNvSpPr>
            <a:spLocks noGrp="1"/>
          </p:cNvSpPr>
          <p:nvPr>
            <p:ph type="title"/>
          </p:nvPr>
        </p:nvSpPr>
        <p:spPr>
          <a:xfrm>
            <a:off x="609600" y="1213254"/>
            <a:ext cx="10972800" cy="517632"/>
          </a:xfrm>
        </p:spPr>
        <p:txBody>
          <a:bodyPr>
            <a:normAutofit fontScale="90000"/>
          </a:bodyPr>
          <a:lstStyle/>
          <a:p>
            <a:r>
              <a:rPr lang="en-GB" dirty="0"/>
              <a:t>Increasing renewables –accelerated development needed to reach targets </a:t>
            </a:r>
            <a:endParaRPr lang="en-BE" dirty="0"/>
          </a:p>
        </p:txBody>
      </p:sp>
      <p:sp>
        <p:nvSpPr>
          <p:cNvPr id="7" name="Content Placeholder 6">
            <a:extLst>
              <a:ext uri="{FF2B5EF4-FFF2-40B4-BE49-F238E27FC236}">
                <a16:creationId xmlns:a16="http://schemas.microsoft.com/office/drawing/2014/main" id="{54C7F340-0258-0882-852D-883755DC5750}"/>
              </a:ext>
            </a:extLst>
          </p:cNvPr>
          <p:cNvSpPr>
            <a:spLocks noGrp="1"/>
          </p:cNvSpPr>
          <p:nvPr>
            <p:ph idx="13"/>
          </p:nvPr>
        </p:nvSpPr>
        <p:spPr/>
        <p:txBody>
          <a:bodyPr/>
          <a:lstStyle/>
          <a:p>
            <a:r>
              <a:rPr lang="en-GB" dirty="0"/>
              <a:t>Towards 2030</a:t>
            </a:r>
            <a:endParaRPr lang="en-BE" dirty="0"/>
          </a:p>
        </p:txBody>
      </p:sp>
      <p:graphicFrame>
        <p:nvGraphicFramePr>
          <p:cNvPr id="10" name="Chart 9">
            <a:extLst>
              <a:ext uri="{FF2B5EF4-FFF2-40B4-BE49-F238E27FC236}">
                <a16:creationId xmlns:a16="http://schemas.microsoft.com/office/drawing/2014/main" id="{83A4AE04-E701-5DDD-57E1-CA58A1CC4A26}"/>
              </a:ext>
            </a:extLst>
          </p:cNvPr>
          <p:cNvGraphicFramePr>
            <a:graphicFrameLocks/>
          </p:cNvGraphicFramePr>
          <p:nvPr>
            <p:extLst>
              <p:ext uri="{D42A27DB-BD31-4B8C-83A1-F6EECF244321}">
                <p14:modId xmlns:p14="http://schemas.microsoft.com/office/powerpoint/2010/main" val="1629919069"/>
              </p:ext>
            </p:extLst>
          </p:nvPr>
        </p:nvGraphicFramePr>
        <p:xfrm>
          <a:off x="643128" y="2028832"/>
          <a:ext cx="5486400" cy="407806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196267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AE0AC17-190B-4433-99FB-DFC950073BF6}"/>
              </a:ext>
            </a:extLst>
          </p:cNvPr>
          <p:cNvSpPr>
            <a:spLocks noGrp="1"/>
          </p:cNvSpPr>
          <p:nvPr>
            <p:ph idx="1"/>
          </p:nvPr>
        </p:nvSpPr>
        <p:spPr/>
        <p:txBody>
          <a:bodyPr/>
          <a:lstStyle/>
          <a:p>
            <a:endParaRPr lang="nl-BE"/>
          </a:p>
        </p:txBody>
      </p:sp>
      <p:sp>
        <p:nvSpPr>
          <p:cNvPr id="3" name="Date Placeholder 2">
            <a:extLst>
              <a:ext uri="{FF2B5EF4-FFF2-40B4-BE49-F238E27FC236}">
                <a16:creationId xmlns:a16="http://schemas.microsoft.com/office/drawing/2014/main" id="{B177EC21-40D5-4FE2-931D-D80746BEE47C}"/>
              </a:ext>
            </a:extLst>
          </p:cNvPr>
          <p:cNvSpPr>
            <a:spLocks noGrp="1"/>
          </p:cNvSpPr>
          <p:nvPr>
            <p:ph type="dt" sz="half" idx="10"/>
          </p:nvPr>
        </p:nvSpPr>
        <p:spPr/>
        <p:txBody>
          <a:bodyPr/>
          <a:lstStyle/>
          <a:p>
            <a:fld id="{71616274-4FE1-42A0-958E-4F8D8C016092}" type="datetime1">
              <a:rPr lang="nl-BE" smtClean="0"/>
              <a:t>30/05/2023</a:t>
            </a:fld>
            <a:endParaRPr lang="nl-BE" dirty="0"/>
          </a:p>
        </p:txBody>
      </p:sp>
      <p:sp>
        <p:nvSpPr>
          <p:cNvPr id="4" name="Footer Placeholder 3">
            <a:extLst>
              <a:ext uri="{FF2B5EF4-FFF2-40B4-BE49-F238E27FC236}">
                <a16:creationId xmlns:a16="http://schemas.microsoft.com/office/drawing/2014/main" id="{21300E37-C80D-4886-93E3-B76EDA95B7D8}"/>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6304E88C-B2A1-4C48-803E-76AA6874DAD8}"/>
              </a:ext>
            </a:extLst>
          </p:cNvPr>
          <p:cNvSpPr>
            <a:spLocks noGrp="1"/>
          </p:cNvSpPr>
          <p:nvPr>
            <p:ph type="sldNum" sz="quarter" idx="12"/>
          </p:nvPr>
        </p:nvSpPr>
        <p:spPr/>
        <p:txBody>
          <a:bodyPr/>
          <a:lstStyle/>
          <a:p>
            <a:fld id="{9BE375CD-4755-4D83-B134-E6AD5007676A}" type="slidenum">
              <a:rPr lang="nl-BE" smtClean="0"/>
              <a:t>28</a:t>
            </a:fld>
            <a:endParaRPr lang="nl-BE"/>
          </a:p>
        </p:txBody>
      </p:sp>
      <p:sp>
        <p:nvSpPr>
          <p:cNvPr id="6" name="Title 5">
            <a:extLst>
              <a:ext uri="{FF2B5EF4-FFF2-40B4-BE49-F238E27FC236}">
                <a16:creationId xmlns:a16="http://schemas.microsoft.com/office/drawing/2014/main" id="{C4D2FB24-6F91-48C9-8F40-1C4FFF278DEA}"/>
              </a:ext>
            </a:extLst>
          </p:cNvPr>
          <p:cNvSpPr>
            <a:spLocks noGrp="1"/>
          </p:cNvSpPr>
          <p:nvPr>
            <p:ph type="title"/>
          </p:nvPr>
        </p:nvSpPr>
        <p:spPr/>
        <p:txBody>
          <a:bodyPr/>
          <a:lstStyle/>
          <a:p>
            <a:endParaRPr lang="nl-BE"/>
          </a:p>
        </p:txBody>
      </p:sp>
      <p:sp>
        <p:nvSpPr>
          <p:cNvPr id="7" name="Content Placeholder 6">
            <a:extLst>
              <a:ext uri="{FF2B5EF4-FFF2-40B4-BE49-F238E27FC236}">
                <a16:creationId xmlns:a16="http://schemas.microsoft.com/office/drawing/2014/main" id="{AAD3F6AA-7DAC-4D68-9C20-AC80C98E4CA1}"/>
              </a:ext>
            </a:extLst>
          </p:cNvPr>
          <p:cNvSpPr>
            <a:spLocks noGrp="1"/>
          </p:cNvSpPr>
          <p:nvPr>
            <p:ph idx="13"/>
          </p:nvPr>
        </p:nvSpPr>
        <p:spPr/>
        <p:txBody>
          <a:bodyPr/>
          <a:lstStyle/>
          <a:p>
            <a:endParaRPr lang="nl-BE"/>
          </a:p>
        </p:txBody>
      </p:sp>
      <p:pic>
        <p:nvPicPr>
          <p:cNvPr id="9" name="Picture 8">
            <a:extLst>
              <a:ext uri="{FF2B5EF4-FFF2-40B4-BE49-F238E27FC236}">
                <a16:creationId xmlns:a16="http://schemas.microsoft.com/office/drawing/2014/main" id="{4AB61B66-DC86-4E2D-ACA0-57DD0964433D}"/>
              </a:ext>
            </a:extLst>
          </p:cNvPr>
          <p:cNvPicPr>
            <a:picLocks noChangeAspect="1"/>
          </p:cNvPicPr>
          <p:nvPr/>
        </p:nvPicPr>
        <p:blipFill>
          <a:blip r:embed="rId2"/>
          <a:stretch>
            <a:fillRect/>
          </a:stretch>
        </p:blipFill>
        <p:spPr>
          <a:xfrm>
            <a:off x="-96688" y="9516"/>
            <a:ext cx="12288688" cy="6855160"/>
          </a:xfrm>
          <a:prstGeom prst="rect">
            <a:avLst/>
          </a:prstGeom>
        </p:spPr>
      </p:pic>
    </p:spTree>
    <p:extLst>
      <p:ext uri="{BB962C8B-B14F-4D97-AF65-F5344CB8AC3E}">
        <p14:creationId xmlns:p14="http://schemas.microsoft.com/office/powerpoint/2010/main" val="4702772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4F4210F-C735-001F-7396-DA12C6255384}"/>
              </a:ext>
            </a:extLst>
          </p:cNvPr>
          <p:cNvSpPr>
            <a:spLocks noGrp="1"/>
          </p:cNvSpPr>
          <p:nvPr>
            <p:ph idx="1"/>
          </p:nvPr>
        </p:nvSpPr>
        <p:spPr>
          <a:xfrm>
            <a:off x="609600" y="2011681"/>
            <a:ext cx="4910336" cy="4137343"/>
          </a:xfrm>
        </p:spPr>
        <p:txBody>
          <a:bodyPr/>
          <a:lstStyle/>
          <a:p>
            <a:r>
              <a:rPr lang="en-GB" dirty="0"/>
              <a:t>Huge needs from industry to electrify</a:t>
            </a:r>
          </a:p>
          <a:p>
            <a:r>
              <a:rPr lang="en-GB" dirty="0"/>
              <a:t>Companies </a:t>
            </a:r>
          </a:p>
          <a:p>
            <a:pPr lvl="1"/>
            <a:r>
              <a:rPr lang="en-GB" dirty="0"/>
              <a:t>Efficiency</a:t>
            </a:r>
          </a:p>
          <a:p>
            <a:pPr lvl="1"/>
            <a:r>
              <a:rPr lang="en-GB" dirty="0"/>
              <a:t>Own production (solar, wind,..)</a:t>
            </a:r>
          </a:p>
          <a:p>
            <a:pPr lvl="1"/>
            <a:r>
              <a:rPr lang="en-GB" dirty="0"/>
              <a:t>PPA</a:t>
            </a:r>
          </a:p>
          <a:p>
            <a:pPr lvl="1"/>
            <a:r>
              <a:rPr lang="en-GB" dirty="0"/>
              <a:t>GO, …</a:t>
            </a:r>
          </a:p>
          <a:p>
            <a:pPr lvl="1"/>
            <a:r>
              <a:rPr lang="en-GB" dirty="0"/>
              <a:t>24/7 initiative </a:t>
            </a:r>
            <a:endParaRPr lang="en-BE" dirty="0"/>
          </a:p>
        </p:txBody>
      </p:sp>
      <p:sp>
        <p:nvSpPr>
          <p:cNvPr id="3" name="Date Placeholder 2">
            <a:extLst>
              <a:ext uri="{FF2B5EF4-FFF2-40B4-BE49-F238E27FC236}">
                <a16:creationId xmlns:a16="http://schemas.microsoft.com/office/drawing/2014/main" id="{BEF897E9-E5C5-730F-AFBF-E8B5166716DC}"/>
              </a:ext>
            </a:extLst>
          </p:cNvPr>
          <p:cNvSpPr>
            <a:spLocks noGrp="1"/>
          </p:cNvSpPr>
          <p:nvPr>
            <p:ph type="dt" sz="half" idx="10"/>
          </p:nvPr>
        </p:nvSpPr>
        <p:spPr/>
        <p:txBody>
          <a:bodyPr/>
          <a:lstStyle/>
          <a:p>
            <a:fld id="{71616274-4FE1-42A0-958E-4F8D8C016092}" type="datetime1">
              <a:rPr lang="nl-BE" smtClean="0"/>
              <a:t>30/05/2023</a:t>
            </a:fld>
            <a:endParaRPr lang="nl-BE"/>
          </a:p>
        </p:txBody>
      </p:sp>
      <p:sp>
        <p:nvSpPr>
          <p:cNvPr id="4" name="Footer Placeholder 3">
            <a:extLst>
              <a:ext uri="{FF2B5EF4-FFF2-40B4-BE49-F238E27FC236}">
                <a16:creationId xmlns:a16="http://schemas.microsoft.com/office/drawing/2014/main" id="{1FA0A74D-5366-C20E-0DC2-7082483C6739}"/>
              </a:ext>
            </a:extLst>
          </p:cNvPr>
          <p:cNvSpPr>
            <a:spLocks noGrp="1"/>
          </p:cNvSpPr>
          <p:nvPr>
            <p:ph type="ftr" sz="quarter" idx="11"/>
          </p:nvPr>
        </p:nvSpPr>
        <p:spPr/>
        <p:txBody>
          <a:bodyPr/>
          <a:lstStyle/>
          <a:p>
            <a:endParaRPr lang="nl-BE"/>
          </a:p>
        </p:txBody>
      </p:sp>
      <p:sp>
        <p:nvSpPr>
          <p:cNvPr id="5" name="Slide Number Placeholder 4">
            <a:extLst>
              <a:ext uri="{FF2B5EF4-FFF2-40B4-BE49-F238E27FC236}">
                <a16:creationId xmlns:a16="http://schemas.microsoft.com/office/drawing/2014/main" id="{41B32058-9FF4-DA9A-8A81-313F808B0217}"/>
              </a:ext>
            </a:extLst>
          </p:cNvPr>
          <p:cNvSpPr>
            <a:spLocks noGrp="1"/>
          </p:cNvSpPr>
          <p:nvPr>
            <p:ph type="sldNum" sz="quarter" idx="12"/>
          </p:nvPr>
        </p:nvSpPr>
        <p:spPr/>
        <p:txBody>
          <a:bodyPr/>
          <a:lstStyle/>
          <a:p>
            <a:fld id="{9BE375CD-4755-4D83-B134-E6AD5007676A}" type="slidenum">
              <a:rPr lang="nl-BE" smtClean="0"/>
              <a:t>29</a:t>
            </a:fld>
            <a:endParaRPr lang="nl-BE"/>
          </a:p>
        </p:txBody>
      </p:sp>
      <p:sp>
        <p:nvSpPr>
          <p:cNvPr id="6" name="Title 5">
            <a:extLst>
              <a:ext uri="{FF2B5EF4-FFF2-40B4-BE49-F238E27FC236}">
                <a16:creationId xmlns:a16="http://schemas.microsoft.com/office/drawing/2014/main" id="{23FA8136-029E-3664-CFD1-79FB3C01E1B9}"/>
              </a:ext>
            </a:extLst>
          </p:cNvPr>
          <p:cNvSpPr>
            <a:spLocks noGrp="1"/>
          </p:cNvSpPr>
          <p:nvPr>
            <p:ph type="title"/>
          </p:nvPr>
        </p:nvSpPr>
        <p:spPr/>
        <p:txBody>
          <a:bodyPr/>
          <a:lstStyle/>
          <a:p>
            <a:r>
              <a:rPr lang="en-GB" dirty="0"/>
              <a:t>Pull from large consumers </a:t>
            </a:r>
            <a:endParaRPr lang="en-BE" dirty="0"/>
          </a:p>
        </p:txBody>
      </p:sp>
      <p:sp>
        <p:nvSpPr>
          <p:cNvPr id="7" name="Content Placeholder 6">
            <a:extLst>
              <a:ext uri="{FF2B5EF4-FFF2-40B4-BE49-F238E27FC236}">
                <a16:creationId xmlns:a16="http://schemas.microsoft.com/office/drawing/2014/main" id="{55519981-4862-892E-A966-5158C1E42B65}"/>
              </a:ext>
            </a:extLst>
          </p:cNvPr>
          <p:cNvSpPr>
            <a:spLocks noGrp="1"/>
          </p:cNvSpPr>
          <p:nvPr>
            <p:ph idx="13"/>
          </p:nvPr>
        </p:nvSpPr>
        <p:spPr/>
        <p:txBody>
          <a:bodyPr/>
          <a:lstStyle/>
          <a:p>
            <a:r>
              <a:rPr lang="en-GB" dirty="0"/>
              <a:t>Electrification </a:t>
            </a:r>
            <a:endParaRPr lang="en-BE" dirty="0"/>
          </a:p>
        </p:txBody>
      </p:sp>
      <p:pic>
        <p:nvPicPr>
          <p:cNvPr id="9" name="Picture 8">
            <a:extLst>
              <a:ext uri="{FF2B5EF4-FFF2-40B4-BE49-F238E27FC236}">
                <a16:creationId xmlns:a16="http://schemas.microsoft.com/office/drawing/2014/main" id="{5039DA67-AEC9-D3D2-D32A-AA9249BAD6E1}"/>
              </a:ext>
            </a:extLst>
          </p:cNvPr>
          <p:cNvPicPr>
            <a:picLocks noChangeAspect="1"/>
          </p:cNvPicPr>
          <p:nvPr/>
        </p:nvPicPr>
        <p:blipFill>
          <a:blip r:embed="rId2"/>
          <a:stretch>
            <a:fillRect/>
          </a:stretch>
        </p:blipFill>
        <p:spPr>
          <a:xfrm>
            <a:off x="5519936" y="2280129"/>
            <a:ext cx="6118833" cy="3394695"/>
          </a:xfrm>
          <a:prstGeom prst="rect">
            <a:avLst/>
          </a:prstGeom>
        </p:spPr>
      </p:pic>
    </p:spTree>
    <p:extLst>
      <p:ext uri="{BB962C8B-B14F-4D97-AF65-F5344CB8AC3E}">
        <p14:creationId xmlns:p14="http://schemas.microsoft.com/office/powerpoint/2010/main" val="2385120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chor="t" anchorCtr="0">
            <a:normAutofit fontScale="90000"/>
          </a:bodyPr>
          <a:lstStyle/>
          <a:p>
            <a:r>
              <a:rPr lang="en-GB" dirty="0"/>
              <a:t>Introduction: prices – affordability – competitivity  </a:t>
            </a:r>
          </a:p>
        </p:txBody>
      </p:sp>
      <p:sp>
        <p:nvSpPr>
          <p:cNvPr id="4" name="Tijdelijke aanduiding voor datum 3"/>
          <p:cNvSpPr>
            <a:spLocks noGrp="1"/>
          </p:cNvSpPr>
          <p:nvPr>
            <p:ph type="dt" sz="half" idx="10"/>
          </p:nvPr>
        </p:nvSpPr>
        <p:spPr/>
        <p:txBody>
          <a:bodyPr/>
          <a:lstStyle/>
          <a:p>
            <a:fld id="{4D3972CC-6E70-4343-85A0-3A0985605F47}" type="datetime1">
              <a:rPr lang="nl-BE" smtClean="0"/>
              <a:t>30/05/2023</a:t>
            </a:fld>
            <a:endParaRPr lang="nl-BE" dirty="0"/>
          </a:p>
        </p:txBody>
      </p:sp>
      <p:sp>
        <p:nvSpPr>
          <p:cNvPr id="5" name="Tijdelijke aanduiding voor voettekst 4"/>
          <p:cNvSpPr>
            <a:spLocks noGrp="1"/>
          </p:cNvSpPr>
          <p:nvPr>
            <p:ph type="ftr" sz="quarter" idx="11"/>
          </p:nvPr>
        </p:nvSpPr>
        <p:spPr/>
        <p:txBody>
          <a:bodyPr/>
          <a:lstStyle/>
          <a:p>
            <a:endParaRPr lang="nl-BE" dirty="0"/>
          </a:p>
        </p:txBody>
      </p:sp>
      <p:sp>
        <p:nvSpPr>
          <p:cNvPr id="6" name="Tijdelijke aanduiding voor dianummer 5"/>
          <p:cNvSpPr>
            <a:spLocks noGrp="1"/>
          </p:cNvSpPr>
          <p:nvPr>
            <p:ph type="sldNum" sz="quarter" idx="12"/>
          </p:nvPr>
        </p:nvSpPr>
        <p:spPr/>
        <p:txBody>
          <a:bodyPr/>
          <a:lstStyle/>
          <a:p>
            <a:fld id="{9BE375CD-4755-4D83-B134-E6AD5007676A}" type="slidenum">
              <a:rPr lang="nl-BE" smtClean="0"/>
              <a:pPr/>
              <a:t>3</a:t>
            </a:fld>
            <a:endParaRPr lang="nl-BE" dirty="0"/>
          </a:p>
        </p:txBody>
      </p:sp>
    </p:spTree>
    <p:extLst>
      <p:ext uri="{BB962C8B-B14F-4D97-AF65-F5344CB8AC3E}">
        <p14:creationId xmlns:p14="http://schemas.microsoft.com/office/powerpoint/2010/main" val="28301797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61828740-D0FD-4C47-98FB-055181AD5161}"/>
              </a:ext>
            </a:extLst>
          </p:cNvPr>
          <p:cNvPicPr>
            <a:picLocks noChangeAspect="1"/>
          </p:cNvPicPr>
          <p:nvPr/>
        </p:nvPicPr>
        <p:blipFill>
          <a:blip r:embed="rId2"/>
          <a:stretch>
            <a:fillRect/>
          </a:stretch>
        </p:blipFill>
        <p:spPr>
          <a:xfrm>
            <a:off x="720356" y="1417308"/>
            <a:ext cx="11320508" cy="4928944"/>
          </a:xfrm>
          <a:prstGeom prst="rect">
            <a:avLst/>
          </a:prstGeom>
        </p:spPr>
      </p:pic>
      <p:sp>
        <p:nvSpPr>
          <p:cNvPr id="2" name="Title 1">
            <a:extLst>
              <a:ext uri="{FF2B5EF4-FFF2-40B4-BE49-F238E27FC236}">
                <a16:creationId xmlns:a16="http://schemas.microsoft.com/office/drawing/2014/main" id="{1A5165B1-D84E-44C6-897C-093E6FCA67AD}"/>
              </a:ext>
            </a:extLst>
          </p:cNvPr>
          <p:cNvSpPr>
            <a:spLocks noGrp="1"/>
          </p:cNvSpPr>
          <p:nvPr>
            <p:ph type="title"/>
          </p:nvPr>
        </p:nvSpPr>
        <p:spPr>
          <a:xfrm>
            <a:off x="838200" y="365125"/>
            <a:ext cx="10960510" cy="749808"/>
          </a:xfrm>
        </p:spPr>
        <p:txBody>
          <a:bodyPr>
            <a:noAutofit/>
          </a:bodyPr>
          <a:lstStyle/>
          <a:p>
            <a:r>
              <a:rPr lang="en-GB" b="0" dirty="0"/>
              <a:t>Technological evolution drives the consumer needs</a:t>
            </a:r>
          </a:p>
        </p:txBody>
      </p:sp>
      <p:sp>
        <p:nvSpPr>
          <p:cNvPr id="3" name="Slide Number Placeholder 2">
            <a:extLst>
              <a:ext uri="{FF2B5EF4-FFF2-40B4-BE49-F238E27FC236}">
                <a16:creationId xmlns:a16="http://schemas.microsoft.com/office/drawing/2014/main" id="{5AA4EE55-9989-4B13-8D1B-D54A37EB8A44}"/>
              </a:ext>
            </a:extLst>
          </p:cNvPr>
          <p:cNvSpPr>
            <a:spLocks noGrp="1"/>
          </p:cNvSpPr>
          <p:nvPr>
            <p:ph type="sldNum" sz="quarter" idx="4"/>
          </p:nvPr>
        </p:nvSpPr>
        <p:spPr>
          <a:xfrm>
            <a:off x="479778" y="6398678"/>
            <a:ext cx="358423" cy="365125"/>
          </a:xfrm>
          <a:prstGeom prst="rect">
            <a:avLst/>
          </a:prstGeom>
        </p:spPr>
        <p:txBody>
          <a:bodyPr anchor="ctr">
            <a:noAutofit/>
          </a:bodyPr>
          <a:lstStyle>
            <a:defPPr>
              <a:defRPr lang="en-US"/>
            </a:defPPr>
            <a:lvl1pPr marL="0" algn="r" defTabSz="914400" rtl="0" eaLnBrk="1" latinLnBrk="0" hangingPunct="1">
              <a:defRPr sz="10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11B3522-6D57-4BB5-BF7E-28D88C645D09}" type="slidenum">
              <a:rPr kumimoji="0" lang="en-US" sz="1000" b="0" i="0" u="none" strike="noStrike" kern="1200" cap="none" spc="0" normalizeH="0" baseline="0" noProof="0" smtClean="0">
                <a:ln>
                  <a:noFill/>
                </a:ln>
                <a:solidFill>
                  <a:srgbClr val="FFFFFF"/>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000" b="0" i="0" u="none" strike="noStrike" kern="1200" cap="none" spc="0" normalizeH="0" baseline="0" noProof="0" dirty="0">
              <a:ln>
                <a:noFill/>
              </a:ln>
              <a:solidFill>
                <a:srgbClr val="FFFFFF"/>
              </a:solidFill>
              <a:effectLst/>
              <a:uLnTx/>
              <a:uFillTx/>
              <a:latin typeface="Lucida Sans Unicode"/>
              <a:ea typeface="+mn-ea"/>
              <a:cs typeface="+mn-cs"/>
            </a:endParaRPr>
          </a:p>
        </p:txBody>
      </p:sp>
      <p:graphicFrame>
        <p:nvGraphicFramePr>
          <p:cNvPr id="5" name="Diagram 4">
            <a:extLst>
              <a:ext uri="{FF2B5EF4-FFF2-40B4-BE49-F238E27FC236}">
                <a16:creationId xmlns:a16="http://schemas.microsoft.com/office/drawing/2014/main" id="{CA6F04DF-72C7-4B86-B182-0FB34511EA11}"/>
              </a:ext>
            </a:extLst>
          </p:cNvPr>
          <p:cNvGraphicFramePr/>
          <p:nvPr/>
        </p:nvGraphicFramePr>
        <p:xfrm>
          <a:off x="997356" y="1248654"/>
          <a:ext cx="10515599" cy="303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7A8F8840-8AA1-42B9-BFAA-F45957FA19FD}"/>
              </a:ext>
            </a:extLst>
          </p:cNvPr>
          <p:cNvSpPr txBox="1"/>
          <p:nvPr/>
        </p:nvSpPr>
        <p:spPr>
          <a:xfrm>
            <a:off x="1630556" y="4455546"/>
            <a:ext cx="369757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ucida Sans Unicode"/>
                <a:ea typeface="+mn-ea"/>
                <a:cs typeface="+mn-cs"/>
              </a:rPr>
              <a:t>Use cases around PV are most relevant (sharing, storage)</a:t>
            </a:r>
          </a:p>
        </p:txBody>
      </p:sp>
      <p:sp>
        <p:nvSpPr>
          <p:cNvPr id="19" name="TextBox 18">
            <a:extLst>
              <a:ext uri="{FF2B5EF4-FFF2-40B4-BE49-F238E27FC236}">
                <a16:creationId xmlns:a16="http://schemas.microsoft.com/office/drawing/2014/main" id="{6F1C5E01-FED6-4776-8C3B-604F1A3CC595}"/>
              </a:ext>
            </a:extLst>
          </p:cNvPr>
          <p:cNvSpPr txBox="1"/>
          <p:nvPr/>
        </p:nvSpPr>
        <p:spPr>
          <a:xfrm>
            <a:off x="4949040" y="3503707"/>
            <a:ext cx="364136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ucida Sans Unicode"/>
                <a:ea typeface="+mn-ea"/>
                <a:cs typeface="+mn-cs"/>
              </a:rPr>
              <a:t>Use cases related to EV and Heat pumps become relevant (dynamic tariffs, multiple suppliers</a:t>
            </a:r>
          </a:p>
        </p:txBody>
      </p:sp>
      <p:sp>
        <p:nvSpPr>
          <p:cNvPr id="20" name="TextBox 19">
            <a:extLst>
              <a:ext uri="{FF2B5EF4-FFF2-40B4-BE49-F238E27FC236}">
                <a16:creationId xmlns:a16="http://schemas.microsoft.com/office/drawing/2014/main" id="{12CEEAF5-61F3-4B8D-9343-8431208ABB42}"/>
              </a:ext>
            </a:extLst>
          </p:cNvPr>
          <p:cNvSpPr txBox="1"/>
          <p:nvPr/>
        </p:nvSpPr>
        <p:spPr>
          <a:xfrm>
            <a:off x="8590401" y="2021781"/>
            <a:ext cx="327718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ucida Sans Unicode"/>
                <a:ea typeface="+mn-ea"/>
                <a:cs typeface="+mn-cs"/>
              </a:rPr>
              <a:t>With high shares of PV/Wind/EV/HP, services to system operators will become relevant</a:t>
            </a:r>
          </a:p>
        </p:txBody>
      </p:sp>
      <p:sp>
        <p:nvSpPr>
          <p:cNvPr id="25" name="Rectangle 24">
            <a:extLst>
              <a:ext uri="{FF2B5EF4-FFF2-40B4-BE49-F238E27FC236}">
                <a16:creationId xmlns:a16="http://schemas.microsoft.com/office/drawing/2014/main" id="{5B54D912-301C-4E65-9119-4467AFF93E87}"/>
              </a:ext>
            </a:extLst>
          </p:cNvPr>
          <p:cNvSpPr/>
          <p:nvPr/>
        </p:nvSpPr>
        <p:spPr>
          <a:xfrm>
            <a:off x="4528617" y="1834848"/>
            <a:ext cx="3508697" cy="3035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Lucida Sans Unicode"/>
              <a:ea typeface="+mn-ea"/>
              <a:cs typeface="+mn-cs"/>
            </a:endParaRPr>
          </a:p>
        </p:txBody>
      </p:sp>
      <p:sp>
        <p:nvSpPr>
          <p:cNvPr id="26" name="TextBox 25">
            <a:extLst>
              <a:ext uri="{FF2B5EF4-FFF2-40B4-BE49-F238E27FC236}">
                <a16:creationId xmlns:a16="http://schemas.microsoft.com/office/drawing/2014/main" id="{14CBC4EF-D11D-4E94-A085-29EE77A17AD2}"/>
              </a:ext>
            </a:extLst>
          </p:cNvPr>
          <p:cNvSpPr txBox="1"/>
          <p:nvPr/>
        </p:nvSpPr>
        <p:spPr>
          <a:xfrm rot="16200000">
            <a:off x="-768620" y="3032018"/>
            <a:ext cx="287101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ucida Sans Unicode"/>
                <a:ea typeface="+mn-ea"/>
                <a:cs typeface="+mn-cs"/>
              </a:rPr>
              <a:t>Technology penetration rates</a:t>
            </a:r>
          </a:p>
        </p:txBody>
      </p:sp>
      <p:sp>
        <p:nvSpPr>
          <p:cNvPr id="32" name="Shape 31">
            <a:extLst>
              <a:ext uri="{FF2B5EF4-FFF2-40B4-BE49-F238E27FC236}">
                <a16:creationId xmlns:a16="http://schemas.microsoft.com/office/drawing/2014/main" id="{9659239F-C828-4F8A-973F-616260FA1831}"/>
              </a:ext>
            </a:extLst>
          </p:cNvPr>
          <p:cNvSpPr/>
          <p:nvPr/>
        </p:nvSpPr>
        <p:spPr>
          <a:xfrm rot="19757833" flipV="1">
            <a:off x="4617497" y="3649192"/>
            <a:ext cx="6191323" cy="996574"/>
          </a:xfrm>
          <a:prstGeom prst="swooshArrow">
            <a:avLst>
              <a:gd name="adj1" fmla="val 17524"/>
              <a:gd name="adj2" fmla="val 25000"/>
            </a:avLst>
          </a:prstGeom>
          <a:solidFill>
            <a:srgbClr val="BF1266">
              <a:alpha val="20000"/>
            </a:srgb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TextBox 33">
            <a:extLst>
              <a:ext uri="{FF2B5EF4-FFF2-40B4-BE49-F238E27FC236}">
                <a16:creationId xmlns:a16="http://schemas.microsoft.com/office/drawing/2014/main" id="{D0503541-6870-436E-ACA9-566709BF68F6}"/>
              </a:ext>
            </a:extLst>
          </p:cNvPr>
          <p:cNvSpPr txBox="1"/>
          <p:nvPr/>
        </p:nvSpPr>
        <p:spPr>
          <a:xfrm>
            <a:off x="3048218" y="2843122"/>
            <a:ext cx="609600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Lucida Sans Unicode"/>
                <a:ea typeface="+mn-ea"/>
                <a:cs typeface="+mn-cs"/>
              </a:rPr>
              <a:t>Smart meters are a prerequisite for almost all consumer centric use cases</a:t>
            </a:r>
          </a:p>
        </p:txBody>
      </p:sp>
      <p:sp>
        <p:nvSpPr>
          <p:cNvPr id="15" name="Footer Placeholder 4">
            <a:extLst>
              <a:ext uri="{FF2B5EF4-FFF2-40B4-BE49-F238E27FC236}">
                <a16:creationId xmlns:a16="http://schemas.microsoft.com/office/drawing/2014/main" id="{7DD48232-91B3-4CCD-9C70-E944D0F36857}"/>
              </a:ext>
            </a:extLst>
          </p:cNvPr>
          <p:cNvSpPr txBox="1">
            <a:spLocks/>
          </p:cNvSpPr>
          <p:nvPr/>
        </p:nvSpPr>
        <p:spPr>
          <a:xfrm>
            <a:off x="505426" y="6377009"/>
            <a:ext cx="4635191" cy="365125"/>
          </a:xfrm>
          <a:prstGeom prst="rect">
            <a:avLst/>
          </a:prstGeom>
        </p:spPr>
        <p:txBody>
          <a:bodyPr vert="horz" lIns="0" tIns="45720" rIns="0" bIns="45720" rtlCol="0" anchor="ctr" anchorCtr="0">
            <a:noAutofit/>
          </a:bodyPr>
          <a:lstStyle>
            <a:defPPr>
              <a:defRPr lang="nl-BE"/>
            </a:defPPr>
            <a:lvl1pPr marL="88900" indent="-88900" algn="l" defTabSz="914400" rtl="0" eaLnBrk="1" latinLnBrk="0" hangingPunct="1">
              <a:buClr>
                <a:schemeClr val="accent2"/>
              </a:buClr>
              <a:buFont typeface="Arial" panose="020B0604020202020204" pitchFamily="34" charset="0"/>
              <a:buChar char="•"/>
              <a:defRPr sz="10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A2D3F3"/>
              </a:buClr>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Lucida Sans Unicode"/>
                <a:ea typeface="+mn-ea"/>
                <a:cs typeface="+mn-cs"/>
              </a:rPr>
              <a:t>FEBEG – Consumer-centric market design - Executive Summary</a:t>
            </a:r>
          </a:p>
        </p:txBody>
      </p:sp>
    </p:spTree>
    <p:extLst>
      <p:ext uri="{BB962C8B-B14F-4D97-AF65-F5344CB8AC3E}">
        <p14:creationId xmlns:p14="http://schemas.microsoft.com/office/powerpoint/2010/main" val="1367267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1ABDD-38AA-4416-A621-D2B5B969E60F}"/>
              </a:ext>
            </a:extLst>
          </p:cNvPr>
          <p:cNvSpPr>
            <a:spLocks noGrp="1"/>
          </p:cNvSpPr>
          <p:nvPr>
            <p:ph type="title"/>
          </p:nvPr>
        </p:nvSpPr>
        <p:spPr>
          <a:xfrm>
            <a:off x="623778" y="365125"/>
            <a:ext cx="10730022" cy="749808"/>
          </a:xfrm>
        </p:spPr>
        <p:txBody>
          <a:bodyPr>
            <a:normAutofit fontScale="90000"/>
          </a:bodyPr>
          <a:lstStyle/>
          <a:p>
            <a:r>
              <a:rPr lang="en-GB" sz="2400" b="0" dirty="0">
                <a:latin typeface="+mn-lt"/>
              </a:rPr>
              <a:t>Use cases are triggered by technological evolution - but legal, metering and data management aspects are equally important and they need to be addressed in time. </a:t>
            </a:r>
          </a:p>
        </p:txBody>
      </p:sp>
      <p:sp>
        <p:nvSpPr>
          <p:cNvPr id="3" name="Slide Number Placeholder 2">
            <a:extLst>
              <a:ext uri="{FF2B5EF4-FFF2-40B4-BE49-F238E27FC236}">
                <a16:creationId xmlns:a16="http://schemas.microsoft.com/office/drawing/2014/main" id="{11669BD6-CE97-468C-BF05-6F7E31F59B12}"/>
              </a:ext>
            </a:extLst>
          </p:cNvPr>
          <p:cNvSpPr>
            <a:spLocks noGrp="1"/>
          </p:cNvSpPr>
          <p:nvPr>
            <p:ph type="sldNum" sz="quarter" idx="4"/>
          </p:nvPr>
        </p:nvSpPr>
        <p:spPr>
          <a:xfrm>
            <a:off x="479778" y="6398678"/>
            <a:ext cx="358423" cy="365125"/>
          </a:xfrm>
          <a:prstGeom prst="rect">
            <a:avLst/>
          </a:prstGeom>
        </p:spPr>
        <p:txBody>
          <a:bodyPr anchor="ctr">
            <a:noAutofit/>
          </a:bodyPr>
          <a:lstStyle>
            <a:defPPr>
              <a:defRPr lang="en-US"/>
            </a:defPPr>
            <a:lvl1pPr marL="0" algn="r" defTabSz="914400" rtl="0" eaLnBrk="1" latinLnBrk="0" hangingPunct="1">
              <a:defRPr sz="10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11B3522-6D57-4BB5-BF7E-28D88C645D09}" type="slidenum">
              <a:rPr kumimoji="0" lang="en-US" sz="1000" b="0" i="0" u="none" strike="noStrike" kern="1200" cap="none" spc="0" normalizeH="0" baseline="0" noProof="0" smtClean="0">
                <a:ln>
                  <a:noFill/>
                </a:ln>
                <a:solidFill>
                  <a:srgbClr val="FFFFFF"/>
                </a:solidFill>
                <a:effectLst/>
                <a:uLnTx/>
                <a:uFillTx/>
                <a:latin typeface="Lucida Sans Unicod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000" b="0" i="0" u="none" strike="noStrike" kern="1200" cap="none" spc="0" normalizeH="0" baseline="0" noProof="0">
              <a:ln>
                <a:noFill/>
              </a:ln>
              <a:solidFill>
                <a:srgbClr val="FFFFFF"/>
              </a:solidFill>
              <a:effectLst/>
              <a:uLnTx/>
              <a:uFillTx/>
              <a:latin typeface="Lucida Sans Unicode"/>
              <a:ea typeface="+mn-ea"/>
              <a:cs typeface="+mn-cs"/>
            </a:endParaRPr>
          </a:p>
        </p:txBody>
      </p:sp>
      <p:grpSp>
        <p:nvGrpSpPr>
          <p:cNvPr id="26" name="Group 25">
            <a:extLst>
              <a:ext uri="{FF2B5EF4-FFF2-40B4-BE49-F238E27FC236}">
                <a16:creationId xmlns:a16="http://schemas.microsoft.com/office/drawing/2014/main" id="{87E74407-890B-4E83-8C0C-92BB04FC4DE8}"/>
              </a:ext>
            </a:extLst>
          </p:cNvPr>
          <p:cNvGrpSpPr/>
          <p:nvPr/>
        </p:nvGrpSpPr>
        <p:grpSpPr>
          <a:xfrm>
            <a:off x="2469214" y="2566782"/>
            <a:ext cx="4408060" cy="3604964"/>
            <a:chOff x="3388921" y="2373049"/>
            <a:chExt cx="4408060" cy="3604964"/>
          </a:xfrm>
        </p:grpSpPr>
        <p:graphicFrame>
          <p:nvGraphicFramePr>
            <p:cNvPr id="41" name="Diagram 40">
              <a:extLst>
                <a:ext uri="{FF2B5EF4-FFF2-40B4-BE49-F238E27FC236}">
                  <a16:creationId xmlns:a16="http://schemas.microsoft.com/office/drawing/2014/main" id="{9666D6EC-807B-4B82-8AC6-78F54B10BBA7}"/>
                </a:ext>
              </a:extLst>
            </p:cNvPr>
            <p:cNvGraphicFramePr/>
            <p:nvPr/>
          </p:nvGraphicFramePr>
          <p:xfrm>
            <a:off x="3388921" y="2373049"/>
            <a:ext cx="4408060" cy="36049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73BEC410-03D9-47DD-BE2A-B7FE0CA2386E}"/>
                </a:ext>
              </a:extLst>
            </p:cNvPr>
            <p:cNvSpPr txBox="1"/>
            <p:nvPr/>
          </p:nvSpPr>
          <p:spPr>
            <a:xfrm>
              <a:off x="4390009" y="3374421"/>
              <a:ext cx="1474839" cy="27699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75000"/>
                    </a:prstClr>
                  </a:solidFill>
                  <a:effectLst/>
                  <a:uLnTx/>
                  <a:uFillTx/>
                  <a:latin typeface="Lucida Sans Unicode"/>
                  <a:ea typeface="+mn-ea"/>
                  <a:cs typeface="+mn-cs"/>
                </a:rPr>
                <a:t>Technology</a:t>
              </a:r>
            </a:p>
          </p:txBody>
        </p:sp>
        <p:sp>
          <p:nvSpPr>
            <p:cNvPr id="64" name="TextBox 63">
              <a:extLst>
                <a:ext uri="{FF2B5EF4-FFF2-40B4-BE49-F238E27FC236}">
                  <a16:creationId xmlns:a16="http://schemas.microsoft.com/office/drawing/2014/main" id="{449F1A8E-7465-47A8-89D1-8E745831CC74}"/>
                </a:ext>
              </a:extLst>
            </p:cNvPr>
            <p:cNvSpPr txBox="1"/>
            <p:nvPr/>
          </p:nvSpPr>
          <p:spPr>
            <a:xfrm>
              <a:off x="5651138" y="3305810"/>
              <a:ext cx="1494504" cy="46166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75000"/>
                    </a:prstClr>
                  </a:solidFill>
                  <a:effectLst/>
                  <a:uLnTx/>
                  <a:uFillTx/>
                  <a:latin typeface="Lucida Sans Unicode"/>
                  <a:ea typeface="+mn-ea"/>
                  <a:cs typeface="+mn-cs"/>
                </a:rPr>
                <a:t>Metering infrastructure</a:t>
              </a:r>
            </a:p>
          </p:txBody>
        </p:sp>
        <p:sp>
          <p:nvSpPr>
            <p:cNvPr id="65" name="TextBox 64">
              <a:extLst>
                <a:ext uri="{FF2B5EF4-FFF2-40B4-BE49-F238E27FC236}">
                  <a16:creationId xmlns:a16="http://schemas.microsoft.com/office/drawing/2014/main" id="{2E8235F2-1CEA-4F7A-8A29-7659279275CE}"/>
                </a:ext>
              </a:extLst>
            </p:cNvPr>
            <p:cNvSpPr txBox="1"/>
            <p:nvPr/>
          </p:nvSpPr>
          <p:spPr>
            <a:xfrm>
              <a:off x="5662332" y="4602875"/>
              <a:ext cx="140842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75000"/>
                    </a:prstClr>
                  </a:solidFill>
                  <a:effectLst/>
                  <a:uLnTx/>
                  <a:uFillTx/>
                  <a:latin typeface="Lucida Sans Unicode"/>
                  <a:ea typeface="+mn-ea"/>
                  <a:cs typeface="+mn-cs"/>
                </a:rPr>
                <a:t>Legal &amp; Regulatory framework</a:t>
              </a:r>
            </a:p>
          </p:txBody>
        </p:sp>
        <p:sp>
          <p:nvSpPr>
            <p:cNvPr id="66" name="TextBox 65">
              <a:extLst>
                <a:ext uri="{FF2B5EF4-FFF2-40B4-BE49-F238E27FC236}">
                  <a16:creationId xmlns:a16="http://schemas.microsoft.com/office/drawing/2014/main" id="{7CC024F8-ADCA-4CCD-A337-67D39FC13A0D}"/>
                </a:ext>
              </a:extLst>
            </p:cNvPr>
            <p:cNvSpPr txBox="1"/>
            <p:nvPr/>
          </p:nvSpPr>
          <p:spPr>
            <a:xfrm>
              <a:off x="4459006" y="4558013"/>
              <a:ext cx="118844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lumMod val="75000"/>
                    </a:prstClr>
                  </a:solidFill>
                  <a:effectLst/>
                  <a:uLnTx/>
                  <a:uFillTx/>
                  <a:latin typeface="Lucida Sans Unicode"/>
                  <a:ea typeface="+mn-ea"/>
                  <a:cs typeface="+mn-cs"/>
                </a:rPr>
                <a:t>Data management &amp; processes</a:t>
              </a:r>
            </a:p>
          </p:txBody>
        </p:sp>
      </p:grpSp>
      <p:sp>
        <p:nvSpPr>
          <p:cNvPr id="12" name="Oval 11">
            <a:extLst>
              <a:ext uri="{FF2B5EF4-FFF2-40B4-BE49-F238E27FC236}">
                <a16:creationId xmlns:a16="http://schemas.microsoft.com/office/drawing/2014/main" id="{866676AD-4799-4EA3-BE59-FE2608072727}"/>
              </a:ext>
            </a:extLst>
          </p:cNvPr>
          <p:cNvSpPr/>
          <p:nvPr/>
        </p:nvSpPr>
        <p:spPr>
          <a:xfrm>
            <a:off x="2533372" y="2170685"/>
            <a:ext cx="4320000" cy="4320000"/>
          </a:xfrm>
          <a:prstGeom prst="ellipse">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pic>
        <p:nvPicPr>
          <p:cNvPr id="70" name="Graphic 14">
            <a:extLst>
              <a:ext uri="{FF2B5EF4-FFF2-40B4-BE49-F238E27FC236}">
                <a16:creationId xmlns:a16="http://schemas.microsoft.com/office/drawing/2014/main" id="{64B3C55E-491E-4A07-A5AA-6E964B12F89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87278" y="3196742"/>
            <a:ext cx="356470" cy="324000"/>
          </a:xfrm>
          <a:prstGeom prst="rect">
            <a:avLst/>
          </a:prstGeom>
        </p:spPr>
      </p:pic>
      <p:pic>
        <p:nvPicPr>
          <p:cNvPr id="71" name="Graphic 70">
            <a:extLst>
              <a:ext uri="{FF2B5EF4-FFF2-40B4-BE49-F238E27FC236}">
                <a16:creationId xmlns:a16="http://schemas.microsoft.com/office/drawing/2014/main" id="{37DAA145-F71A-40B8-87B0-33B49AF40A6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02439" y="3252786"/>
            <a:ext cx="307145" cy="217553"/>
          </a:xfrm>
          <a:prstGeom prst="rect">
            <a:avLst/>
          </a:prstGeom>
        </p:spPr>
      </p:pic>
      <p:pic>
        <p:nvPicPr>
          <p:cNvPr id="72" name="Graphic 71">
            <a:extLst>
              <a:ext uri="{FF2B5EF4-FFF2-40B4-BE49-F238E27FC236}">
                <a16:creationId xmlns:a16="http://schemas.microsoft.com/office/drawing/2014/main" id="{714707AE-9521-4AD4-AD7C-961A6F1D3FF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18200" y="4477394"/>
            <a:ext cx="275622" cy="274761"/>
          </a:xfrm>
          <a:prstGeom prst="rect">
            <a:avLst/>
          </a:prstGeom>
        </p:spPr>
      </p:pic>
      <p:pic>
        <p:nvPicPr>
          <p:cNvPr id="73" name="Graphic 72">
            <a:extLst>
              <a:ext uri="{FF2B5EF4-FFF2-40B4-BE49-F238E27FC236}">
                <a16:creationId xmlns:a16="http://schemas.microsoft.com/office/drawing/2014/main" id="{BE5D6261-34B6-4903-B15F-A285868ED3F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851193" y="4484055"/>
            <a:ext cx="364613" cy="279595"/>
          </a:xfrm>
          <a:prstGeom prst="rect">
            <a:avLst/>
          </a:prstGeom>
        </p:spPr>
      </p:pic>
      <p:sp>
        <p:nvSpPr>
          <p:cNvPr id="74" name="Rectangle 73">
            <a:extLst>
              <a:ext uri="{FF2B5EF4-FFF2-40B4-BE49-F238E27FC236}">
                <a16:creationId xmlns:a16="http://schemas.microsoft.com/office/drawing/2014/main" id="{3BF8974E-3655-4F3B-9D11-B954EF457C59}"/>
              </a:ext>
            </a:extLst>
          </p:cNvPr>
          <p:cNvSpPr/>
          <p:nvPr/>
        </p:nvSpPr>
        <p:spPr>
          <a:xfrm>
            <a:off x="723532" y="3860499"/>
            <a:ext cx="2235145" cy="447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marR="5080" lvl="0" indent="-144000" algn="l" defTabSz="457189"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5" normalizeH="0" baseline="0" noProof="0" dirty="0">
                <a:ln>
                  <a:noFill/>
                </a:ln>
                <a:solidFill>
                  <a:srgbClr val="353A3D"/>
                </a:solidFill>
                <a:effectLst/>
                <a:uLnTx/>
                <a:uFillTx/>
                <a:latin typeface="Lucida Sans Unicode"/>
                <a:ea typeface="+mn-ea"/>
                <a:cs typeface="Arial"/>
              </a:rPr>
              <a:t>PV</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PV</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Smart meter)</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Injection tariffs/Network tariffs</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Atrias</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5" normalizeH="0" baseline="0" noProof="0" dirty="0">
              <a:ln>
                <a:noFill/>
              </a:ln>
              <a:solidFill>
                <a:srgbClr val="424242"/>
              </a:solidFill>
              <a:effectLst/>
              <a:uLnTx/>
              <a:uFillTx/>
              <a:latin typeface="Lucida Sans Unicode"/>
              <a:ea typeface="+mn-ea"/>
              <a:cs typeface="Arial"/>
            </a:endParaRPr>
          </a:p>
          <a:p>
            <a:pPr marL="144000" marR="5080" lvl="0" indent="-144000" algn="l" defTabSz="45718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11" normalizeH="0" baseline="0" noProof="0" dirty="0">
              <a:ln>
                <a:noFill/>
              </a:ln>
              <a:solidFill>
                <a:srgbClr val="353A3D"/>
              </a:solidFill>
              <a:effectLst/>
              <a:uLnTx/>
              <a:uFillTx/>
              <a:latin typeface="Lucida Sans Unicode"/>
              <a:ea typeface="+mn-ea"/>
              <a:cs typeface="Arial"/>
            </a:endParaRPr>
          </a:p>
        </p:txBody>
      </p:sp>
      <p:sp>
        <p:nvSpPr>
          <p:cNvPr id="27" name="Rectangle 26">
            <a:extLst>
              <a:ext uri="{FF2B5EF4-FFF2-40B4-BE49-F238E27FC236}">
                <a16:creationId xmlns:a16="http://schemas.microsoft.com/office/drawing/2014/main" id="{BE8C9049-8FAB-40F4-B858-C9E03810181A}"/>
              </a:ext>
            </a:extLst>
          </p:cNvPr>
          <p:cNvSpPr/>
          <p:nvPr/>
        </p:nvSpPr>
        <p:spPr>
          <a:xfrm>
            <a:off x="723532" y="3578378"/>
            <a:ext cx="144000" cy="144000"/>
          </a:xfrm>
          <a:prstGeom prst="rect">
            <a:avLst/>
          </a:prstGeom>
          <a:solidFill>
            <a:srgbClr val="C6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75" name="Rectangle 74">
            <a:extLst>
              <a:ext uri="{FF2B5EF4-FFF2-40B4-BE49-F238E27FC236}">
                <a16:creationId xmlns:a16="http://schemas.microsoft.com/office/drawing/2014/main" id="{68243DCF-011C-4C69-8CD4-27B2AF80644B}"/>
              </a:ext>
            </a:extLst>
          </p:cNvPr>
          <p:cNvSpPr/>
          <p:nvPr/>
        </p:nvSpPr>
        <p:spPr>
          <a:xfrm>
            <a:off x="723532" y="3776414"/>
            <a:ext cx="144000" cy="144000"/>
          </a:xfrm>
          <a:prstGeom prst="rect">
            <a:avLst/>
          </a:prstGeom>
          <a:solidFill>
            <a:srgbClr val="33A6BD"/>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76" name="Rectangle 75">
            <a:extLst>
              <a:ext uri="{FF2B5EF4-FFF2-40B4-BE49-F238E27FC236}">
                <a16:creationId xmlns:a16="http://schemas.microsoft.com/office/drawing/2014/main" id="{937C9FEE-BF73-4118-ACFB-99E14E19C7DC}"/>
              </a:ext>
            </a:extLst>
          </p:cNvPr>
          <p:cNvSpPr/>
          <p:nvPr/>
        </p:nvSpPr>
        <p:spPr>
          <a:xfrm>
            <a:off x="723532" y="3943174"/>
            <a:ext cx="144000" cy="144000"/>
          </a:xfrm>
          <a:prstGeom prst="rect">
            <a:avLst/>
          </a:prstGeom>
          <a:solidFill>
            <a:srgbClr val="E3EDCA"/>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77" name="Rectangle 76">
            <a:extLst>
              <a:ext uri="{FF2B5EF4-FFF2-40B4-BE49-F238E27FC236}">
                <a16:creationId xmlns:a16="http://schemas.microsoft.com/office/drawing/2014/main" id="{12524469-68EB-4F5A-BDA0-235AC92CA293}"/>
              </a:ext>
            </a:extLst>
          </p:cNvPr>
          <p:cNvSpPr/>
          <p:nvPr/>
        </p:nvSpPr>
        <p:spPr>
          <a:xfrm>
            <a:off x="723532" y="4270072"/>
            <a:ext cx="144000" cy="144000"/>
          </a:xfrm>
          <a:prstGeom prst="rect">
            <a:avLst/>
          </a:prstGeom>
          <a:solidFill>
            <a:schemeClr val="accent4"/>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Lucida Sans Unicode"/>
              <a:ea typeface="+mn-ea"/>
              <a:cs typeface="+mn-cs"/>
            </a:endParaRPr>
          </a:p>
        </p:txBody>
      </p:sp>
      <p:sp>
        <p:nvSpPr>
          <p:cNvPr id="28" name="Oval 27">
            <a:extLst>
              <a:ext uri="{FF2B5EF4-FFF2-40B4-BE49-F238E27FC236}">
                <a16:creationId xmlns:a16="http://schemas.microsoft.com/office/drawing/2014/main" id="{45AB2147-9FB8-43AA-AD9B-9BE491EC6FEE}"/>
              </a:ext>
            </a:extLst>
          </p:cNvPr>
          <p:cNvSpPr/>
          <p:nvPr/>
        </p:nvSpPr>
        <p:spPr>
          <a:xfrm>
            <a:off x="2447231" y="3567703"/>
            <a:ext cx="324000" cy="32400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78" name="Oval 77">
            <a:extLst>
              <a:ext uri="{FF2B5EF4-FFF2-40B4-BE49-F238E27FC236}">
                <a16:creationId xmlns:a16="http://schemas.microsoft.com/office/drawing/2014/main" id="{F277AE95-EA7D-4D17-8377-793E31ED914C}"/>
              </a:ext>
            </a:extLst>
          </p:cNvPr>
          <p:cNvSpPr/>
          <p:nvPr/>
        </p:nvSpPr>
        <p:spPr>
          <a:xfrm>
            <a:off x="3146302" y="2543545"/>
            <a:ext cx="324000" cy="32400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79" name="Rectangle 78">
            <a:extLst>
              <a:ext uri="{FF2B5EF4-FFF2-40B4-BE49-F238E27FC236}">
                <a16:creationId xmlns:a16="http://schemas.microsoft.com/office/drawing/2014/main" id="{759D3A5B-AB94-4450-BDAC-8EFFD43476C0}"/>
              </a:ext>
            </a:extLst>
          </p:cNvPr>
          <p:cNvSpPr/>
          <p:nvPr/>
        </p:nvSpPr>
        <p:spPr>
          <a:xfrm>
            <a:off x="1171013" y="2700584"/>
            <a:ext cx="2235145" cy="447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marR="5080" lvl="0" indent="-144000" algn="l" defTabSz="457189"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5" normalizeH="0" baseline="0" noProof="0" dirty="0">
                <a:ln>
                  <a:noFill/>
                </a:ln>
                <a:solidFill>
                  <a:srgbClr val="353A3D"/>
                </a:solidFill>
                <a:effectLst/>
                <a:uLnTx/>
                <a:uFillTx/>
                <a:latin typeface="Lucida Sans Unicode"/>
                <a:ea typeface="+mn-ea"/>
                <a:cs typeface="Arial"/>
              </a:rPr>
              <a:t>PV &amp; Battery</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PV, Battery</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Smart meter)</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Injection tariffs/Network tariffs</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Atrias</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5" normalizeH="0" baseline="0" noProof="0" dirty="0">
              <a:ln>
                <a:noFill/>
              </a:ln>
              <a:solidFill>
                <a:srgbClr val="424242"/>
              </a:solidFill>
              <a:effectLst/>
              <a:uLnTx/>
              <a:uFillTx/>
              <a:latin typeface="Lucida Sans Unicode"/>
              <a:ea typeface="+mn-ea"/>
              <a:cs typeface="Arial"/>
            </a:endParaRPr>
          </a:p>
          <a:p>
            <a:pPr marL="144000" marR="5080" lvl="0" indent="-144000" algn="l" defTabSz="45718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11" normalizeH="0" baseline="0" noProof="0" dirty="0">
              <a:ln>
                <a:noFill/>
              </a:ln>
              <a:solidFill>
                <a:srgbClr val="353A3D"/>
              </a:solidFill>
              <a:effectLst/>
              <a:uLnTx/>
              <a:uFillTx/>
              <a:latin typeface="Lucida Sans Unicode"/>
              <a:ea typeface="+mn-ea"/>
              <a:cs typeface="Arial"/>
            </a:endParaRPr>
          </a:p>
        </p:txBody>
      </p:sp>
      <p:sp>
        <p:nvSpPr>
          <p:cNvPr id="80" name="Rectangle 79">
            <a:extLst>
              <a:ext uri="{FF2B5EF4-FFF2-40B4-BE49-F238E27FC236}">
                <a16:creationId xmlns:a16="http://schemas.microsoft.com/office/drawing/2014/main" id="{ECA508A7-02E2-4C24-9F18-EB964867FC08}"/>
              </a:ext>
            </a:extLst>
          </p:cNvPr>
          <p:cNvSpPr/>
          <p:nvPr/>
        </p:nvSpPr>
        <p:spPr>
          <a:xfrm>
            <a:off x="1170527" y="2383866"/>
            <a:ext cx="144000" cy="144000"/>
          </a:xfrm>
          <a:prstGeom prst="rect">
            <a:avLst/>
          </a:prstGeom>
          <a:solidFill>
            <a:srgbClr val="C6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81" name="Rectangle 80">
            <a:extLst>
              <a:ext uri="{FF2B5EF4-FFF2-40B4-BE49-F238E27FC236}">
                <a16:creationId xmlns:a16="http://schemas.microsoft.com/office/drawing/2014/main" id="{1898FD19-BD87-4BB6-8EFB-7623833B1B32}"/>
              </a:ext>
            </a:extLst>
          </p:cNvPr>
          <p:cNvSpPr/>
          <p:nvPr/>
        </p:nvSpPr>
        <p:spPr>
          <a:xfrm>
            <a:off x="1171013" y="2596828"/>
            <a:ext cx="144000" cy="144000"/>
          </a:xfrm>
          <a:prstGeom prst="rect">
            <a:avLst/>
          </a:prstGeom>
          <a:solidFill>
            <a:srgbClr val="33A6BD"/>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82" name="Rectangle 81">
            <a:extLst>
              <a:ext uri="{FF2B5EF4-FFF2-40B4-BE49-F238E27FC236}">
                <a16:creationId xmlns:a16="http://schemas.microsoft.com/office/drawing/2014/main" id="{DDAA490B-DBB7-4BB2-A651-6C7D53524B52}"/>
              </a:ext>
            </a:extLst>
          </p:cNvPr>
          <p:cNvSpPr/>
          <p:nvPr/>
        </p:nvSpPr>
        <p:spPr>
          <a:xfrm>
            <a:off x="1171013" y="2777045"/>
            <a:ext cx="144000" cy="144000"/>
          </a:xfrm>
          <a:prstGeom prst="rect">
            <a:avLst/>
          </a:prstGeom>
          <a:solidFill>
            <a:srgbClr val="E3EDCA"/>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83" name="Rectangle 82">
            <a:extLst>
              <a:ext uri="{FF2B5EF4-FFF2-40B4-BE49-F238E27FC236}">
                <a16:creationId xmlns:a16="http://schemas.microsoft.com/office/drawing/2014/main" id="{DA85EF05-F53C-404E-9599-D497973BDEFF}"/>
              </a:ext>
            </a:extLst>
          </p:cNvPr>
          <p:cNvSpPr/>
          <p:nvPr/>
        </p:nvSpPr>
        <p:spPr>
          <a:xfrm>
            <a:off x="1171013" y="3078191"/>
            <a:ext cx="144000" cy="144000"/>
          </a:xfrm>
          <a:prstGeom prst="rect">
            <a:avLst/>
          </a:prstGeom>
          <a:solidFill>
            <a:schemeClr val="accent4"/>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84" name="Oval 83">
            <a:extLst>
              <a:ext uri="{FF2B5EF4-FFF2-40B4-BE49-F238E27FC236}">
                <a16:creationId xmlns:a16="http://schemas.microsoft.com/office/drawing/2014/main" id="{9A3E05A6-4859-4485-95A9-BB17C92691DF}"/>
              </a:ext>
            </a:extLst>
          </p:cNvPr>
          <p:cNvSpPr/>
          <p:nvPr/>
        </p:nvSpPr>
        <p:spPr>
          <a:xfrm>
            <a:off x="4362318" y="2025604"/>
            <a:ext cx="324000" cy="32400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85" name="Rectangle 84">
            <a:extLst>
              <a:ext uri="{FF2B5EF4-FFF2-40B4-BE49-F238E27FC236}">
                <a16:creationId xmlns:a16="http://schemas.microsoft.com/office/drawing/2014/main" id="{A8549EF1-A57B-43CF-8587-24F72FF40314}"/>
              </a:ext>
            </a:extLst>
          </p:cNvPr>
          <p:cNvSpPr/>
          <p:nvPr/>
        </p:nvSpPr>
        <p:spPr>
          <a:xfrm>
            <a:off x="4906204" y="1967527"/>
            <a:ext cx="4683899" cy="447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marR="5080" lvl="0" indent="-144000" algn="l" defTabSz="457189"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5" normalizeH="0" baseline="0" noProof="0" dirty="0">
                <a:ln>
                  <a:noFill/>
                </a:ln>
                <a:solidFill>
                  <a:srgbClr val="353A3D"/>
                </a:solidFill>
                <a:effectLst/>
                <a:uLnTx/>
                <a:uFillTx/>
                <a:latin typeface="Lucida Sans Unicode"/>
                <a:ea typeface="+mn-ea"/>
                <a:cs typeface="Arial"/>
              </a:rPr>
              <a:t>PV &amp; Sharing</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PV</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Smart meter</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Peer-to-peer sharing / Collective self-consumption schemes </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err="1">
                <a:ln>
                  <a:noFill/>
                </a:ln>
                <a:solidFill>
                  <a:srgbClr val="424242"/>
                </a:solidFill>
                <a:effectLst/>
                <a:uLnTx/>
                <a:uFillTx/>
                <a:latin typeface="Lucida Sans Unicode"/>
                <a:ea typeface="+mn-ea"/>
                <a:cs typeface="Arial"/>
              </a:rPr>
              <a:t>Atrias</a:t>
            </a:r>
            <a:endParaRPr kumimoji="0" lang="en-GB" sz="1100" b="0" i="0" u="none" strike="noStrike" kern="1200" cap="none" spc="-5" normalizeH="0" baseline="0" noProof="0" dirty="0">
              <a:ln>
                <a:noFill/>
              </a:ln>
              <a:solidFill>
                <a:srgbClr val="424242"/>
              </a:solidFill>
              <a:effectLst/>
              <a:uLnTx/>
              <a:uFillTx/>
              <a:latin typeface="Lucida Sans Unicode"/>
              <a:ea typeface="+mn-ea"/>
              <a:cs typeface="Arial"/>
            </a:endParaRP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5" normalizeH="0" baseline="0" noProof="0" dirty="0">
              <a:ln>
                <a:noFill/>
              </a:ln>
              <a:solidFill>
                <a:srgbClr val="424242"/>
              </a:solidFill>
              <a:effectLst/>
              <a:uLnTx/>
              <a:uFillTx/>
              <a:latin typeface="Lucida Sans Unicode"/>
              <a:ea typeface="+mn-ea"/>
              <a:cs typeface="Arial"/>
            </a:endParaRPr>
          </a:p>
          <a:p>
            <a:pPr marL="144000" marR="5080" lvl="0" indent="-144000" algn="l" defTabSz="45718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11" normalizeH="0" baseline="0" noProof="0" dirty="0">
              <a:ln>
                <a:noFill/>
              </a:ln>
              <a:solidFill>
                <a:srgbClr val="353A3D"/>
              </a:solidFill>
              <a:effectLst/>
              <a:uLnTx/>
              <a:uFillTx/>
              <a:latin typeface="Lucida Sans Unicode"/>
              <a:ea typeface="+mn-ea"/>
              <a:cs typeface="Arial"/>
            </a:endParaRPr>
          </a:p>
        </p:txBody>
      </p:sp>
      <p:sp>
        <p:nvSpPr>
          <p:cNvPr id="86" name="Rectangle 85">
            <a:extLst>
              <a:ext uri="{FF2B5EF4-FFF2-40B4-BE49-F238E27FC236}">
                <a16:creationId xmlns:a16="http://schemas.microsoft.com/office/drawing/2014/main" id="{4B11813F-BC96-4DA1-A92F-25791EEFD083}"/>
              </a:ext>
            </a:extLst>
          </p:cNvPr>
          <p:cNvSpPr/>
          <p:nvPr/>
        </p:nvSpPr>
        <p:spPr>
          <a:xfrm>
            <a:off x="4906204" y="1754565"/>
            <a:ext cx="144000" cy="144000"/>
          </a:xfrm>
          <a:prstGeom prst="rect">
            <a:avLst/>
          </a:prstGeom>
          <a:solidFill>
            <a:srgbClr val="C6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87" name="Rectangle 86">
            <a:extLst>
              <a:ext uri="{FF2B5EF4-FFF2-40B4-BE49-F238E27FC236}">
                <a16:creationId xmlns:a16="http://schemas.microsoft.com/office/drawing/2014/main" id="{63F1EBAF-5C55-44D6-AC0A-4869C3561A3E}"/>
              </a:ext>
            </a:extLst>
          </p:cNvPr>
          <p:cNvSpPr/>
          <p:nvPr/>
        </p:nvSpPr>
        <p:spPr>
          <a:xfrm>
            <a:off x="4906204" y="1940332"/>
            <a:ext cx="144000" cy="144000"/>
          </a:xfrm>
          <a:prstGeom prst="rect">
            <a:avLst/>
          </a:prstGeom>
          <a:solidFill>
            <a:srgbClr val="33A6BD"/>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88" name="Rectangle 87">
            <a:extLst>
              <a:ext uri="{FF2B5EF4-FFF2-40B4-BE49-F238E27FC236}">
                <a16:creationId xmlns:a16="http://schemas.microsoft.com/office/drawing/2014/main" id="{13AB8CFE-764D-460E-9D5D-867EF60D00B1}"/>
              </a:ext>
            </a:extLst>
          </p:cNvPr>
          <p:cNvSpPr/>
          <p:nvPr/>
        </p:nvSpPr>
        <p:spPr>
          <a:xfrm>
            <a:off x="4906204" y="2126099"/>
            <a:ext cx="144000" cy="144000"/>
          </a:xfrm>
          <a:prstGeom prst="rect">
            <a:avLst/>
          </a:prstGeom>
          <a:solidFill>
            <a:srgbClr val="E3EDCA"/>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89" name="Rectangle 88">
            <a:extLst>
              <a:ext uri="{FF2B5EF4-FFF2-40B4-BE49-F238E27FC236}">
                <a16:creationId xmlns:a16="http://schemas.microsoft.com/office/drawing/2014/main" id="{933A8E4E-C5DE-490B-92A1-0B41A667EAFF}"/>
              </a:ext>
            </a:extLst>
          </p:cNvPr>
          <p:cNvSpPr/>
          <p:nvPr/>
        </p:nvSpPr>
        <p:spPr>
          <a:xfrm>
            <a:off x="4906204" y="2311866"/>
            <a:ext cx="144000" cy="144000"/>
          </a:xfrm>
          <a:prstGeom prst="rect">
            <a:avLst/>
          </a:prstGeom>
          <a:solidFill>
            <a:schemeClr val="accent4"/>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90" name="Oval 89">
            <a:extLst>
              <a:ext uri="{FF2B5EF4-FFF2-40B4-BE49-F238E27FC236}">
                <a16:creationId xmlns:a16="http://schemas.microsoft.com/office/drawing/2014/main" id="{F5769E24-71A2-4DF3-8030-19C48C701955}"/>
              </a:ext>
            </a:extLst>
          </p:cNvPr>
          <p:cNvSpPr/>
          <p:nvPr/>
        </p:nvSpPr>
        <p:spPr>
          <a:xfrm>
            <a:off x="6619546" y="3683025"/>
            <a:ext cx="324000" cy="32400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91" name="Rectangle 90">
            <a:extLst>
              <a:ext uri="{FF2B5EF4-FFF2-40B4-BE49-F238E27FC236}">
                <a16:creationId xmlns:a16="http://schemas.microsoft.com/office/drawing/2014/main" id="{CA5100C2-FFC0-40DF-8307-DC8F546AD3F1}"/>
              </a:ext>
            </a:extLst>
          </p:cNvPr>
          <p:cNvSpPr/>
          <p:nvPr/>
        </p:nvSpPr>
        <p:spPr>
          <a:xfrm>
            <a:off x="7044593" y="4034534"/>
            <a:ext cx="4657091" cy="4495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marR="5080" lvl="0" indent="-144000" algn="l" defTabSz="457189"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5" normalizeH="0" baseline="0" noProof="0" dirty="0">
                <a:ln>
                  <a:noFill/>
                </a:ln>
                <a:solidFill>
                  <a:srgbClr val="353A3D"/>
                </a:solidFill>
                <a:effectLst/>
                <a:uLnTx/>
                <a:uFillTx/>
                <a:latin typeface="Lucida Sans Unicode"/>
                <a:ea typeface="+mn-ea"/>
                <a:cs typeface="Arial"/>
              </a:rPr>
              <a:t>Multiple Suppliers </a:t>
            </a:r>
          </a:p>
          <a:p>
            <a:pPr marL="171450" marR="5080" lvl="0" indent="-171450" algn="l" defTabSz="45718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EV / Heat pump</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Smart meter, behind the meter devices </a:t>
            </a:r>
            <a:endParaRPr kumimoji="0" lang="en-GB" sz="1100" b="0" i="0" u="none" strike="noStrike" kern="1200" cap="none" spc="-5" normalizeH="0" baseline="0" noProof="0" dirty="0">
              <a:ln>
                <a:noFill/>
              </a:ln>
              <a:solidFill>
                <a:srgbClr val="424242"/>
              </a:solidFill>
              <a:effectLst/>
              <a:highlight>
                <a:srgbClr val="FFFF00"/>
              </a:highlight>
              <a:uLnTx/>
              <a:uFillTx/>
              <a:latin typeface="Lucida Sans Unicode"/>
              <a:ea typeface="+mn-ea"/>
              <a:cs typeface="Arial"/>
            </a:endParaRP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Framework for Multiple suppliers, regulatory scheme for </a:t>
            </a:r>
            <a:r>
              <a:rPr kumimoji="0" lang="en-GB" sz="1100" b="0" i="0" u="none" strike="noStrike" kern="1200" cap="none" spc="-5" normalizeH="0" baseline="0" noProof="0" dirty="0" err="1">
                <a:ln>
                  <a:noFill/>
                </a:ln>
                <a:solidFill>
                  <a:srgbClr val="424242"/>
                </a:solidFill>
                <a:effectLst/>
                <a:uLnTx/>
                <a:uFillTx/>
                <a:latin typeface="Lucida Sans Unicode"/>
                <a:ea typeface="+mn-ea"/>
                <a:cs typeface="Arial"/>
              </a:rPr>
              <a:t>BdM</a:t>
            </a: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 devices</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Evolved Atrias</a:t>
            </a:r>
          </a:p>
          <a:p>
            <a:pPr marL="144000" marR="5080" lvl="0" indent="-144000" algn="l" defTabSz="45718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11" normalizeH="0" baseline="0" noProof="0" dirty="0">
              <a:ln>
                <a:noFill/>
              </a:ln>
              <a:solidFill>
                <a:srgbClr val="353A3D"/>
              </a:solidFill>
              <a:effectLst/>
              <a:uLnTx/>
              <a:uFillTx/>
              <a:latin typeface="Lucida Sans Unicode"/>
              <a:ea typeface="+mn-ea"/>
              <a:cs typeface="Arial"/>
            </a:endParaRPr>
          </a:p>
        </p:txBody>
      </p:sp>
      <p:sp>
        <p:nvSpPr>
          <p:cNvPr id="92" name="Rectangle 91">
            <a:extLst>
              <a:ext uri="{FF2B5EF4-FFF2-40B4-BE49-F238E27FC236}">
                <a16:creationId xmlns:a16="http://schemas.microsoft.com/office/drawing/2014/main" id="{CD68CED6-DB37-4A1A-BFF0-B538AC2907F2}"/>
              </a:ext>
            </a:extLst>
          </p:cNvPr>
          <p:cNvSpPr/>
          <p:nvPr/>
        </p:nvSpPr>
        <p:spPr>
          <a:xfrm>
            <a:off x="7055509" y="3845962"/>
            <a:ext cx="144000" cy="144000"/>
          </a:xfrm>
          <a:prstGeom prst="rect">
            <a:avLst/>
          </a:prstGeom>
          <a:solidFill>
            <a:srgbClr val="C6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93" name="Rectangle 92">
            <a:extLst>
              <a:ext uri="{FF2B5EF4-FFF2-40B4-BE49-F238E27FC236}">
                <a16:creationId xmlns:a16="http://schemas.microsoft.com/office/drawing/2014/main" id="{E993C1A9-9798-4BC1-880A-F2C89A8A6B6A}"/>
              </a:ext>
            </a:extLst>
          </p:cNvPr>
          <p:cNvSpPr/>
          <p:nvPr/>
        </p:nvSpPr>
        <p:spPr>
          <a:xfrm>
            <a:off x="7044593" y="4042859"/>
            <a:ext cx="144000" cy="144000"/>
          </a:xfrm>
          <a:prstGeom prst="rect">
            <a:avLst/>
          </a:prstGeom>
          <a:solidFill>
            <a:srgbClr val="33A6BD"/>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94" name="Rectangle 93">
            <a:extLst>
              <a:ext uri="{FF2B5EF4-FFF2-40B4-BE49-F238E27FC236}">
                <a16:creationId xmlns:a16="http://schemas.microsoft.com/office/drawing/2014/main" id="{243BE3BF-0BCF-488D-A5B3-E4EAC861E5E1}"/>
              </a:ext>
            </a:extLst>
          </p:cNvPr>
          <p:cNvSpPr/>
          <p:nvPr/>
        </p:nvSpPr>
        <p:spPr>
          <a:xfrm>
            <a:off x="7043938" y="4232284"/>
            <a:ext cx="144000" cy="144000"/>
          </a:xfrm>
          <a:prstGeom prst="rect">
            <a:avLst/>
          </a:prstGeom>
          <a:solidFill>
            <a:srgbClr val="E3EDCA"/>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95" name="Rectangle 94">
            <a:extLst>
              <a:ext uri="{FF2B5EF4-FFF2-40B4-BE49-F238E27FC236}">
                <a16:creationId xmlns:a16="http://schemas.microsoft.com/office/drawing/2014/main" id="{B232BDF8-6143-40EF-B2C1-5FA04ABDFE56}"/>
              </a:ext>
            </a:extLst>
          </p:cNvPr>
          <p:cNvSpPr/>
          <p:nvPr/>
        </p:nvSpPr>
        <p:spPr>
          <a:xfrm>
            <a:off x="7044593" y="4521422"/>
            <a:ext cx="144000" cy="144000"/>
          </a:xfrm>
          <a:prstGeom prst="rect">
            <a:avLst/>
          </a:prstGeom>
          <a:solidFill>
            <a:schemeClr val="accent4"/>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96" name="Oval 95">
            <a:extLst>
              <a:ext uri="{FF2B5EF4-FFF2-40B4-BE49-F238E27FC236}">
                <a16:creationId xmlns:a16="http://schemas.microsoft.com/office/drawing/2014/main" id="{CCC020DC-0086-4680-921C-59984D778946}"/>
              </a:ext>
            </a:extLst>
          </p:cNvPr>
          <p:cNvSpPr/>
          <p:nvPr/>
        </p:nvSpPr>
        <p:spPr>
          <a:xfrm>
            <a:off x="5949557" y="2553101"/>
            <a:ext cx="324000" cy="32400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97" name="Rectangle 96">
            <a:extLst>
              <a:ext uri="{FF2B5EF4-FFF2-40B4-BE49-F238E27FC236}">
                <a16:creationId xmlns:a16="http://schemas.microsoft.com/office/drawing/2014/main" id="{A60E9D9C-1742-49DE-B6F3-BBAB126055BC}"/>
              </a:ext>
            </a:extLst>
          </p:cNvPr>
          <p:cNvSpPr/>
          <p:nvPr/>
        </p:nvSpPr>
        <p:spPr>
          <a:xfrm>
            <a:off x="6709452" y="2904225"/>
            <a:ext cx="3965257" cy="447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marR="5080" lvl="0" indent="-144000" algn="l" defTabSz="457189"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5" normalizeH="0" baseline="0" noProof="0">
                <a:ln>
                  <a:noFill/>
                </a:ln>
                <a:solidFill>
                  <a:srgbClr val="353A3D"/>
                </a:solidFill>
                <a:effectLst/>
                <a:uLnTx/>
                <a:uFillTx/>
                <a:latin typeface="Lucida Sans Unicode"/>
                <a:ea typeface="+mn-ea"/>
                <a:cs typeface="Arial"/>
              </a:rPr>
              <a:t>Implicit Demand Response</a:t>
            </a:r>
          </a:p>
          <a:p>
            <a:pPr marL="171450" marR="5080" lvl="0" indent="-171450" algn="l" defTabSz="45718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a:ln>
                  <a:noFill/>
                </a:ln>
                <a:solidFill>
                  <a:srgbClr val="424242"/>
                </a:solidFill>
                <a:effectLst/>
                <a:uLnTx/>
                <a:uFillTx/>
                <a:latin typeface="Lucida Sans Unicode"/>
                <a:ea typeface="+mn-ea"/>
                <a:cs typeface="Arial"/>
              </a:rPr>
              <a:t>Shiftable load (EV, heat pumps, batteries)</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a:ln>
                  <a:noFill/>
                </a:ln>
                <a:solidFill>
                  <a:srgbClr val="424242"/>
                </a:solidFill>
                <a:effectLst/>
                <a:uLnTx/>
                <a:uFillTx/>
                <a:latin typeface="Lucida Sans Unicode"/>
                <a:ea typeface="+mn-ea"/>
                <a:cs typeface="Arial"/>
              </a:rPr>
              <a:t>Smart meter, behind the meter communication</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a:ln>
                  <a:noFill/>
                </a:ln>
                <a:solidFill>
                  <a:srgbClr val="424242"/>
                </a:solidFill>
                <a:effectLst/>
                <a:uLnTx/>
                <a:uFillTx/>
                <a:latin typeface="Lucida Sans Unicode"/>
                <a:ea typeface="+mn-ea"/>
                <a:cs typeface="Arial"/>
              </a:rPr>
              <a:t>Dynamic price contracts</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a:ln>
                  <a:noFill/>
                </a:ln>
                <a:solidFill>
                  <a:srgbClr val="424242"/>
                </a:solidFill>
                <a:effectLst/>
                <a:uLnTx/>
                <a:uFillTx/>
                <a:latin typeface="Lucida Sans Unicode"/>
                <a:ea typeface="+mn-ea"/>
                <a:cs typeface="Arial"/>
              </a:rPr>
              <a:t>Atrias</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5" normalizeH="0" baseline="0" noProof="0">
              <a:ln>
                <a:noFill/>
              </a:ln>
              <a:solidFill>
                <a:srgbClr val="424242"/>
              </a:solidFill>
              <a:effectLst/>
              <a:uLnTx/>
              <a:uFillTx/>
              <a:latin typeface="Lucida Sans Unicode"/>
              <a:ea typeface="+mn-ea"/>
              <a:cs typeface="Arial"/>
            </a:endParaRPr>
          </a:p>
          <a:p>
            <a:pPr marL="144000" marR="5080" lvl="0" indent="-144000" algn="l" defTabSz="45718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11" normalizeH="0" baseline="0" noProof="0">
              <a:ln>
                <a:noFill/>
              </a:ln>
              <a:solidFill>
                <a:srgbClr val="353A3D"/>
              </a:solidFill>
              <a:effectLst/>
              <a:uLnTx/>
              <a:uFillTx/>
              <a:latin typeface="Lucida Sans Unicode"/>
              <a:ea typeface="+mn-ea"/>
              <a:cs typeface="Arial"/>
            </a:endParaRPr>
          </a:p>
        </p:txBody>
      </p:sp>
      <p:sp>
        <p:nvSpPr>
          <p:cNvPr id="98" name="Rectangle 97">
            <a:extLst>
              <a:ext uri="{FF2B5EF4-FFF2-40B4-BE49-F238E27FC236}">
                <a16:creationId xmlns:a16="http://schemas.microsoft.com/office/drawing/2014/main" id="{03B39298-D0C1-4D5D-810C-6BAFE60D3E4C}"/>
              </a:ext>
            </a:extLst>
          </p:cNvPr>
          <p:cNvSpPr/>
          <p:nvPr/>
        </p:nvSpPr>
        <p:spPr>
          <a:xfrm>
            <a:off x="6709453" y="2691263"/>
            <a:ext cx="144000" cy="144000"/>
          </a:xfrm>
          <a:prstGeom prst="rect">
            <a:avLst/>
          </a:prstGeom>
          <a:solidFill>
            <a:srgbClr val="C6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99" name="Rectangle 98">
            <a:extLst>
              <a:ext uri="{FF2B5EF4-FFF2-40B4-BE49-F238E27FC236}">
                <a16:creationId xmlns:a16="http://schemas.microsoft.com/office/drawing/2014/main" id="{1061777A-B112-4413-96B1-630FDCE14887}"/>
              </a:ext>
            </a:extLst>
          </p:cNvPr>
          <p:cNvSpPr/>
          <p:nvPr/>
        </p:nvSpPr>
        <p:spPr>
          <a:xfrm>
            <a:off x="6709453" y="2877030"/>
            <a:ext cx="144000" cy="144000"/>
          </a:xfrm>
          <a:prstGeom prst="rect">
            <a:avLst/>
          </a:prstGeom>
          <a:solidFill>
            <a:srgbClr val="33A6BD"/>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00" name="Rectangle 99">
            <a:extLst>
              <a:ext uri="{FF2B5EF4-FFF2-40B4-BE49-F238E27FC236}">
                <a16:creationId xmlns:a16="http://schemas.microsoft.com/office/drawing/2014/main" id="{830CE7AC-D4AE-49C3-BF61-AA9BE8889F2B}"/>
              </a:ext>
            </a:extLst>
          </p:cNvPr>
          <p:cNvSpPr/>
          <p:nvPr/>
        </p:nvSpPr>
        <p:spPr>
          <a:xfrm>
            <a:off x="6709453" y="3062797"/>
            <a:ext cx="144000" cy="144000"/>
          </a:xfrm>
          <a:prstGeom prst="rect">
            <a:avLst/>
          </a:prstGeom>
          <a:solidFill>
            <a:srgbClr val="E3EDCA"/>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01" name="Rectangle 100">
            <a:extLst>
              <a:ext uri="{FF2B5EF4-FFF2-40B4-BE49-F238E27FC236}">
                <a16:creationId xmlns:a16="http://schemas.microsoft.com/office/drawing/2014/main" id="{D199A146-A4CB-4890-A973-917DE2E3A721}"/>
              </a:ext>
            </a:extLst>
          </p:cNvPr>
          <p:cNvSpPr/>
          <p:nvPr/>
        </p:nvSpPr>
        <p:spPr>
          <a:xfrm>
            <a:off x="6709453" y="3248564"/>
            <a:ext cx="144000" cy="144000"/>
          </a:xfrm>
          <a:prstGeom prst="rect">
            <a:avLst/>
          </a:prstGeom>
          <a:solidFill>
            <a:schemeClr val="accent4"/>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02" name="Oval 101">
            <a:extLst>
              <a:ext uri="{FF2B5EF4-FFF2-40B4-BE49-F238E27FC236}">
                <a16:creationId xmlns:a16="http://schemas.microsoft.com/office/drawing/2014/main" id="{2AB7FA10-0E98-43CE-A25E-7CF7CF6D07C7}"/>
              </a:ext>
            </a:extLst>
          </p:cNvPr>
          <p:cNvSpPr/>
          <p:nvPr/>
        </p:nvSpPr>
        <p:spPr>
          <a:xfrm>
            <a:off x="6379238" y="5318018"/>
            <a:ext cx="324000" cy="324000"/>
          </a:xfrm>
          <a:prstGeom prst="ellipse">
            <a:avLst/>
          </a:prstGeom>
          <a:solidFill>
            <a:schemeClr val="accent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103" name="Rectangle 102">
            <a:extLst>
              <a:ext uri="{FF2B5EF4-FFF2-40B4-BE49-F238E27FC236}">
                <a16:creationId xmlns:a16="http://schemas.microsoft.com/office/drawing/2014/main" id="{C21EEC62-26E5-446E-8C4D-BFFC30399682}"/>
              </a:ext>
            </a:extLst>
          </p:cNvPr>
          <p:cNvSpPr/>
          <p:nvPr/>
        </p:nvSpPr>
        <p:spPr>
          <a:xfrm>
            <a:off x="6804284" y="5758239"/>
            <a:ext cx="4657091" cy="447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44000" marR="5080" lvl="0" indent="-144000" algn="l" defTabSz="457189" rtl="0" eaLnBrk="1" fontAlgn="auto" latinLnBrk="0" hangingPunct="1">
              <a:lnSpc>
                <a:spcPct val="100000"/>
              </a:lnSpc>
              <a:spcBef>
                <a:spcPts val="0"/>
              </a:spcBef>
              <a:spcAft>
                <a:spcPts val="300"/>
              </a:spcAft>
              <a:buClrTx/>
              <a:buSzTx/>
              <a:buFontTx/>
              <a:buNone/>
              <a:tabLst/>
              <a:defRPr/>
            </a:pPr>
            <a:r>
              <a:rPr kumimoji="0" lang="en-GB" sz="1200" b="1" i="0" u="none" strike="noStrike" kern="1200" cap="none" spc="-5" normalizeH="0" baseline="0" noProof="0" dirty="0">
                <a:ln>
                  <a:noFill/>
                </a:ln>
                <a:solidFill>
                  <a:srgbClr val="353A3D"/>
                </a:solidFill>
                <a:effectLst/>
                <a:uLnTx/>
                <a:uFillTx/>
                <a:latin typeface="Lucida Sans Unicode"/>
                <a:ea typeface="+mn-ea"/>
                <a:cs typeface="Arial"/>
              </a:rPr>
              <a:t>Services to System Operators</a:t>
            </a:r>
          </a:p>
          <a:p>
            <a:pPr marL="171450" marR="5080" lvl="0" indent="-171450" algn="l" defTabSz="45718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Shiftable residual load (EV, heat pumps, batteries, PV)</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Smart meter, real time communication</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Aggregated services to TSO, market-based services for DSOs</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Evolved Atrias, </a:t>
            </a:r>
            <a:r>
              <a:rPr kumimoji="0" lang="en-GB" sz="1100" b="0" i="0" u="none" strike="noStrike" kern="1200" cap="none" spc="-5" normalizeH="0" baseline="0" noProof="0" dirty="0" err="1">
                <a:ln>
                  <a:noFill/>
                </a:ln>
                <a:solidFill>
                  <a:srgbClr val="424242"/>
                </a:solidFill>
                <a:effectLst/>
                <a:uLnTx/>
                <a:uFillTx/>
                <a:latin typeface="Lucida Sans Unicode"/>
                <a:ea typeface="+mn-ea"/>
                <a:cs typeface="Arial"/>
              </a:rPr>
              <a:t>ToE</a:t>
            </a:r>
            <a:r>
              <a:rPr kumimoji="0" lang="en-GB" sz="1100" b="0" i="0" u="none" strike="noStrike" kern="1200" cap="none" spc="-5" normalizeH="0" baseline="0" noProof="0" dirty="0">
                <a:ln>
                  <a:noFill/>
                </a:ln>
                <a:solidFill>
                  <a:srgbClr val="424242"/>
                </a:solidFill>
                <a:effectLst/>
                <a:uLnTx/>
                <a:uFillTx/>
                <a:latin typeface="Lucida Sans Unicode"/>
                <a:ea typeface="+mn-ea"/>
                <a:cs typeface="Arial"/>
              </a:rPr>
              <a:t> or other alternative model, Reference profiles</a:t>
            </a:r>
          </a:p>
          <a:p>
            <a:pPr marL="144000" marR="5080" lvl="0" indent="-144000" algn="l" defTabSz="457189" rtl="0" eaLnBrk="1" fontAlgn="auto" latinLnBrk="0" hangingPunct="1">
              <a:lnSpc>
                <a:spcPct val="9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5" normalizeH="0" baseline="0" noProof="0" dirty="0">
              <a:ln>
                <a:noFill/>
              </a:ln>
              <a:solidFill>
                <a:srgbClr val="424242"/>
              </a:solidFill>
              <a:effectLst/>
              <a:uLnTx/>
              <a:uFillTx/>
              <a:latin typeface="Lucida Sans Unicode"/>
              <a:ea typeface="+mn-ea"/>
              <a:cs typeface="Arial"/>
            </a:endParaRPr>
          </a:p>
          <a:p>
            <a:pPr marL="144000" marR="5080" lvl="0" indent="-144000" algn="l" defTabSz="45718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GB" sz="1100" b="0" i="0" u="none" strike="noStrike" kern="1200" cap="none" spc="-11" normalizeH="0" baseline="0" noProof="0" dirty="0">
              <a:ln>
                <a:noFill/>
              </a:ln>
              <a:solidFill>
                <a:srgbClr val="353A3D"/>
              </a:solidFill>
              <a:effectLst/>
              <a:uLnTx/>
              <a:uFillTx/>
              <a:latin typeface="Lucida Sans Unicode"/>
              <a:ea typeface="+mn-ea"/>
              <a:cs typeface="Arial"/>
            </a:endParaRPr>
          </a:p>
        </p:txBody>
      </p:sp>
      <p:sp>
        <p:nvSpPr>
          <p:cNvPr id="104" name="Rectangle 103">
            <a:extLst>
              <a:ext uri="{FF2B5EF4-FFF2-40B4-BE49-F238E27FC236}">
                <a16:creationId xmlns:a16="http://schemas.microsoft.com/office/drawing/2014/main" id="{11B27CD8-E308-4254-922F-CCEB479ECF70}"/>
              </a:ext>
            </a:extLst>
          </p:cNvPr>
          <p:cNvSpPr/>
          <p:nvPr/>
        </p:nvSpPr>
        <p:spPr>
          <a:xfrm>
            <a:off x="6817225" y="5457804"/>
            <a:ext cx="144000" cy="144000"/>
          </a:xfrm>
          <a:prstGeom prst="rect">
            <a:avLst/>
          </a:prstGeom>
          <a:solidFill>
            <a:srgbClr val="C62B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ucida Sans Unicode"/>
              <a:ea typeface="+mn-ea"/>
              <a:cs typeface="+mn-cs"/>
            </a:endParaRPr>
          </a:p>
        </p:txBody>
      </p:sp>
      <p:sp>
        <p:nvSpPr>
          <p:cNvPr id="105" name="Rectangle 104">
            <a:extLst>
              <a:ext uri="{FF2B5EF4-FFF2-40B4-BE49-F238E27FC236}">
                <a16:creationId xmlns:a16="http://schemas.microsoft.com/office/drawing/2014/main" id="{3BD25AA1-37A8-471F-8DEB-DE74251AF03A}"/>
              </a:ext>
            </a:extLst>
          </p:cNvPr>
          <p:cNvSpPr/>
          <p:nvPr/>
        </p:nvSpPr>
        <p:spPr>
          <a:xfrm>
            <a:off x="6797432" y="5669040"/>
            <a:ext cx="144000" cy="144000"/>
          </a:xfrm>
          <a:prstGeom prst="rect">
            <a:avLst/>
          </a:prstGeom>
          <a:solidFill>
            <a:srgbClr val="33A6BD"/>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06" name="Rectangle 105">
            <a:extLst>
              <a:ext uri="{FF2B5EF4-FFF2-40B4-BE49-F238E27FC236}">
                <a16:creationId xmlns:a16="http://schemas.microsoft.com/office/drawing/2014/main" id="{9E88A335-412B-4B63-B698-6FACB6849261}"/>
              </a:ext>
            </a:extLst>
          </p:cNvPr>
          <p:cNvSpPr/>
          <p:nvPr/>
        </p:nvSpPr>
        <p:spPr>
          <a:xfrm>
            <a:off x="6804285" y="5878405"/>
            <a:ext cx="144000" cy="144000"/>
          </a:xfrm>
          <a:prstGeom prst="rect">
            <a:avLst/>
          </a:prstGeom>
          <a:solidFill>
            <a:srgbClr val="E3EDCA"/>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07" name="Rectangle 106">
            <a:extLst>
              <a:ext uri="{FF2B5EF4-FFF2-40B4-BE49-F238E27FC236}">
                <a16:creationId xmlns:a16="http://schemas.microsoft.com/office/drawing/2014/main" id="{EC5FA2EC-B913-4984-A7FC-C34CC7237E44}"/>
              </a:ext>
            </a:extLst>
          </p:cNvPr>
          <p:cNvSpPr/>
          <p:nvPr/>
        </p:nvSpPr>
        <p:spPr>
          <a:xfrm>
            <a:off x="6804285" y="6084424"/>
            <a:ext cx="144000" cy="144000"/>
          </a:xfrm>
          <a:prstGeom prst="rect">
            <a:avLst/>
          </a:prstGeom>
          <a:solidFill>
            <a:schemeClr val="accent4"/>
          </a:solidFill>
          <a:ln w="12700" cap="flat" cmpd="sng" algn="ctr">
            <a:noFill/>
            <a:prstDash val="solid"/>
            <a:miter lim="800000"/>
          </a:ln>
          <a:effectLst/>
        </p:spPr>
        <p:txBody>
          <a:bodyPr spcFirstLastPara="0" vert="horz" wrap="square" lIns="85344" tIns="85344" rIns="85344" bIns="85344" numCol="1" spcCol="127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Lucida Sans Unicode"/>
              <a:ea typeface="+mn-ea"/>
              <a:cs typeface="+mn-cs"/>
            </a:endParaRPr>
          </a:p>
        </p:txBody>
      </p:sp>
      <p:sp>
        <p:nvSpPr>
          <p:cNvPr id="108" name="Arrow: Circular 107">
            <a:extLst>
              <a:ext uri="{FF2B5EF4-FFF2-40B4-BE49-F238E27FC236}">
                <a16:creationId xmlns:a16="http://schemas.microsoft.com/office/drawing/2014/main" id="{22EFDC96-7714-4667-8EBE-9A04BBD4332C}"/>
              </a:ext>
            </a:extLst>
          </p:cNvPr>
          <p:cNvSpPr/>
          <p:nvPr/>
        </p:nvSpPr>
        <p:spPr>
          <a:xfrm rot="11982292">
            <a:off x="2621244" y="2317264"/>
            <a:ext cx="4104000" cy="4104000"/>
          </a:xfrm>
          <a:prstGeom prst="circularArrow">
            <a:avLst>
              <a:gd name="adj1" fmla="val 5310"/>
              <a:gd name="adj2" fmla="val 343918"/>
              <a:gd name="adj3" fmla="val 12695751"/>
              <a:gd name="adj4" fmla="val 21170681"/>
              <a:gd name="adj5" fmla="val 6195"/>
            </a:avLst>
          </a:prstGeom>
          <a:gradFill flip="none" rotWithShape="1">
            <a:gsLst>
              <a:gs pos="0">
                <a:schemeClr val="bg2">
                  <a:lumMod val="25000"/>
                </a:schemeClr>
              </a:gs>
              <a:gs pos="68000">
                <a:schemeClr val="accent6">
                  <a:lumMod val="45000"/>
                  <a:lumOff val="55000"/>
                </a:schemeClr>
              </a:gs>
              <a:gs pos="100000">
                <a:schemeClr val="accent6">
                  <a:lumMod val="30000"/>
                  <a:lumOff val="70000"/>
                </a:schemeClr>
              </a:gs>
            </a:gsLst>
            <a:lin ang="10800000" scaled="1"/>
            <a:tileRect/>
          </a:gra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11" name="TextBox 110">
            <a:extLst>
              <a:ext uri="{FF2B5EF4-FFF2-40B4-BE49-F238E27FC236}">
                <a16:creationId xmlns:a16="http://schemas.microsoft.com/office/drawing/2014/main" id="{3AE2F099-11B8-45AD-A735-6CBBF94C8DC2}"/>
              </a:ext>
            </a:extLst>
          </p:cNvPr>
          <p:cNvSpPr txBox="1"/>
          <p:nvPr/>
        </p:nvSpPr>
        <p:spPr>
          <a:xfrm>
            <a:off x="4099810" y="6129438"/>
            <a:ext cx="158686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Lucida Sans Unicode"/>
                <a:ea typeface="+mn-ea"/>
                <a:cs typeface="+mn-cs"/>
              </a:rPr>
              <a:t>Use Cases</a:t>
            </a:r>
          </a:p>
        </p:txBody>
      </p:sp>
      <p:sp>
        <p:nvSpPr>
          <p:cNvPr id="113" name="TextBox 112">
            <a:extLst>
              <a:ext uri="{FF2B5EF4-FFF2-40B4-BE49-F238E27FC236}">
                <a16:creationId xmlns:a16="http://schemas.microsoft.com/office/drawing/2014/main" id="{514FA6AE-B7F9-40E3-A718-0BA5526E58B1}"/>
              </a:ext>
            </a:extLst>
          </p:cNvPr>
          <p:cNvSpPr txBox="1"/>
          <p:nvPr/>
        </p:nvSpPr>
        <p:spPr>
          <a:xfrm rot="17289557">
            <a:off x="2573282" y="3421363"/>
            <a:ext cx="92213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Lucida Sans Unicode"/>
                <a:ea typeface="+mn-ea"/>
                <a:cs typeface="+mn-cs"/>
              </a:rPr>
              <a:t>today</a:t>
            </a:r>
          </a:p>
        </p:txBody>
      </p:sp>
      <p:sp>
        <p:nvSpPr>
          <p:cNvPr id="114" name="TextBox 113">
            <a:extLst>
              <a:ext uri="{FF2B5EF4-FFF2-40B4-BE49-F238E27FC236}">
                <a16:creationId xmlns:a16="http://schemas.microsoft.com/office/drawing/2014/main" id="{CB69422B-7D9E-4E7E-A75A-9778B5C263C0}"/>
              </a:ext>
            </a:extLst>
          </p:cNvPr>
          <p:cNvSpPr txBox="1"/>
          <p:nvPr/>
        </p:nvSpPr>
        <p:spPr>
          <a:xfrm rot="3516320">
            <a:off x="4981026" y="3219695"/>
            <a:ext cx="1664236" cy="840486"/>
          </a:xfrm>
          <a:prstGeom prst="rect">
            <a:avLst/>
          </a:prstGeom>
          <a:noFill/>
        </p:spPr>
        <p:txBody>
          <a:bodyPr wrap="square" rtlCol="0">
            <a:prstTxWarp prst="textArchUp">
              <a:avLst>
                <a:gd name="adj" fmla="val 11817462"/>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Lucida Sans Unicode"/>
                <a:ea typeface="+mn-ea"/>
                <a:cs typeface="+mn-cs"/>
              </a:rPr>
              <a:t>Medium term</a:t>
            </a:r>
          </a:p>
        </p:txBody>
      </p:sp>
      <p:sp>
        <p:nvSpPr>
          <p:cNvPr id="117" name="TextBox 116">
            <a:extLst>
              <a:ext uri="{FF2B5EF4-FFF2-40B4-BE49-F238E27FC236}">
                <a16:creationId xmlns:a16="http://schemas.microsoft.com/office/drawing/2014/main" id="{2FEEDF51-06E8-453C-AD23-69047CFC532B}"/>
              </a:ext>
            </a:extLst>
          </p:cNvPr>
          <p:cNvSpPr txBox="1"/>
          <p:nvPr/>
        </p:nvSpPr>
        <p:spPr>
          <a:xfrm rot="7082689">
            <a:off x="5094592" y="4648544"/>
            <a:ext cx="1763938" cy="721117"/>
          </a:xfrm>
          <a:prstGeom prst="rect">
            <a:avLst/>
          </a:prstGeom>
          <a:noFill/>
        </p:spPr>
        <p:txBody>
          <a:bodyPr wrap="square" rtlCol="0">
            <a:prstTxWarp prst="textArchUp">
              <a:avLst>
                <a:gd name="adj" fmla="val 12418251"/>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Lucida Sans Unicode"/>
                <a:ea typeface="+mn-ea"/>
                <a:cs typeface="+mn-cs"/>
              </a:rPr>
              <a:t>Long term</a:t>
            </a:r>
          </a:p>
        </p:txBody>
      </p:sp>
      <p:sp>
        <p:nvSpPr>
          <p:cNvPr id="57" name="Footer Placeholder 4">
            <a:extLst>
              <a:ext uri="{FF2B5EF4-FFF2-40B4-BE49-F238E27FC236}">
                <a16:creationId xmlns:a16="http://schemas.microsoft.com/office/drawing/2014/main" id="{F7149F2A-AF88-43E0-AB08-BAFF9BB0046D}"/>
              </a:ext>
            </a:extLst>
          </p:cNvPr>
          <p:cNvSpPr txBox="1">
            <a:spLocks/>
          </p:cNvSpPr>
          <p:nvPr/>
        </p:nvSpPr>
        <p:spPr>
          <a:xfrm>
            <a:off x="505426" y="6377009"/>
            <a:ext cx="4635191" cy="365125"/>
          </a:xfrm>
          <a:prstGeom prst="rect">
            <a:avLst/>
          </a:prstGeom>
        </p:spPr>
        <p:txBody>
          <a:bodyPr vert="horz" lIns="0" tIns="45720" rIns="0" bIns="45720" rtlCol="0" anchor="ctr" anchorCtr="0">
            <a:noAutofit/>
          </a:bodyPr>
          <a:lstStyle>
            <a:defPPr>
              <a:defRPr lang="nl-BE"/>
            </a:defPPr>
            <a:lvl1pPr marL="88900" indent="-88900" algn="l" defTabSz="914400" rtl="0" eaLnBrk="1" latinLnBrk="0" hangingPunct="1">
              <a:buClr>
                <a:schemeClr val="accent2"/>
              </a:buClr>
              <a:buFont typeface="Arial" panose="020B0604020202020204" pitchFamily="34" charset="0"/>
              <a:buChar char="•"/>
              <a:defRPr sz="10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A2D3F3"/>
              </a:buClr>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Lucida Sans Unicode"/>
                <a:ea typeface="+mn-ea"/>
                <a:cs typeface="+mn-cs"/>
              </a:rPr>
              <a:t>FEBEG – Consumer-centric market design - Executive Summary</a:t>
            </a:r>
          </a:p>
        </p:txBody>
      </p:sp>
    </p:spTree>
    <p:extLst>
      <p:ext uri="{BB962C8B-B14F-4D97-AF65-F5344CB8AC3E}">
        <p14:creationId xmlns:p14="http://schemas.microsoft.com/office/powerpoint/2010/main" val="10984832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58159C-AA62-4478-A2E0-F2D5A1C5FE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92" imgH="591" progId="TCLayout.ActiveDocument.1">
                  <p:embed/>
                </p:oleObj>
              </mc:Choice>
              <mc:Fallback>
                <p:oleObj name="Diapositive think-cell" r:id="rId5" imgW="592" imgH="591" progId="TCLayout.ActiveDocument.1">
                  <p:embed/>
                  <p:pic>
                    <p:nvPicPr>
                      <p:cNvPr id="5" name="Object 4" hidden="1">
                        <a:extLst>
                          <a:ext uri="{FF2B5EF4-FFF2-40B4-BE49-F238E27FC236}">
                            <a16:creationId xmlns:a16="http://schemas.microsoft.com/office/drawing/2014/main" id="{7C58159C-AA62-4478-A2E0-F2D5A1C5FE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527997-6CA6-4C90-94BE-1128E5B55680}"/>
              </a:ext>
            </a:extLst>
          </p:cNvPr>
          <p:cNvSpPr>
            <a:spLocks noGrp="1"/>
          </p:cNvSpPr>
          <p:nvPr>
            <p:ph type="title"/>
          </p:nvPr>
        </p:nvSpPr>
        <p:spPr>
          <a:xfrm>
            <a:off x="654058" y="366185"/>
            <a:ext cx="11300254" cy="1133331"/>
          </a:xfrm>
        </p:spPr>
        <p:txBody>
          <a:bodyPr vert="horz"/>
          <a:lstStyle/>
          <a:p>
            <a:r>
              <a:rPr lang="en-US"/>
              <a:t>Sobriety, energy efficiency, electrification and decarbonization relies on investments and the commitment of the Belgian energy sector </a:t>
            </a:r>
            <a:r>
              <a:rPr lang="fr-BE"/>
              <a:t> </a:t>
            </a:r>
          </a:p>
        </p:txBody>
      </p:sp>
      <p:sp>
        <p:nvSpPr>
          <p:cNvPr id="13" name="Tijdelijke aanduiding voor tekst 1">
            <a:extLst>
              <a:ext uri="{FF2B5EF4-FFF2-40B4-BE49-F238E27FC236}">
                <a16:creationId xmlns:a16="http://schemas.microsoft.com/office/drawing/2014/main" id="{F2A0CBEE-8B5A-43BA-8428-1D3010A689E2}"/>
              </a:ext>
            </a:extLst>
          </p:cNvPr>
          <p:cNvSpPr>
            <a:spLocks noGrp="1"/>
          </p:cNvSpPr>
          <p:nvPr>
            <p:custDataLst>
              <p:tags r:id="rId2"/>
            </p:custDataLst>
          </p:nvPr>
        </p:nvSpPr>
        <p:spPr bwMode="auto">
          <a:xfrm>
            <a:off x="666750" y="3565525"/>
            <a:ext cx="2343150" cy="693738"/>
          </a:xfrm>
          <a:prstGeom prst="roundRect">
            <a:avLst>
              <a:gd name="adj" fmla="val 49886"/>
            </a:avLst>
          </a:prstGeom>
          <a:solidFill>
            <a:schemeClr val="accent2"/>
          </a:solidFill>
          <a:ln w="6350" algn="ctr">
            <a:noFill/>
          </a:ln>
          <a:effectLst/>
          <a:extLst>
            <a:ext uri="{91240B29-F687-4F45-9708-019B960494DF}">
              <a14:hiddenLine xmlns:a14="http://schemas.microsoft.com/office/drawing/2010/main" w="6350" algn="ctr">
                <a:solidFill>
                  <a:schemeClr val="tx2"/>
                </a:solidFill>
              </a14:hiddenLine>
            </a:ext>
          </a:extLst>
        </p:spPr>
        <p:txBody>
          <a:bodyPr vert="horz" wrap="none" lIns="0" tIns="107950" rIns="0" bIns="107950" numCol="1" spcCol="0" rtlCol="0" anchor="ctr" anchorCtr="0">
            <a:noAutofit/>
          </a:bodyPr>
          <a:lstStyle>
            <a:lvl1pPr marL="380990" indent="-380990" eaLnBrk="1" hangingPunct="1">
              <a:buClr>
                <a:schemeClr val="accent1"/>
              </a:buClr>
              <a:buFont typeface="Arial" panose="020B0604020202020204" pitchFamily="34" charset="0"/>
              <a:buChar char="•"/>
              <a:defRPr lang="nl-NL" sz="2133"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867"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867"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ctr">
              <a:spcBef>
                <a:spcPct val="0"/>
              </a:spcBef>
              <a:spcAft>
                <a:spcPct val="0"/>
              </a:spcAft>
              <a:buNone/>
            </a:pPr>
            <a:r>
              <a:rPr lang="it-IT" sz="1800" b="1" kern="0"/>
              <a:t>X 3 electricity</a:t>
            </a:r>
            <a:endParaRPr lang="it-IT" sz="1800" b="1" kern="0" noProof="0"/>
          </a:p>
        </p:txBody>
      </p:sp>
      <p:sp>
        <p:nvSpPr>
          <p:cNvPr id="22" name="Tijdelijke aanduiding voor tekst 1">
            <a:extLst>
              <a:ext uri="{FF2B5EF4-FFF2-40B4-BE49-F238E27FC236}">
                <a16:creationId xmlns:a16="http://schemas.microsoft.com/office/drawing/2014/main" id="{82BFD75A-C3A4-4D6E-A200-75ECD8AFA4F1}"/>
              </a:ext>
            </a:extLst>
          </p:cNvPr>
          <p:cNvSpPr>
            <a:spLocks noGrp="1"/>
          </p:cNvSpPr>
          <p:nvPr>
            <p:custDataLst>
              <p:tags r:id="rId3"/>
            </p:custDataLst>
          </p:nvPr>
        </p:nvSpPr>
        <p:spPr bwMode="auto">
          <a:xfrm>
            <a:off x="654050" y="2230438"/>
            <a:ext cx="2343150" cy="693738"/>
          </a:xfrm>
          <a:prstGeom prst="roundRect">
            <a:avLst>
              <a:gd name="adj" fmla="val 49886"/>
            </a:avLst>
          </a:prstGeom>
          <a:solidFill>
            <a:schemeClr val="accent2"/>
          </a:solidFill>
          <a:ln w="6350" algn="ctr">
            <a:noFill/>
          </a:ln>
          <a:effectLst/>
          <a:extLst>
            <a:ext uri="{91240B29-F687-4F45-9708-019B960494DF}">
              <a14:hiddenLine xmlns:a14="http://schemas.microsoft.com/office/drawing/2010/main" w="6350" algn="ctr">
                <a:solidFill>
                  <a:schemeClr val="tx2"/>
                </a:solidFill>
              </a14:hiddenLine>
            </a:ext>
          </a:extLst>
        </p:spPr>
        <p:txBody>
          <a:bodyPr vert="horz" wrap="none" lIns="0" tIns="0" rIns="1588" bIns="0" numCol="1" spcCol="0" rtlCol="0" anchor="ctr" anchorCtr="0">
            <a:noAutofit/>
          </a:bodyPr>
          <a:lstStyle>
            <a:lvl1pPr marL="380990" indent="-380990" eaLnBrk="1" hangingPunct="1">
              <a:buClr>
                <a:schemeClr val="accent1"/>
              </a:buClr>
              <a:buFont typeface="Arial" panose="020B0604020202020204" pitchFamily="34" charset="0"/>
              <a:buChar char="•"/>
              <a:defRPr lang="nl-NL" sz="2133" dirty="0" smtClean="0">
                <a:solidFill>
                  <a:schemeClr val="tx1"/>
                </a:solidFill>
                <a:latin typeface="+mn-lt"/>
                <a:ea typeface="+mn-ea"/>
                <a:cs typeface="+mn-cs"/>
              </a:defRPr>
            </a:lvl1pPr>
            <a:lvl2pPr marL="767981" indent="-380990" eaLnBrk="1" hangingPunct="1">
              <a:buClr>
                <a:schemeClr val="accent1"/>
              </a:buClr>
              <a:buFont typeface="Arial" panose="020B0604020202020204" pitchFamily="34" charset="0"/>
              <a:buChar char="•"/>
              <a:defRPr sz="1867" b="0">
                <a:solidFill>
                  <a:schemeClr val="tx1"/>
                </a:solidFill>
                <a:latin typeface="+mj-lt"/>
                <a:ea typeface="+mn-ea"/>
                <a:cs typeface="+mn-cs"/>
              </a:defRPr>
            </a:lvl2pPr>
            <a:lvl3pPr marL="1151971"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3pPr>
            <a:lvl4pPr marL="1535962" indent="-379191" eaLnBrk="1" hangingPunct="1">
              <a:buClr>
                <a:schemeClr val="accent1"/>
              </a:buClr>
              <a:buSzPct val="100000"/>
              <a:buFont typeface="Arial" panose="020B0604020202020204" pitchFamily="34" charset="0"/>
              <a:buChar char="•"/>
              <a:defRPr sz="1600">
                <a:solidFill>
                  <a:schemeClr val="tx1"/>
                </a:solidFill>
                <a:latin typeface="+mn-lt"/>
                <a:ea typeface="+mn-ea"/>
                <a:cs typeface="+mn-cs"/>
              </a:defRPr>
            </a:lvl4pPr>
            <a:lvl5pPr marL="0" indent="0" eaLnBrk="1" hangingPunct="1">
              <a:buSzPct val="150000"/>
              <a:buFont typeface="Arial" panose="020B0604020202020204" pitchFamily="34" charset="0"/>
              <a:buNone/>
              <a:defRPr sz="1867" b="1">
                <a:solidFill>
                  <a:schemeClr val="accent1"/>
                </a:solidFill>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a:lstStyle>
          <a:p>
            <a:pPr marL="0" indent="0" algn="ctr">
              <a:spcBef>
                <a:spcPct val="0"/>
              </a:spcBef>
              <a:spcAft>
                <a:spcPct val="0"/>
              </a:spcAft>
              <a:buNone/>
            </a:pPr>
            <a:r>
              <a:rPr lang="it-IT" sz="1800" b="1" kern="0" noProof="0"/>
              <a:t>46% oil</a:t>
            </a:r>
          </a:p>
          <a:p>
            <a:pPr marL="0" indent="0" algn="ctr">
              <a:spcBef>
                <a:spcPct val="0"/>
              </a:spcBef>
              <a:spcAft>
                <a:spcPct val="0"/>
              </a:spcAft>
              <a:buNone/>
            </a:pPr>
            <a:r>
              <a:rPr lang="it-IT" sz="1800" b="1" kern="0" noProof="0"/>
              <a:t>27% gas</a:t>
            </a:r>
          </a:p>
        </p:txBody>
      </p:sp>
      <p:sp>
        <p:nvSpPr>
          <p:cNvPr id="39" name="Formatted_text">
            <a:extLst>
              <a:ext uri="{FF2B5EF4-FFF2-40B4-BE49-F238E27FC236}">
                <a16:creationId xmlns:a16="http://schemas.microsoft.com/office/drawing/2014/main" id="{4F5F188B-9E5B-4C41-A43C-0AF2DF313952}"/>
              </a:ext>
            </a:extLst>
          </p:cNvPr>
          <p:cNvSpPr txBox="1">
            <a:spLocks/>
          </p:cNvSpPr>
          <p:nvPr/>
        </p:nvSpPr>
        <p:spPr>
          <a:xfrm>
            <a:off x="3196576" y="2281239"/>
            <a:ext cx="8223899" cy="968375"/>
          </a:xfrm>
          <a:prstGeom prst="rect">
            <a:avLst/>
          </a:prstGeom>
          <a:noFill/>
          <a:ln w="9525">
            <a:noFill/>
          </a:ln>
        </p:spPr>
        <p:txBody>
          <a:bodyPr vert="horz" wrap="square" lIns="0" tIns="0" rIns="0" bIns="0" rtlCol="0">
            <a:spAutoFit/>
          </a:bodyPr>
          <a:lstStyle/>
          <a:p>
            <a:pPr fontAlgn="base">
              <a:lnSpc>
                <a:spcPct val="90000"/>
              </a:lnSpc>
              <a:spcBef>
                <a:spcPts val="600"/>
              </a:spcBef>
              <a:spcAft>
                <a:spcPct val="0"/>
              </a:spcAft>
              <a:buClr>
                <a:srgbClr val="000000"/>
              </a:buClr>
              <a:buSzPct val="100000"/>
              <a:buFont typeface=""/>
            </a:pPr>
            <a:r>
              <a:rPr lang="en-US" sz="1600"/>
              <a:t>In Belgium, the vast majority of the primary energy demand is being met by oil and gas, despite recent efforts</a:t>
            </a:r>
          </a:p>
          <a:p>
            <a:pPr fontAlgn="base">
              <a:lnSpc>
                <a:spcPct val="90000"/>
              </a:lnSpc>
              <a:spcBef>
                <a:spcPts val="600"/>
              </a:spcBef>
              <a:spcAft>
                <a:spcPct val="0"/>
              </a:spcAft>
              <a:buClr>
                <a:srgbClr val="000000"/>
              </a:buClr>
              <a:buSzPct val="100000"/>
              <a:buFont typeface=""/>
            </a:pPr>
            <a:r>
              <a:rPr lang="en-US" sz="1600" b="1"/>
              <a:t>Sobriety, energy efficiency, electrification and decarbonization </a:t>
            </a:r>
            <a:r>
              <a:rPr lang="en-US" sz="1600"/>
              <a:t>are the solution to achieve carbon neutrality</a:t>
            </a:r>
            <a:endParaRPr lang="en-US" sz="1600" b="1">
              <a:solidFill>
                <a:schemeClr val="tx1">
                  <a:lumMod val="100000"/>
                </a:schemeClr>
              </a:solidFill>
              <a:latin typeface="+mn-lt"/>
              <a:sym typeface="+mn-lt"/>
            </a:endParaRPr>
          </a:p>
        </p:txBody>
      </p:sp>
      <p:cxnSp>
        <p:nvCxnSpPr>
          <p:cNvPr id="8" name="Straight Connector 7">
            <a:extLst>
              <a:ext uri="{FF2B5EF4-FFF2-40B4-BE49-F238E27FC236}">
                <a16:creationId xmlns:a16="http://schemas.microsoft.com/office/drawing/2014/main" id="{0125F7D7-024D-49C6-B6AB-266E040FAF36}"/>
              </a:ext>
            </a:extLst>
          </p:cNvPr>
          <p:cNvCxnSpPr>
            <a:cxnSpLocks/>
          </p:cNvCxnSpPr>
          <p:nvPr/>
        </p:nvCxnSpPr>
        <p:spPr>
          <a:xfrm>
            <a:off x="654050" y="3403600"/>
            <a:ext cx="10629897" cy="0"/>
          </a:xfrm>
          <a:prstGeom prst="line">
            <a:avLst/>
          </a:prstGeom>
          <a:ln w="63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ormatted_text">
            <a:extLst>
              <a:ext uri="{FF2B5EF4-FFF2-40B4-BE49-F238E27FC236}">
                <a16:creationId xmlns:a16="http://schemas.microsoft.com/office/drawing/2014/main" id="{AA7EFC85-A953-48DD-944C-38FA9C72040C}"/>
              </a:ext>
            </a:extLst>
          </p:cNvPr>
          <p:cNvSpPr txBox="1">
            <a:spLocks/>
          </p:cNvSpPr>
          <p:nvPr/>
        </p:nvSpPr>
        <p:spPr>
          <a:xfrm>
            <a:off x="3196576" y="3687764"/>
            <a:ext cx="8223899" cy="449263"/>
          </a:xfrm>
          <a:prstGeom prst="rect">
            <a:avLst/>
          </a:prstGeom>
          <a:noFill/>
          <a:ln w="9525">
            <a:noFill/>
          </a:ln>
        </p:spPr>
        <p:txBody>
          <a:bodyPr vert="horz" wrap="square" lIns="0" tIns="0" rIns="0" bIns="0" rtlCol="0">
            <a:spAutoFit/>
          </a:bodyPr>
          <a:lstStyle/>
          <a:p>
            <a:pPr fontAlgn="base">
              <a:lnSpc>
                <a:spcPct val="90000"/>
              </a:lnSpc>
              <a:spcBef>
                <a:spcPts val="600"/>
              </a:spcBef>
              <a:spcAft>
                <a:spcPct val="0"/>
              </a:spcAft>
              <a:buClr>
                <a:srgbClr val="000000"/>
              </a:buClr>
              <a:buSzPct val="100000"/>
              <a:buFont typeface=""/>
            </a:pPr>
            <a:r>
              <a:rPr lang="fr-FR" sz="1600" dirty="0"/>
              <a:t>The </a:t>
            </a:r>
            <a:r>
              <a:rPr lang="fr-FR" sz="1600" dirty="0" err="1"/>
              <a:t>expected</a:t>
            </a:r>
            <a:r>
              <a:rPr lang="fr-FR" sz="1600" dirty="0"/>
              <a:t> </a:t>
            </a:r>
            <a:r>
              <a:rPr lang="fr-FR" sz="1600" dirty="0" err="1"/>
              <a:t>growth</a:t>
            </a:r>
            <a:r>
              <a:rPr lang="fr-FR" sz="1600" dirty="0"/>
              <a:t> in </a:t>
            </a:r>
            <a:r>
              <a:rPr lang="fr-FR" sz="1600" dirty="0" err="1"/>
              <a:t>electricity</a:t>
            </a:r>
            <a:r>
              <a:rPr lang="fr-FR" sz="1600" dirty="0"/>
              <a:t> </a:t>
            </a:r>
            <a:r>
              <a:rPr lang="fr-FR" sz="1600" dirty="0" err="1"/>
              <a:t>demand</a:t>
            </a:r>
            <a:r>
              <a:rPr lang="fr-FR" sz="1600" dirty="0"/>
              <a:t> </a:t>
            </a:r>
            <a:r>
              <a:rPr lang="fr-FR" sz="1600" dirty="0" err="1"/>
              <a:t>will</a:t>
            </a:r>
            <a:r>
              <a:rPr lang="fr-FR" sz="1600" dirty="0"/>
              <a:t> </a:t>
            </a:r>
            <a:r>
              <a:rPr lang="fr-FR" sz="1600" dirty="0" err="1"/>
              <a:t>require</a:t>
            </a:r>
            <a:r>
              <a:rPr lang="fr-FR" sz="1600" dirty="0"/>
              <a:t> a x3 </a:t>
            </a:r>
            <a:r>
              <a:rPr lang="fr-FR" sz="1600" dirty="0" err="1"/>
              <a:t>increase</a:t>
            </a:r>
            <a:r>
              <a:rPr lang="fr-FR" sz="1600" dirty="0"/>
              <a:t> of the </a:t>
            </a:r>
            <a:r>
              <a:rPr lang="fr-FR" sz="1600" dirty="0" err="1"/>
              <a:t>installed</a:t>
            </a:r>
            <a:r>
              <a:rPr lang="fr-FR" sz="1600" dirty="0"/>
              <a:t> </a:t>
            </a:r>
            <a:r>
              <a:rPr lang="fr-FR" sz="1600" dirty="0" err="1"/>
              <a:t>capacity</a:t>
            </a:r>
            <a:r>
              <a:rPr lang="fr-FR" sz="1600" dirty="0"/>
              <a:t> and </a:t>
            </a:r>
            <a:r>
              <a:rPr lang="fr-FR" sz="1600" b="1" dirty="0" err="1"/>
              <a:t>very</a:t>
            </a:r>
            <a:r>
              <a:rPr lang="fr-FR" sz="1600" b="1" dirty="0"/>
              <a:t> </a:t>
            </a:r>
            <a:r>
              <a:rPr lang="fr-FR" sz="1600" b="1" dirty="0" err="1"/>
              <a:t>significant</a:t>
            </a:r>
            <a:r>
              <a:rPr lang="fr-FR" sz="1600" b="1" dirty="0"/>
              <a:t> </a:t>
            </a:r>
            <a:r>
              <a:rPr lang="fr-FR" sz="1600" b="1" dirty="0" err="1"/>
              <a:t>investments</a:t>
            </a:r>
            <a:endParaRPr lang="en-US" sz="1600" b="1" dirty="0">
              <a:solidFill>
                <a:schemeClr val="tx1">
                  <a:lumMod val="100000"/>
                </a:schemeClr>
              </a:solidFill>
              <a:sym typeface="+mn-lt"/>
            </a:endParaRPr>
          </a:p>
        </p:txBody>
      </p:sp>
      <p:sp>
        <p:nvSpPr>
          <p:cNvPr id="28" name="Formatted_text">
            <a:extLst>
              <a:ext uri="{FF2B5EF4-FFF2-40B4-BE49-F238E27FC236}">
                <a16:creationId xmlns:a16="http://schemas.microsoft.com/office/drawing/2014/main" id="{147FCBC8-F14F-4EC2-8A29-13526A675E55}"/>
              </a:ext>
            </a:extLst>
          </p:cNvPr>
          <p:cNvSpPr txBox="1">
            <a:spLocks/>
          </p:cNvSpPr>
          <p:nvPr/>
        </p:nvSpPr>
        <p:spPr>
          <a:xfrm>
            <a:off x="654050" y="5168900"/>
            <a:ext cx="10629897" cy="892552"/>
          </a:xfrm>
          <a:prstGeom prst="rect">
            <a:avLst/>
          </a:prstGeom>
          <a:noFill/>
          <a:ln w="9525">
            <a:noFill/>
          </a:ln>
        </p:spPr>
        <p:txBody>
          <a:bodyPr vert="horz" wrap="square" lIns="0" tIns="0" rIns="0" bIns="0" rtlCol="0">
            <a:spAutoFit/>
          </a:bodyPr>
          <a:lstStyle/>
          <a:p>
            <a:pPr algn="ctr" fontAlgn="base">
              <a:spcBef>
                <a:spcPts val="600"/>
              </a:spcBef>
              <a:spcAft>
                <a:spcPct val="0"/>
              </a:spcAft>
              <a:buClr>
                <a:srgbClr val="000000"/>
              </a:buClr>
              <a:buSzPct val="100000"/>
              <a:buFont typeface=""/>
            </a:pPr>
            <a:r>
              <a:rPr lang="en-US" sz="1600" b="1" dirty="0">
                <a:solidFill>
                  <a:schemeClr val="tx1">
                    <a:lumMod val="100000"/>
                  </a:schemeClr>
                </a:solidFill>
                <a:sym typeface="+mn-lt"/>
              </a:rPr>
              <a:t>A secure investment climate will be key for the Belgian energy sector to lead Belgium to carbon neutrality</a:t>
            </a:r>
          </a:p>
          <a:p>
            <a:pPr algn="ctr" fontAlgn="base">
              <a:spcBef>
                <a:spcPts val="600"/>
              </a:spcBef>
              <a:spcAft>
                <a:spcPct val="0"/>
              </a:spcAft>
              <a:buClr>
                <a:srgbClr val="000000"/>
              </a:buClr>
              <a:buSzPct val="100000"/>
              <a:buFont typeface=""/>
            </a:pPr>
            <a:endParaRPr lang="en-US" sz="1600" b="1" dirty="0">
              <a:solidFill>
                <a:schemeClr val="tx1">
                  <a:lumMod val="100000"/>
                </a:schemeClr>
              </a:solidFill>
              <a:sym typeface="+mn-lt"/>
            </a:endParaRPr>
          </a:p>
          <a:p>
            <a:pPr algn="ctr" fontAlgn="base">
              <a:spcBef>
                <a:spcPts val="600"/>
              </a:spcBef>
              <a:spcAft>
                <a:spcPct val="0"/>
              </a:spcAft>
              <a:buClr>
                <a:srgbClr val="000000"/>
              </a:buClr>
              <a:buSzPct val="100000"/>
              <a:buFont typeface=""/>
            </a:pPr>
            <a:r>
              <a:rPr lang="en-US" sz="1600" b="1" dirty="0">
                <a:solidFill>
                  <a:schemeClr val="tx1">
                    <a:lumMod val="100000"/>
                  </a:schemeClr>
                </a:solidFill>
                <a:sym typeface="+mn-lt"/>
              </a:rPr>
              <a:t>Market model to be adapted towards </a:t>
            </a:r>
            <a:r>
              <a:rPr lang="en-US" sz="1600" b="1">
                <a:solidFill>
                  <a:schemeClr val="tx1">
                    <a:lumMod val="100000"/>
                  </a:schemeClr>
                </a:solidFill>
                <a:sym typeface="+mn-lt"/>
              </a:rPr>
              <a:t>new applications </a:t>
            </a:r>
          </a:p>
        </p:txBody>
      </p:sp>
      <p:cxnSp>
        <p:nvCxnSpPr>
          <p:cNvPr id="31" name="Straight Connector 30">
            <a:extLst>
              <a:ext uri="{FF2B5EF4-FFF2-40B4-BE49-F238E27FC236}">
                <a16:creationId xmlns:a16="http://schemas.microsoft.com/office/drawing/2014/main" id="{7678B1FA-378B-4047-87DB-6E14E0AA6853}"/>
              </a:ext>
            </a:extLst>
          </p:cNvPr>
          <p:cNvCxnSpPr>
            <a:cxnSpLocks/>
          </p:cNvCxnSpPr>
          <p:nvPr/>
        </p:nvCxnSpPr>
        <p:spPr>
          <a:xfrm>
            <a:off x="654050" y="4899025"/>
            <a:ext cx="10629897" cy="0"/>
          </a:xfrm>
          <a:prstGeom prst="line">
            <a:avLst/>
          </a:prstGeom>
          <a:ln w="63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Formatted_text">
            <a:extLst>
              <a:ext uri="{FF2B5EF4-FFF2-40B4-BE49-F238E27FC236}">
                <a16:creationId xmlns:a16="http://schemas.microsoft.com/office/drawing/2014/main" id="{32F4BE55-73F6-411A-911B-6CCEA9689F37}"/>
              </a:ext>
            </a:extLst>
          </p:cNvPr>
          <p:cNvSpPr txBox="1">
            <a:spLocks/>
          </p:cNvSpPr>
          <p:nvPr/>
        </p:nvSpPr>
        <p:spPr>
          <a:xfrm>
            <a:off x="654052" y="2965450"/>
            <a:ext cx="2343148" cy="369888"/>
          </a:xfrm>
          <a:prstGeom prst="rect">
            <a:avLst/>
          </a:prstGeom>
          <a:noFill/>
          <a:ln w="9525">
            <a:noFill/>
          </a:ln>
        </p:spPr>
        <p:txBody>
          <a:bodyPr vert="horz" wrap="square" lIns="0" tIns="0" rIns="0" bIns="0" rtlCol="0">
            <a:spAutoFit/>
          </a:bodyPr>
          <a:lstStyle/>
          <a:p>
            <a:pPr algn="ctr" fontAlgn="base">
              <a:spcBef>
                <a:spcPts val="600"/>
              </a:spcBef>
              <a:spcAft>
                <a:spcPct val="0"/>
              </a:spcAft>
              <a:buClr>
                <a:srgbClr val="000000"/>
              </a:buClr>
              <a:buSzPct val="100000"/>
              <a:buFont typeface=""/>
            </a:pPr>
            <a:r>
              <a:rPr lang="en-US" sz="1200">
                <a:solidFill>
                  <a:schemeClr val="tx1">
                    <a:lumMod val="100000"/>
                  </a:schemeClr>
                </a:solidFill>
                <a:sym typeface="+mn-lt"/>
              </a:rPr>
              <a:t>To power Belgium's primary energy consumption</a:t>
            </a:r>
            <a:endParaRPr lang="en-US" sz="1200">
              <a:solidFill>
                <a:schemeClr val="tx1">
                  <a:lumMod val="100000"/>
                </a:schemeClr>
              </a:solidFill>
              <a:latin typeface="+mn-lt"/>
              <a:sym typeface="+mn-lt"/>
            </a:endParaRPr>
          </a:p>
        </p:txBody>
      </p:sp>
      <p:sp>
        <p:nvSpPr>
          <p:cNvPr id="45" name="Subtitle">
            <a:extLst>
              <a:ext uri="{FF2B5EF4-FFF2-40B4-BE49-F238E27FC236}">
                <a16:creationId xmlns:a16="http://schemas.microsoft.com/office/drawing/2014/main" id="{269D64D0-5011-4DC7-9CAD-721C0E736C1C}"/>
              </a:ext>
            </a:extLst>
          </p:cNvPr>
          <p:cNvSpPr txBox="1">
            <a:spLocks/>
          </p:cNvSpPr>
          <p:nvPr/>
        </p:nvSpPr>
        <p:spPr>
          <a:xfrm>
            <a:off x="654058" y="1700213"/>
            <a:ext cx="10877543" cy="256224"/>
          </a:xfrm>
          <a:prstGeom prst="rect">
            <a:avLst/>
          </a:prstGeom>
        </p:spPr>
        <p:txBody>
          <a:bodyPr vert="horz" wrap="square" lIns="0" tIns="0" rIns="0" bIns="0" rtlCol="0" anchor="t" anchorCtr="0">
            <a:spAutoFit/>
          </a:bodyPr>
          <a:lstStyle>
            <a:defPPr>
              <a:defRPr lang="en-US"/>
            </a:defPPr>
            <a:lvl1pPr lvl="0" indent="0">
              <a:lnSpc>
                <a:spcPct val="90000"/>
              </a:lnSpc>
              <a:buClr>
                <a:schemeClr val="tx1"/>
              </a:buClr>
              <a:buSzPct val="100000"/>
              <a:buFont typeface="+mn-lt" pitchFamily="34" charset="0"/>
              <a:buNone/>
              <a:defRPr b="1" i="0" baseline="0">
                <a:solidFill>
                  <a:schemeClr val="tx2"/>
                </a:solidFill>
              </a:defRPr>
            </a:lvl1pPr>
            <a:lvl2pPr marL="230400" indent="-230400">
              <a:lnSpc>
                <a:spcPct val="90000"/>
              </a:lnSpc>
              <a:spcBef>
                <a:spcPts val="1200"/>
              </a:spcBef>
              <a:buClrTx/>
              <a:buFont typeface="+mn-lt" panose="020B0604020202020204" pitchFamily="34" charset="0"/>
              <a:buChar char="•"/>
              <a:defRPr b="0"/>
            </a:lvl2pPr>
            <a:lvl3pPr marL="482400" indent="-234000">
              <a:lnSpc>
                <a:spcPct val="90000"/>
              </a:lnSpc>
              <a:spcBef>
                <a:spcPts val="400"/>
              </a:spcBef>
              <a:buClrTx/>
              <a:buFont typeface="+mn-lt" pitchFamily="34" charset="0"/>
              <a:buChar char="–"/>
              <a:defRPr b="0"/>
            </a:lvl3pPr>
            <a:lvl4pPr marL="698400" indent="-201600">
              <a:lnSpc>
                <a:spcPct val="90000"/>
              </a:lnSpc>
              <a:spcBef>
                <a:spcPts val="200"/>
              </a:spcBef>
              <a:buClrTx/>
              <a:buFont typeface="+mn-lt" pitchFamily="34" charset="0"/>
              <a:buChar char="-"/>
              <a:defRPr b="0"/>
            </a:lvl4pPr>
            <a:lvl5pPr marL="698400" indent="0">
              <a:lnSpc>
                <a:spcPct val="93000"/>
              </a:lnSpc>
              <a:spcBef>
                <a:spcPts val="0"/>
              </a:spcBef>
              <a:buFont typeface="+mn-lt" pitchFamily="34" charset="0"/>
              <a:buNone/>
              <a:defRPr sz="1700">
                <a:latin typeface="+mn-lt" pitchFamily="34" charset="0"/>
              </a:defRPr>
            </a:lvl5pPr>
            <a:lvl6pPr marL="2514600" indent="-228600">
              <a:spcBef>
                <a:spcPct val="20000"/>
              </a:spcBef>
              <a:buFont typeface="+mn-lt" pitchFamily="34" charset="0"/>
              <a:buChar char="•"/>
              <a:defRPr sz="2000"/>
            </a:lvl6pPr>
            <a:lvl7pPr marL="2971800" indent="-228600">
              <a:spcBef>
                <a:spcPct val="20000"/>
              </a:spcBef>
              <a:buFont typeface="+mn-lt" pitchFamily="34" charset="0"/>
              <a:buChar char="•"/>
              <a:defRPr sz="2000"/>
            </a:lvl7pPr>
            <a:lvl8pPr marL="3429000" indent="-228600">
              <a:spcBef>
                <a:spcPct val="20000"/>
              </a:spcBef>
              <a:buFont typeface="+mn-lt" pitchFamily="34" charset="0"/>
              <a:buChar char="•"/>
              <a:defRPr sz="2000"/>
            </a:lvl8pPr>
            <a:lvl9pPr marL="3886200" indent="-228600">
              <a:spcBef>
                <a:spcPct val="20000"/>
              </a:spcBef>
              <a:buFont typeface="+mn-lt" pitchFamily="34" charset="0"/>
              <a:buChar char="•"/>
              <a:defRPr sz="2000"/>
            </a:lvl9pPr>
          </a:lstStyle>
          <a:p>
            <a:r>
              <a:rPr lang="en-US" dirty="0">
                <a:sym typeface="+mn-lt"/>
              </a:rPr>
              <a:t>Challenge of the energy transition</a:t>
            </a:r>
          </a:p>
        </p:txBody>
      </p:sp>
      <p:sp>
        <p:nvSpPr>
          <p:cNvPr id="16" name="Isosceles Triangle 15">
            <a:extLst>
              <a:ext uri="{FF2B5EF4-FFF2-40B4-BE49-F238E27FC236}">
                <a16:creationId xmlns:a16="http://schemas.microsoft.com/office/drawing/2014/main" id="{08293E6E-D312-49D9-932B-938FAA8E090D}"/>
              </a:ext>
            </a:extLst>
          </p:cNvPr>
          <p:cNvSpPr/>
          <p:nvPr/>
        </p:nvSpPr>
        <p:spPr>
          <a:xfrm rot="10800000">
            <a:off x="5335588" y="4840288"/>
            <a:ext cx="1136341" cy="23971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it-IT" sz="1000"/>
          </a:p>
        </p:txBody>
      </p:sp>
      <p:sp>
        <p:nvSpPr>
          <p:cNvPr id="30" name="Formatted_text">
            <a:extLst>
              <a:ext uri="{FF2B5EF4-FFF2-40B4-BE49-F238E27FC236}">
                <a16:creationId xmlns:a16="http://schemas.microsoft.com/office/drawing/2014/main" id="{EC1C35B0-5CD2-476F-A08E-A1D70ED8C1BA}"/>
              </a:ext>
            </a:extLst>
          </p:cNvPr>
          <p:cNvSpPr txBox="1">
            <a:spLocks/>
          </p:cNvSpPr>
          <p:nvPr/>
        </p:nvSpPr>
        <p:spPr>
          <a:xfrm>
            <a:off x="654052" y="4316413"/>
            <a:ext cx="2343148" cy="368300"/>
          </a:xfrm>
          <a:prstGeom prst="rect">
            <a:avLst/>
          </a:prstGeom>
          <a:noFill/>
          <a:ln w="9525">
            <a:noFill/>
          </a:ln>
        </p:spPr>
        <p:txBody>
          <a:bodyPr vert="horz" wrap="square" lIns="0" tIns="0" rIns="0" bIns="0" rtlCol="0">
            <a:spAutoFit/>
          </a:bodyPr>
          <a:lstStyle/>
          <a:p>
            <a:pPr algn="ctr" fontAlgn="base">
              <a:spcBef>
                <a:spcPts val="600"/>
              </a:spcBef>
              <a:spcAft>
                <a:spcPct val="0"/>
              </a:spcAft>
              <a:buClr>
                <a:srgbClr val="000000"/>
              </a:buClr>
              <a:buSzPct val="100000"/>
              <a:buFont typeface=""/>
            </a:pPr>
            <a:r>
              <a:rPr lang="en-US" sz="1200">
                <a:solidFill>
                  <a:schemeClr val="tx1">
                    <a:lumMod val="100000"/>
                  </a:schemeClr>
                </a:solidFill>
                <a:sym typeface="+mn-lt"/>
              </a:rPr>
              <a:t>Electricity generation capacity in Belgium by 2050</a:t>
            </a:r>
            <a:endParaRPr lang="en-US" sz="1200">
              <a:solidFill>
                <a:schemeClr val="tx1">
                  <a:lumMod val="100000"/>
                </a:schemeClr>
              </a:solidFill>
              <a:latin typeface="+mn-lt"/>
              <a:sym typeface="+mn-lt"/>
            </a:endParaRPr>
          </a:p>
        </p:txBody>
      </p:sp>
      <p:sp>
        <p:nvSpPr>
          <p:cNvPr id="3" name="Slide Number Placeholder 5">
            <a:extLst>
              <a:ext uri="{FF2B5EF4-FFF2-40B4-BE49-F238E27FC236}">
                <a16:creationId xmlns:a16="http://schemas.microsoft.com/office/drawing/2014/main" id="{EE1EC69A-06FB-0BD8-4CAF-9CC87BF79697}"/>
              </a:ext>
            </a:extLst>
          </p:cNvPr>
          <p:cNvSpPr>
            <a:spLocks noGrp="1"/>
          </p:cNvSpPr>
          <p:nvPr>
            <p:ph type="sldNum" sz="quarter" idx="12"/>
          </p:nvPr>
        </p:nvSpPr>
        <p:spPr>
          <a:xfrm>
            <a:off x="314672" y="6394450"/>
            <a:ext cx="589856" cy="276224"/>
          </a:xfrm>
        </p:spPr>
        <p:txBody>
          <a:bodyPr/>
          <a:lstStyle/>
          <a:p>
            <a:fld id="{9BE375CD-4755-4D83-B134-E6AD5007676A}" type="slidenum">
              <a:rPr lang="nl-BE" smtClean="0"/>
              <a:t>32</a:t>
            </a:fld>
            <a:endParaRPr lang="nl-BE" dirty="0"/>
          </a:p>
        </p:txBody>
      </p:sp>
    </p:spTree>
    <p:extLst>
      <p:ext uri="{BB962C8B-B14F-4D97-AF65-F5344CB8AC3E}">
        <p14:creationId xmlns:p14="http://schemas.microsoft.com/office/powerpoint/2010/main" val="3005663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C62B37"/>
        </a:solidFill>
        <a:effectLst/>
      </p:bgPr>
    </p:bg>
    <p:spTree>
      <p:nvGrpSpPr>
        <p:cNvPr id="1" name=""/>
        <p:cNvGrpSpPr/>
        <p:nvPr/>
      </p:nvGrpSpPr>
      <p:grpSpPr>
        <a:xfrm>
          <a:off x="0" y="0"/>
          <a:ext cx="0" cy="0"/>
          <a:chOff x="0" y="0"/>
          <a:chExt cx="0" cy="0"/>
        </a:xfrm>
      </p:grpSpPr>
      <p:sp>
        <p:nvSpPr>
          <p:cNvPr id="2" name="Tekstvak 1"/>
          <p:cNvSpPr txBox="1"/>
          <p:nvPr/>
        </p:nvSpPr>
        <p:spPr>
          <a:xfrm>
            <a:off x="5490984" y="2428059"/>
            <a:ext cx="1228370" cy="479235"/>
          </a:xfrm>
          <a:prstGeom prst="rect">
            <a:avLst/>
          </a:prstGeom>
          <a:noFill/>
        </p:spPr>
        <p:txBody>
          <a:bodyPr wrap="none" tIns="46800" rIns="90000" bIns="46800" rtlCol="0" anchor="ctr" anchorCtr="0">
            <a:spAutoFit/>
          </a:bodyPr>
          <a:lstStyle/>
          <a:p>
            <a:r>
              <a:rPr lang="en-GB" sz="2500" dirty="0">
                <a:solidFill>
                  <a:schemeClr val="bg1"/>
                </a:solidFill>
              </a:rPr>
              <a:t>thanks</a:t>
            </a:r>
          </a:p>
        </p:txBody>
      </p:sp>
    </p:spTree>
    <p:extLst>
      <p:ext uri="{BB962C8B-B14F-4D97-AF65-F5344CB8AC3E}">
        <p14:creationId xmlns:p14="http://schemas.microsoft.com/office/powerpoint/2010/main" val="17712606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F815DAB-ABBC-43EF-A67B-49B83DBAB2A3}"/>
              </a:ext>
            </a:extLst>
          </p:cNvPr>
          <p:cNvSpPr>
            <a:spLocks noGrp="1"/>
          </p:cNvSpPr>
          <p:nvPr>
            <p:ph type="title"/>
          </p:nvPr>
        </p:nvSpPr>
        <p:spPr>
          <a:xfrm>
            <a:off x="643786" y="54141"/>
            <a:ext cx="10877551" cy="469896"/>
          </a:xfrm>
        </p:spPr>
        <p:txBody>
          <a:bodyPr>
            <a:normAutofit fontScale="90000"/>
          </a:bodyPr>
          <a:lstStyle/>
          <a:p>
            <a:pPr algn="l"/>
            <a:r>
              <a:rPr lang="en-US" sz="2667" dirty="0"/>
              <a:t>Energy prices calming down after unseen peak prices </a:t>
            </a:r>
          </a:p>
        </p:txBody>
      </p:sp>
      <p:sp>
        <p:nvSpPr>
          <p:cNvPr id="5" name="Tijdelijke aanduiding voor dianummer 4">
            <a:extLst>
              <a:ext uri="{FF2B5EF4-FFF2-40B4-BE49-F238E27FC236}">
                <a16:creationId xmlns:a16="http://schemas.microsoft.com/office/drawing/2014/main" id="{B9B95A1C-BC9E-41C7-9C9E-29B3167863E1}"/>
              </a:ext>
            </a:extLst>
          </p:cNvPr>
          <p:cNvSpPr>
            <a:spLocks noGrp="1"/>
          </p:cNvSpPr>
          <p:nvPr>
            <p:ph type="sldNum" sz="quarter" idx="16"/>
          </p:nvPr>
        </p:nvSpPr>
        <p:spPr/>
        <p:txBody>
          <a:bodyPr/>
          <a:lstStyle/>
          <a:p>
            <a:fld id="{B6F15528-21DE-4FAA-801E-634DDDAF4B2B}" type="slidenum">
              <a:rPr lang="nl-BE" smtClean="0">
                <a:solidFill>
                  <a:schemeClr val="tx1"/>
                </a:solidFill>
              </a:rPr>
              <a:pPr/>
              <a:t>4</a:t>
            </a:fld>
            <a:endParaRPr lang="nl-BE">
              <a:solidFill>
                <a:schemeClr val="tx1"/>
              </a:solidFill>
            </a:endParaRPr>
          </a:p>
        </p:txBody>
      </p:sp>
      <p:pic>
        <p:nvPicPr>
          <p:cNvPr id="9" name="Picture 8">
            <a:extLst>
              <a:ext uri="{FF2B5EF4-FFF2-40B4-BE49-F238E27FC236}">
                <a16:creationId xmlns:a16="http://schemas.microsoft.com/office/drawing/2014/main" id="{94420070-AD2E-3C3E-E29B-07293DDFF085}"/>
              </a:ext>
            </a:extLst>
          </p:cNvPr>
          <p:cNvPicPr>
            <a:picLocks noChangeAspect="1"/>
          </p:cNvPicPr>
          <p:nvPr/>
        </p:nvPicPr>
        <p:blipFill>
          <a:blip r:embed="rId2"/>
          <a:stretch>
            <a:fillRect/>
          </a:stretch>
        </p:blipFill>
        <p:spPr>
          <a:xfrm>
            <a:off x="1703512" y="586482"/>
            <a:ext cx="7896200" cy="3164911"/>
          </a:xfrm>
          <a:prstGeom prst="rect">
            <a:avLst/>
          </a:prstGeom>
        </p:spPr>
      </p:pic>
      <p:pic>
        <p:nvPicPr>
          <p:cNvPr id="13" name="Picture 12">
            <a:extLst>
              <a:ext uri="{FF2B5EF4-FFF2-40B4-BE49-F238E27FC236}">
                <a16:creationId xmlns:a16="http://schemas.microsoft.com/office/drawing/2014/main" id="{071E4FB8-63EC-7C8F-EFB3-F271E38B96B1}"/>
              </a:ext>
            </a:extLst>
          </p:cNvPr>
          <p:cNvPicPr>
            <a:picLocks noChangeAspect="1"/>
          </p:cNvPicPr>
          <p:nvPr/>
        </p:nvPicPr>
        <p:blipFill>
          <a:blip r:embed="rId3"/>
          <a:stretch>
            <a:fillRect/>
          </a:stretch>
        </p:blipFill>
        <p:spPr>
          <a:xfrm>
            <a:off x="1703512" y="3922904"/>
            <a:ext cx="8454459" cy="2935096"/>
          </a:xfrm>
          <a:prstGeom prst="rect">
            <a:avLst/>
          </a:prstGeom>
        </p:spPr>
      </p:pic>
    </p:spTree>
    <p:extLst>
      <p:ext uri="{BB962C8B-B14F-4D97-AF65-F5344CB8AC3E}">
        <p14:creationId xmlns:p14="http://schemas.microsoft.com/office/powerpoint/2010/main" val="165669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C0904FE3-A4DB-F5C2-14A0-DD98F53CA0D5}"/>
              </a:ext>
            </a:extLst>
          </p:cNvPr>
          <p:cNvSpPr>
            <a:spLocks noGrp="1"/>
          </p:cNvSpPr>
          <p:nvPr>
            <p:ph type="title"/>
          </p:nvPr>
        </p:nvSpPr>
        <p:spPr>
          <a:xfrm>
            <a:off x="609600" y="730560"/>
            <a:ext cx="10972800" cy="565200"/>
          </a:xfrm>
        </p:spPr>
        <p:txBody>
          <a:bodyPr/>
          <a:lstStyle/>
          <a:p>
            <a:r>
              <a:rPr lang="en-US" dirty="0"/>
              <a:t>CO2 prices – at high level – higher than most scenario’s </a:t>
            </a:r>
          </a:p>
        </p:txBody>
      </p:sp>
      <p:pic>
        <p:nvPicPr>
          <p:cNvPr id="10" name="Picture Placeholder 9">
            <a:extLst>
              <a:ext uri="{FF2B5EF4-FFF2-40B4-BE49-F238E27FC236}">
                <a16:creationId xmlns:a16="http://schemas.microsoft.com/office/drawing/2014/main" id="{2EFC5D89-0000-24B1-6308-F3F6F6BC50BD}"/>
              </a:ext>
            </a:extLst>
          </p:cNvPr>
          <p:cNvPicPr>
            <a:picLocks noGrp="1" noChangeAspect="1"/>
          </p:cNvPicPr>
          <p:nvPr>
            <p:ph idx="1"/>
          </p:nvPr>
        </p:nvPicPr>
        <p:blipFill rotWithShape="1">
          <a:blip r:embed="rId2"/>
          <a:srcRect b="2948"/>
          <a:stretch/>
        </p:blipFill>
        <p:spPr>
          <a:xfrm>
            <a:off x="609600" y="1623061"/>
            <a:ext cx="10972800" cy="4525963"/>
          </a:xfrm>
          <a:noFill/>
        </p:spPr>
      </p:pic>
      <p:sp>
        <p:nvSpPr>
          <p:cNvPr id="17" name="Date Placeholder 3">
            <a:extLst>
              <a:ext uri="{FF2B5EF4-FFF2-40B4-BE49-F238E27FC236}">
                <a16:creationId xmlns:a16="http://schemas.microsoft.com/office/drawing/2014/main" id="{9415C114-51E4-C862-7397-F2F0D532B2CE}"/>
              </a:ext>
            </a:extLst>
          </p:cNvPr>
          <p:cNvSpPr>
            <a:spLocks noGrp="1"/>
          </p:cNvSpPr>
          <p:nvPr>
            <p:ph type="dt" sz="half" idx="10"/>
          </p:nvPr>
        </p:nvSpPr>
        <p:spPr>
          <a:xfrm>
            <a:off x="1198966" y="6400801"/>
            <a:ext cx="917701" cy="276224"/>
          </a:xfrm>
        </p:spPr>
        <p:txBody>
          <a:bodyPr/>
          <a:lstStyle/>
          <a:p>
            <a:pPr>
              <a:spcAft>
                <a:spcPts val="600"/>
              </a:spcAft>
            </a:pPr>
            <a:fld id="{A5BF5FAA-1273-48C9-A418-A52A86AE5014}" type="datetime1">
              <a:rPr lang="nl-BE" smtClean="0"/>
              <a:pPr>
                <a:spcAft>
                  <a:spcPts val="600"/>
                </a:spcAft>
              </a:pPr>
              <a:t>30/05/2023</a:t>
            </a:fld>
            <a:endParaRPr lang="nl-BE"/>
          </a:p>
        </p:txBody>
      </p:sp>
      <p:sp>
        <p:nvSpPr>
          <p:cNvPr id="19" name="Footer Placeholder 4">
            <a:extLst>
              <a:ext uri="{FF2B5EF4-FFF2-40B4-BE49-F238E27FC236}">
                <a16:creationId xmlns:a16="http://schemas.microsoft.com/office/drawing/2014/main" id="{5A41D453-59AF-8391-BB62-6FE286FADD0C}"/>
              </a:ext>
            </a:extLst>
          </p:cNvPr>
          <p:cNvSpPr>
            <a:spLocks noGrp="1"/>
          </p:cNvSpPr>
          <p:nvPr>
            <p:ph type="ftr" sz="quarter" idx="11"/>
          </p:nvPr>
        </p:nvSpPr>
        <p:spPr>
          <a:xfrm>
            <a:off x="2116667" y="6400801"/>
            <a:ext cx="8313605" cy="276224"/>
          </a:xfrm>
        </p:spPr>
        <p:txBody>
          <a:bodyPr/>
          <a:lstStyle/>
          <a:p>
            <a:endParaRPr lang="nl-BE"/>
          </a:p>
        </p:txBody>
      </p:sp>
      <p:sp>
        <p:nvSpPr>
          <p:cNvPr id="5" name="Slide Number Placeholder 4">
            <a:extLst>
              <a:ext uri="{FF2B5EF4-FFF2-40B4-BE49-F238E27FC236}">
                <a16:creationId xmlns:a16="http://schemas.microsoft.com/office/drawing/2014/main" id="{C2BC2E39-6FBE-F934-14E3-3147B1B3F4CB}"/>
              </a:ext>
            </a:extLst>
          </p:cNvPr>
          <p:cNvSpPr>
            <a:spLocks noGrp="1"/>
          </p:cNvSpPr>
          <p:nvPr>
            <p:ph type="sldNum" sz="quarter" idx="12"/>
          </p:nvPr>
        </p:nvSpPr>
        <p:spPr>
          <a:xfrm>
            <a:off x="609600" y="6400801"/>
            <a:ext cx="589856" cy="276224"/>
          </a:xfrm>
        </p:spPr>
        <p:txBody>
          <a:bodyPr anchor="b">
            <a:normAutofit/>
          </a:bodyPr>
          <a:lstStyle/>
          <a:p>
            <a:pPr>
              <a:spcAft>
                <a:spcPts val="600"/>
              </a:spcAft>
            </a:pPr>
            <a:fld id="{B6F15528-21DE-4FAA-801E-634DDDAF4B2B}" type="slidenum">
              <a:rPr lang="nl-BE" smtClean="0"/>
              <a:pPr>
                <a:spcAft>
                  <a:spcPts val="600"/>
                </a:spcAft>
              </a:pPr>
              <a:t>5</a:t>
            </a:fld>
            <a:endParaRPr lang="nl-BE"/>
          </a:p>
        </p:txBody>
      </p:sp>
    </p:spTree>
    <p:extLst>
      <p:ext uri="{BB962C8B-B14F-4D97-AF65-F5344CB8AC3E}">
        <p14:creationId xmlns:p14="http://schemas.microsoft.com/office/powerpoint/2010/main" val="2788842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64C65D-EE86-40CD-9B9C-3C5AE08431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4" name="Object 3" hidden="1">
                        <a:extLst>
                          <a:ext uri="{FF2B5EF4-FFF2-40B4-BE49-F238E27FC236}">
                            <a16:creationId xmlns:a16="http://schemas.microsoft.com/office/drawing/2014/main" id="{6564C65D-EE86-40CD-9B9C-3C5AE0843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21C57A4-B8F8-49CE-BF65-D6A2B89AE634}"/>
              </a:ext>
            </a:extLst>
          </p:cNvPr>
          <p:cNvSpPr>
            <a:spLocks noGrp="1"/>
          </p:cNvSpPr>
          <p:nvPr>
            <p:ph type="title"/>
          </p:nvPr>
        </p:nvSpPr>
        <p:spPr/>
        <p:txBody>
          <a:bodyPr vert="horz">
            <a:normAutofit fontScale="90000"/>
          </a:bodyPr>
          <a:lstStyle/>
          <a:p>
            <a:r>
              <a:rPr lang="fr-BE" dirty="0"/>
              <a:t>B. SOS </a:t>
            </a:r>
            <a:r>
              <a:rPr lang="fr-BE" dirty="0" err="1"/>
              <a:t>gas</a:t>
            </a:r>
            <a:r>
              <a:rPr lang="fr-BE" dirty="0"/>
              <a:t> </a:t>
            </a:r>
          </a:p>
        </p:txBody>
      </p:sp>
    </p:spTree>
    <p:extLst>
      <p:ext uri="{BB962C8B-B14F-4D97-AF65-F5344CB8AC3E}">
        <p14:creationId xmlns:p14="http://schemas.microsoft.com/office/powerpoint/2010/main" val="28250231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B613B3-57DD-C0C2-9712-1FD08478859A}"/>
              </a:ext>
            </a:extLst>
          </p:cNvPr>
          <p:cNvSpPr>
            <a:spLocks noGrp="1"/>
          </p:cNvSpPr>
          <p:nvPr>
            <p:ph type="title"/>
          </p:nvPr>
        </p:nvSpPr>
        <p:spPr/>
        <p:txBody>
          <a:bodyPr>
            <a:normAutofit fontScale="90000"/>
          </a:bodyPr>
          <a:lstStyle/>
          <a:p>
            <a:r>
              <a:rPr lang="en-BE" sz="2400" b="1" dirty="0" err="1">
                <a:solidFill>
                  <a:srgbClr val="000000"/>
                </a:solidFill>
                <a:effectLst/>
                <a:latin typeface="Helvetica" panose="020B0604020202020204" pitchFamily="34" charset="0"/>
                <a:ea typeface="Times New Roman" panose="02020603050405020304" pitchFamily="18" charset="0"/>
                <a:cs typeface="Calibri" panose="020F0502020204030204" pitchFamily="34" charset="0"/>
              </a:rPr>
              <a:t>Qatarese</a:t>
            </a:r>
            <a:r>
              <a:rPr lang="en-BE" sz="2400" b="1" dirty="0">
                <a:solidFill>
                  <a:srgbClr val="000000"/>
                </a:solidFill>
                <a:effectLst/>
                <a:latin typeface="Helvetica" panose="020B0604020202020204" pitchFamily="34" charset="0"/>
                <a:ea typeface="Times New Roman" panose="02020603050405020304" pitchFamily="18" charset="0"/>
                <a:cs typeface="Calibri" panose="020F0502020204030204" pitchFamily="34" charset="0"/>
              </a:rPr>
              <a:t> minister </a:t>
            </a:r>
            <a:r>
              <a:rPr lang="en-BE" sz="2400" b="1" dirty="0" err="1">
                <a:solidFill>
                  <a:srgbClr val="000000"/>
                </a:solidFill>
                <a:effectLst/>
                <a:latin typeface="Helvetica" panose="020B0604020202020204" pitchFamily="34" charset="0"/>
                <a:ea typeface="Times New Roman" panose="02020603050405020304" pitchFamily="18" charset="0"/>
                <a:cs typeface="Calibri" panose="020F0502020204030204" pitchFamily="34" charset="0"/>
              </a:rPr>
              <a:t>waarschuwt</a:t>
            </a:r>
            <a:r>
              <a:rPr lang="en-BE" sz="2400" b="1" dirty="0">
                <a:solidFill>
                  <a:srgbClr val="000000"/>
                </a:solidFill>
                <a:effectLst/>
                <a:latin typeface="Helvetica" panose="020B0604020202020204" pitchFamily="34" charset="0"/>
                <a:ea typeface="Times New Roman" panose="02020603050405020304" pitchFamily="18" charset="0"/>
                <a:cs typeface="Calibri" panose="020F0502020204030204" pitchFamily="34" charset="0"/>
              </a:rPr>
              <a:t> </a:t>
            </a:r>
            <a:r>
              <a:rPr lang="en-BE" sz="2400" b="1" dirty="0" err="1">
                <a:solidFill>
                  <a:srgbClr val="000000"/>
                </a:solidFill>
                <a:effectLst/>
                <a:latin typeface="Helvetica" panose="020B0604020202020204" pitchFamily="34" charset="0"/>
                <a:ea typeface="Times New Roman" panose="02020603050405020304" pitchFamily="18" charset="0"/>
                <a:cs typeface="Calibri" panose="020F0502020204030204" pitchFamily="34" charset="0"/>
              </a:rPr>
              <a:t>voor</a:t>
            </a:r>
            <a:r>
              <a:rPr lang="en-BE" sz="2400" b="1" dirty="0">
                <a:solidFill>
                  <a:srgbClr val="000000"/>
                </a:solidFill>
                <a:effectLst/>
                <a:latin typeface="Helvetica" panose="020B0604020202020204" pitchFamily="34" charset="0"/>
                <a:ea typeface="Times New Roman" panose="02020603050405020304" pitchFamily="18" charset="0"/>
                <a:cs typeface="Calibri" panose="020F0502020204030204" pitchFamily="34" charset="0"/>
              </a:rPr>
              <a:t> </a:t>
            </a:r>
            <a:r>
              <a:rPr lang="en-BE" sz="2400" b="1" dirty="0" err="1">
                <a:solidFill>
                  <a:srgbClr val="000000"/>
                </a:solidFill>
                <a:effectLst/>
                <a:latin typeface="Helvetica" panose="020B0604020202020204" pitchFamily="34" charset="0"/>
                <a:ea typeface="Times New Roman" panose="02020603050405020304" pitchFamily="18" charset="0"/>
                <a:cs typeface="Calibri" panose="020F0502020204030204" pitchFamily="34" charset="0"/>
              </a:rPr>
              <a:t>energietekorten</a:t>
            </a:r>
            <a:r>
              <a:rPr lang="en-BE" sz="2400" b="1" dirty="0">
                <a:solidFill>
                  <a:srgbClr val="000000"/>
                </a:solidFill>
                <a:effectLst/>
                <a:latin typeface="Helvetica" panose="020B0604020202020204" pitchFamily="34" charset="0"/>
                <a:ea typeface="Times New Roman" panose="02020603050405020304" pitchFamily="18" charset="0"/>
                <a:cs typeface="Calibri" panose="020F0502020204030204" pitchFamily="34" charset="0"/>
              </a:rPr>
              <a:t> in Europa</a:t>
            </a:r>
            <a:r>
              <a:rPr lang="en-GB" sz="2400" b="1" dirty="0">
                <a:solidFill>
                  <a:srgbClr val="000000"/>
                </a:solidFill>
                <a:effectLst/>
                <a:latin typeface="Helvetica" panose="020B0604020202020204" pitchFamily="34" charset="0"/>
                <a:ea typeface="Times New Roman" panose="02020603050405020304" pitchFamily="18" charset="0"/>
                <a:cs typeface="Calibri" panose="020F0502020204030204" pitchFamily="34" charset="0"/>
              </a:rPr>
              <a:t> (23/5/23 Belga)</a:t>
            </a:r>
            <a:br>
              <a:rPr lang="en-BE" sz="2400" b="1" dirty="0">
                <a:solidFill>
                  <a:srgbClr val="000000"/>
                </a:solidFill>
                <a:effectLst/>
                <a:latin typeface="Helvetica" panose="020B0604020202020204" pitchFamily="34" charset="0"/>
                <a:ea typeface="Calibri" panose="020F0502020204030204" pitchFamily="34" charset="0"/>
                <a:cs typeface="Calibri" panose="020F0502020204030204" pitchFamily="34" charset="0"/>
              </a:rPr>
            </a:br>
            <a:endParaRPr lang="en-BE" dirty="0"/>
          </a:p>
        </p:txBody>
      </p:sp>
      <p:sp>
        <p:nvSpPr>
          <p:cNvPr id="7" name="Content Placeholder 6">
            <a:extLst>
              <a:ext uri="{FF2B5EF4-FFF2-40B4-BE49-F238E27FC236}">
                <a16:creationId xmlns:a16="http://schemas.microsoft.com/office/drawing/2014/main" id="{4322FB79-7306-7EEA-4ED3-863D236BDC1E}"/>
              </a:ext>
            </a:extLst>
          </p:cNvPr>
          <p:cNvSpPr>
            <a:spLocks noGrp="1"/>
          </p:cNvSpPr>
          <p:nvPr>
            <p:ph idx="1"/>
          </p:nvPr>
        </p:nvSpPr>
        <p:spPr/>
        <p:txBody>
          <a:bodyPr>
            <a:normAutofit fontScale="85000" lnSpcReduction="10000"/>
          </a:bodyPr>
          <a:lstStyle/>
          <a:p>
            <a:pPr>
              <a:spcAft>
                <a:spcPts val="750"/>
              </a:spcAft>
            </a:pPr>
            <a:r>
              <a:rPr lang="en-BE" sz="1800" b="1" dirty="0" err="1">
                <a:effectLst/>
                <a:latin typeface="Helvetica" panose="020B0604020202020204" pitchFamily="34" charset="0"/>
                <a:ea typeface="Calibri" panose="020F0502020204030204" pitchFamily="34" charset="0"/>
                <a:cs typeface="Calibri" panose="020F0502020204030204" pitchFamily="34" charset="0"/>
              </a:rPr>
              <a:t>doha</a:t>
            </a:r>
            <a:r>
              <a:rPr lang="en-BE" sz="1800" b="1" dirty="0">
                <a:effectLst/>
                <a:latin typeface="Helvetica" panose="020B0604020202020204" pitchFamily="34" charset="0"/>
                <a:ea typeface="Calibri" panose="020F0502020204030204" pitchFamily="34" charset="0"/>
                <a:cs typeface="Calibri" panose="020F0502020204030204" pitchFamily="34" charset="0"/>
              </a:rPr>
              <a:t> 23/05 12:04 (ANP/AFP/BLOOMBERG)</a:t>
            </a:r>
            <a:r>
              <a:rPr lang="en-BE" sz="1800" dirty="0">
                <a:effectLst/>
                <a:latin typeface="Helvetica" panose="020B0604020202020204" pitchFamily="34" charset="0"/>
                <a:ea typeface="Calibri" panose="020F0502020204030204" pitchFamily="34" charset="0"/>
              </a:rPr>
              <a:t> </a:t>
            </a:r>
            <a:endParaRPr lang="en-GB" sz="1800" dirty="0">
              <a:effectLst/>
              <a:latin typeface="Helvetica" panose="020B0604020202020204" pitchFamily="34" charset="0"/>
              <a:ea typeface="Calibri" panose="020F0502020204030204" pitchFamily="34" charset="0"/>
            </a:endParaRPr>
          </a:p>
          <a:p>
            <a:pPr>
              <a:spcAft>
                <a:spcPts val="750"/>
              </a:spcAft>
            </a:pPr>
            <a:br>
              <a:rPr lang="en-BE" sz="1800" dirty="0">
                <a:effectLst/>
                <a:latin typeface="Helvetica" panose="020B0604020202020204" pitchFamily="34" charset="0"/>
                <a:ea typeface="Calibri" panose="020F0502020204030204" pitchFamily="34" charset="0"/>
              </a:rPr>
            </a:br>
            <a:r>
              <a:rPr lang="en-BE" sz="1800" dirty="0">
                <a:effectLst/>
                <a:latin typeface="Helvetica" panose="020B0604020202020204" pitchFamily="34" charset="0"/>
                <a:ea typeface="Calibri" panose="020F0502020204030204" pitchFamily="34" charset="0"/>
              </a:rPr>
              <a:t>De </a:t>
            </a:r>
            <a:r>
              <a:rPr lang="en-BE" sz="1800" dirty="0" err="1">
                <a:effectLst/>
                <a:latin typeface="Helvetica" panose="020B0604020202020204" pitchFamily="34" charset="0"/>
                <a:ea typeface="Calibri" panose="020F0502020204030204" pitchFamily="34" charset="0"/>
              </a:rPr>
              <a:t>Qatarese</a:t>
            </a:r>
            <a:r>
              <a:rPr lang="en-BE" sz="1800" dirty="0">
                <a:effectLst/>
                <a:latin typeface="Helvetica" panose="020B0604020202020204" pitchFamily="34" charset="0"/>
                <a:ea typeface="Calibri" panose="020F0502020204030204" pitchFamily="34" charset="0"/>
              </a:rPr>
              <a:t> minister van Energie Saad Al-</a:t>
            </a:r>
            <a:r>
              <a:rPr lang="en-BE" sz="1800" dirty="0" err="1">
                <a:effectLst/>
                <a:latin typeface="Helvetica" panose="020B0604020202020204" pitchFamily="34" charset="0"/>
                <a:ea typeface="Calibri" panose="020F0502020204030204" pitchFamily="34" charset="0"/>
              </a:rPr>
              <a:t>Kaabi</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waarschuwt</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dat</a:t>
            </a:r>
            <a:r>
              <a:rPr lang="en-BE" sz="1800" dirty="0">
                <a:effectLst/>
                <a:latin typeface="Helvetica" panose="020B0604020202020204" pitchFamily="34" charset="0"/>
                <a:ea typeface="Calibri" panose="020F0502020204030204" pitchFamily="34" charset="0"/>
              </a:rPr>
              <a:t> het "</a:t>
            </a:r>
            <a:r>
              <a:rPr lang="en-BE" sz="1800" dirty="0" err="1">
                <a:effectLst/>
                <a:highlight>
                  <a:srgbClr val="FFFF00"/>
                </a:highlight>
                <a:latin typeface="Helvetica" panose="020B0604020202020204" pitchFamily="34" charset="0"/>
                <a:ea typeface="Calibri" panose="020F0502020204030204" pitchFamily="34" charset="0"/>
              </a:rPr>
              <a:t>ergste</a:t>
            </a:r>
            <a:r>
              <a:rPr lang="en-BE" sz="1800" dirty="0">
                <a:effectLst/>
                <a:highlight>
                  <a:srgbClr val="FFFF00"/>
                </a:highlight>
                <a:latin typeface="Helvetica" panose="020B0604020202020204" pitchFamily="34" charset="0"/>
                <a:ea typeface="Calibri" panose="020F0502020204030204" pitchFamily="34" charset="0"/>
              </a:rPr>
              <a:t> </a:t>
            </a:r>
            <a:r>
              <a:rPr lang="en-BE" sz="1800" dirty="0" err="1">
                <a:effectLst/>
                <a:highlight>
                  <a:srgbClr val="FFFF00"/>
                </a:highlight>
                <a:latin typeface="Helvetica" panose="020B0604020202020204" pitchFamily="34" charset="0"/>
                <a:ea typeface="Calibri" panose="020F0502020204030204" pitchFamily="34" charset="0"/>
              </a:rPr>
              <a:t>nog</a:t>
            </a:r>
            <a:r>
              <a:rPr lang="en-BE" sz="1800" dirty="0">
                <a:effectLst/>
                <a:highlight>
                  <a:srgbClr val="FFFF00"/>
                </a:highlight>
                <a:latin typeface="Helvetica" panose="020B0604020202020204" pitchFamily="34" charset="0"/>
                <a:ea typeface="Calibri" panose="020F0502020204030204" pitchFamily="34" charset="0"/>
              </a:rPr>
              <a:t> </a:t>
            </a:r>
            <a:r>
              <a:rPr lang="en-BE" sz="1800" dirty="0" err="1">
                <a:effectLst/>
                <a:highlight>
                  <a:srgbClr val="FFFF00"/>
                </a:highlight>
                <a:latin typeface="Helvetica" panose="020B0604020202020204" pitchFamily="34" charset="0"/>
                <a:ea typeface="Calibri" panose="020F0502020204030204" pitchFamily="34" charset="0"/>
              </a:rPr>
              <a:t>moet</a:t>
            </a:r>
            <a:r>
              <a:rPr lang="en-BE" sz="1800" dirty="0">
                <a:effectLst/>
                <a:highlight>
                  <a:srgbClr val="FFFF00"/>
                </a:highlight>
                <a:latin typeface="Helvetica" panose="020B0604020202020204" pitchFamily="34" charset="0"/>
                <a:ea typeface="Calibri" panose="020F0502020204030204" pitchFamily="34" charset="0"/>
              </a:rPr>
              <a:t> </a:t>
            </a:r>
            <a:r>
              <a:rPr lang="en-BE" sz="1800" dirty="0" err="1">
                <a:effectLst/>
                <a:highlight>
                  <a:srgbClr val="FFFF00"/>
                </a:highlight>
                <a:latin typeface="Helvetica" panose="020B0604020202020204" pitchFamily="34" charset="0"/>
                <a:ea typeface="Calibri" panose="020F0502020204030204" pitchFamily="34" charset="0"/>
              </a:rPr>
              <a:t>komen</a:t>
            </a:r>
            <a:r>
              <a:rPr lang="en-BE" sz="1800" dirty="0">
                <a:effectLst/>
                <a:latin typeface="Helvetica" panose="020B0604020202020204" pitchFamily="34" charset="0"/>
                <a:ea typeface="Calibri" panose="020F0502020204030204" pitchFamily="34" charset="0"/>
              </a:rPr>
              <a:t>" op het </a:t>
            </a:r>
            <a:r>
              <a:rPr lang="en-BE" sz="1800" dirty="0" err="1">
                <a:effectLst/>
                <a:latin typeface="Helvetica" panose="020B0604020202020204" pitchFamily="34" charset="0"/>
                <a:ea typeface="Calibri" panose="020F0502020204030204" pitchFamily="34" charset="0"/>
              </a:rPr>
              <a:t>gebied</a:t>
            </a:r>
            <a:r>
              <a:rPr lang="en-BE" sz="1800" dirty="0">
                <a:effectLst/>
                <a:latin typeface="Helvetica" panose="020B0604020202020204" pitchFamily="34" charset="0"/>
                <a:ea typeface="Calibri" panose="020F0502020204030204" pitchFamily="34" charset="0"/>
              </a:rPr>
              <a:t> van </a:t>
            </a:r>
            <a:r>
              <a:rPr lang="en-BE" sz="1800" dirty="0" err="1">
                <a:effectLst/>
                <a:latin typeface="Helvetica" panose="020B0604020202020204" pitchFamily="34" charset="0"/>
                <a:ea typeface="Calibri" panose="020F0502020204030204" pitchFamily="34" charset="0"/>
              </a:rPr>
              <a:t>oli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gastekorten</a:t>
            </a:r>
            <a:r>
              <a:rPr lang="en-BE" sz="1800" dirty="0">
                <a:effectLst/>
                <a:latin typeface="Helvetica" panose="020B0604020202020204" pitchFamily="34" charset="0"/>
                <a:ea typeface="Calibri" panose="020F0502020204030204" pitchFamily="34" charset="0"/>
              </a:rPr>
              <a:t> in Europa. Dat </a:t>
            </a:r>
            <a:r>
              <a:rPr lang="en-BE" sz="1800" dirty="0" err="1">
                <a:effectLst/>
                <a:latin typeface="Helvetica" panose="020B0604020202020204" pitchFamily="34" charset="0"/>
                <a:ea typeface="Calibri" panose="020F0502020204030204" pitchFamily="34" charset="0"/>
              </a:rPr>
              <a:t>zei</a:t>
            </a:r>
            <a:r>
              <a:rPr lang="en-BE" sz="1800" dirty="0">
                <a:effectLst/>
                <a:latin typeface="Helvetica" panose="020B0604020202020204" pitchFamily="34" charset="0"/>
                <a:ea typeface="Calibri" panose="020F0502020204030204" pitchFamily="34" charset="0"/>
              </a:rPr>
              <a:t> de minister </a:t>
            </a:r>
            <a:r>
              <a:rPr lang="en-BE" sz="1800" dirty="0" err="1">
                <a:effectLst/>
                <a:latin typeface="Helvetica" panose="020B0604020202020204" pitchFamily="34" charset="0"/>
                <a:ea typeface="Calibri" panose="020F0502020204030204" pitchFamily="34" charset="0"/>
              </a:rPr>
              <a:t>dinsdag</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tijdens</a:t>
            </a:r>
            <a:r>
              <a:rPr lang="en-BE" sz="1800" dirty="0">
                <a:effectLst/>
                <a:latin typeface="Helvetica" panose="020B0604020202020204" pitchFamily="34" charset="0"/>
                <a:ea typeface="Calibri" panose="020F0502020204030204" pitchFamily="34" charset="0"/>
              </a:rPr>
              <a:t> het Qatar Economic Forum in Doha. </a:t>
            </a:r>
            <a:r>
              <a:rPr lang="en-BE" sz="1800" dirty="0" err="1">
                <a:effectLst/>
                <a:latin typeface="Helvetica" panose="020B0604020202020204" pitchFamily="34" charset="0"/>
                <a:ea typeface="Calibri" panose="020F0502020204030204" pitchFamily="34" charset="0"/>
              </a:rPr>
              <a:t>Hij</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merkt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daarbij</a:t>
            </a:r>
            <a:r>
              <a:rPr lang="en-BE" sz="1800" dirty="0">
                <a:effectLst/>
                <a:latin typeface="Helvetica" panose="020B0604020202020204" pitchFamily="34" charset="0"/>
                <a:ea typeface="Calibri" panose="020F0502020204030204" pitchFamily="34" charset="0"/>
              </a:rPr>
              <a:t> op </a:t>
            </a:r>
            <a:r>
              <a:rPr lang="en-BE" sz="1800" dirty="0" err="1">
                <a:effectLst/>
                <a:latin typeface="Helvetica" panose="020B0604020202020204" pitchFamily="34" charset="0"/>
                <a:ea typeface="Calibri" panose="020F0502020204030204" pitchFamily="34" charset="0"/>
              </a:rPr>
              <a:t>dat</a:t>
            </a:r>
            <a:r>
              <a:rPr lang="en-BE" sz="1800" dirty="0">
                <a:effectLst/>
                <a:latin typeface="Helvetica" panose="020B0604020202020204" pitchFamily="34" charset="0"/>
                <a:ea typeface="Calibri" panose="020F0502020204030204" pitchFamily="34" charset="0"/>
              </a:rPr>
              <a:t> Europa in de </a:t>
            </a:r>
            <a:r>
              <a:rPr lang="en-BE" sz="1800" dirty="0" err="1">
                <a:effectLst/>
                <a:latin typeface="Helvetica" panose="020B0604020202020204" pitchFamily="34" charset="0"/>
                <a:ea typeface="Calibri" panose="020F0502020204030204" pitchFamily="34" charset="0"/>
              </a:rPr>
              <a:t>afgelop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maand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wist</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t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ontsnapp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aa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e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energiecrisis</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dankzij</a:t>
            </a:r>
            <a:r>
              <a:rPr lang="en-BE" sz="1800" dirty="0">
                <a:effectLst/>
                <a:latin typeface="Helvetica" panose="020B0604020202020204" pitchFamily="34" charset="0"/>
                <a:ea typeface="Calibri" panose="020F0502020204030204" pitchFamily="34" charset="0"/>
              </a:rPr>
              <a:t> de </a:t>
            </a:r>
            <a:r>
              <a:rPr lang="en-BE" sz="1800" dirty="0" err="1">
                <a:effectLst/>
                <a:latin typeface="Helvetica" panose="020B0604020202020204" pitchFamily="34" charset="0"/>
                <a:ea typeface="Calibri" panose="020F0502020204030204" pitchFamily="34" charset="0"/>
              </a:rPr>
              <a:t>relatief</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warme</a:t>
            </a:r>
            <a:r>
              <a:rPr lang="en-BE" sz="1800" dirty="0">
                <a:effectLst/>
                <a:latin typeface="Helvetica" panose="020B0604020202020204" pitchFamily="34" charset="0"/>
                <a:ea typeface="Calibri" panose="020F0502020204030204" pitchFamily="34" charset="0"/>
              </a:rPr>
              <a:t> winter.</a:t>
            </a:r>
            <a:endParaRPr lang="en-BE" sz="1800" dirty="0">
              <a:effectLst/>
              <a:latin typeface="Calibri" panose="020F0502020204030204" pitchFamily="34" charset="0"/>
              <a:ea typeface="Calibri" panose="020F0502020204030204" pitchFamily="34" charset="0"/>
            </a:endParaRPr>
          </a:p>
          <a:p>
            <a:pPr>
              <a:spcAft>
                <a:spcPts val="750"/>
              </a:spcAft>
            </a:pPr>
            <a:r>
              <a:rPr lang="en-BE" sz="1800" dirty="0">
                <a:effectLst/>
                <a:latin typeface="Helvetica" panose="020B0604020202020204" pitchFamily="34" charset="0"/>
                <a:ea typeface="Calibri" panose="020F0502020204030204" pitchFamily="34" charset="0"/>
              </a:rPr>
              <a:t>"Het </a:t>
            </a:r>
            <a:r>
              <a:rPr lang="en-BE" sz="1800" dirty="0" err="1">
                <a:effectLst/>
                <a:latin typeface="Helvetica" panose="020B0604020202020204" pitchFamily="34" charset="0"/>
                <a:ea typeface="Calibri" panose="020F0502020204030204" pitchFamily="34" charset="0"/>
              </a:rPr>
              <a:t>enig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dat</a:t>
            </a:r>
            <a:r>
              <a:rPr lang="en-BE" sz="1800" dirty="0">
                <a:effectLst/>
                <a:latin typeface="Helvetica" panose="020B0604020202020204" pitchFamily="34" charset="0"/>
                <a:ea typeface="Calibri" panose="020F0502020204030204" pitchFamily="34" charset="0"/>
              </a:rPr>
              <a:t> de </a:t>
            </a:r>
            <a:r>
              <a:rPr lang="en-BE" sz="1800" dirty="0" err="1">
                <a:effectLst/>
                <a:latin typeface="Helvetica" panose="020B0604020202020204" pitchFamily="34" charset="0"/>
                <a:ea typeface="Calibri" panose="020F0502020204030204" pitchFamily="34" charset="0"/>
              </a:rPr>
              <a:t>mensheid</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en</a:t>
            </a:r>
            <a:r>
              <a:rPr lang="en-BE" sz="1800" dirty="0">
                <a:effectLst/>
                <a:latin typeface="Helvetica" panose="020B0604020202020204" pitchFamily="34" charset="0"/>
                <a:ea typeface="Calibri" panose="020F0502020204030204" pitchFamily="34" charset="0"/>
              </a:rPr>
              <a:t> Europa </a:t>
            </a:r>
            <a:r>
              <a:rPr lang="en-BE" sz="1800" dirty="0" err="1">
                <a:effectLst/>
                <a:latin typeface="Helvetica" panose="020B0604020202020204" pitchFamily="34" charset="0"/>
                <a:ea typeface="Calibri" panose="020F0502020204030204" pitchFamily="34" charset="0"/>
              </a:rPr>
              <a:t>dit</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jaar</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heeft</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gered</a:t>
            </a:r>
            <a:r>
              <a:rPr lang="en-BE" sz="1800" dirty="0">
                <a:effectLst/>
                <a:latin typeface="Helvetica" panose="020B0604020202020204" pitchFamily="34" charset="0"/>
                <a:ea typeface="Calibri" panose="020F0502020204030204" pitchFamily="34" charset="0"/>
              </a:rPr>
              <a:t>, was </a:t>
            </a:r>
            <a:r>
              <a:rPr lang="en-BE" sz="1800" dirty="0" err="1">
                <a:effectLst/>
                <a:latin typeface="Helvetica" panose="020B0604020202020204" pitchFamily="34" charset="0"/>
                <a:ea typeface="Calibri" panose="020F0502020204030204" pitchFamily="34" charset="0"/>
              </a:rPr>
              <a:t>e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warme</a:t>
            </a:r>
            <a:r>
              <a:rPr lang="en-BE" sz="1800" dirty="0">
                <a:effectLst/>
                <a:latin typeface="Helvetica" panose="020B0604020202020204" pitchFamily="34" charset="0"/>
                <a:ea typeface="Calibri" panose="020F0502020204030204" pitchFamily="34" charset="0"/>
              </a:rPr>
              <a:t> winter </a:t>
            </a:r>
            <a:r>
              <a:rPr lang="en-BE" sz="1800" dirty="0" err="1">
                <a:effectLst/>
                <a:latin typeface="Helvetica" panose="020B0604020202020204" pitchFamily="34" charset="0"/>
                <a:ea typeface="Calibri" panose="020F0502020204030204" pitchFamily="34" charset="0"/>
              </a:rPr>
              <a:t>en</a:t>
            </a:r>
            <a:r>
              <a:rPr lang="en-BE" sz="1800" dirty="0">
                <a:effectLst/>
                <a:latin typeface="Helvetica" panose="020B0604020202020204" pitchFamily="34" charset="0"/>
                <a:ea typeface="Calibri" panose="020F0502020204030204" pitchFamily="34" charset="0"/>
              </a:rPr>
              <a:t> de </a:t>
            </a:r>
            <a:r>
              <a:rPr lang="en-BE" sz="1800" dirty="0" err="1">
                <a:effectLst/>
                <a:latin typeface="Helvetica" panose="020B0604020202020204" pitchFamily="34" charset="0"/>
                <a:ea typeface="Calibri" panose="020F0502020204030204" pitchFamily="34" charset="0"/>
              </a:rPr>
              <a:t>vertraging</a:t>
            </a:r>
            <a:r>
              <a:rPr lang="en-BE" sz="1800" dirty="0">
                <a:effectLst/>
                <a:latin typeface="Helvetica" panose="020B0604020202020204" pitchFamily="34" charset="0"/>
                <a:ea typeface="Calibri" panose="020F0502020204030204" pitchFamily="34" charset="0"/>
              </a:rPr>
              <a:t> van de </a:t>
            </a:r>
            <a:r>
              <a:rPr lang="en-BE" sz="1800" dirty="0" err="1">
                <a:effectLst/>
                <a:latin typeface="Helvetica" panose="020B0604020202020204" pitchFamily="34" charset="0"/>
                <a:ea typeface="Calibri" panose="020F0502020204030204" pitchFamily="34" charset="0"/>
              </a:rPr>
              <a:t>economi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aldus</a:t>
            </a:r>
            <a:r>
              <a:rPr lang="en-BE" sz="1800" dirty="0">
                <a:effectLst/>
                <a:latin typeface="Helvetica" panose="020B0604020202020204" pitchFamily="34" charset="0"/>
                <a:ea typeface="Calibri" panose="020F0502020204030204" pitchFamily="34" charset="0"/>
              </a:rPr>
              <a:t> de minister. "Als de </a:t>
            </a:r>
            <a:r>
              <a:rPr lang="en-BE" sz="1800" dirty="0" err="1">
                <a:effectLst/>
                <a:latin typeface="Helvetica" panose="020B0604020202020204" pitchFamily="34" charset="0"/>
                <a:ea typeface="Calibri" panose="020F0502020204030204" pitchFamily="34" charset="0"/>
              </a:rPr>
              <a:t>economie</a:t>
            </a:r>
            <a:r>
              <a:rPr lang="en-BE" sz="1800" dirty="0">
                <a:effectLst/>
                <a:latin typeface="Helvetica" panose="020B0604020202020204" pitchFamily="34" charset="0"/>
                <a:ea typeface="Calibri" panose="020F0502020204030204" pitchFamily="34" charset="0"/>
              </a:rPr>
              <a:t> weer </a:t>
            </a:r>
            <a:r>
              <a:rPr lang="en-BE" sz="1800" dirty="0" err="1">
                <a:effectLst/>
                <a:latin typeface="Helvetica" panose="020B0604020202020204" pitchFamily="34" charset="0"/>
                <a:ea typeface="Calibri" panose="020F0502020204030204" pitchFamily="34" charset="0"/>
              </a:rPr>
              <a:t>begint</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t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draai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en</a:t>
            </a:r>
            <a:r>
              <a:rPr lang="en-BE" sz="1800" dirty="0">
                <a:effectLst/>
                <a:latin typeface="Helvetica" panose="020B0604020202020204" pitchFamily="34" charset="0"/>
                <a:ea typeface="Calibri" panose="020F0502020204030204" pitchFamily="34" charset="0"/>
              </a:rPr>
              <a:t> de winter is </a:t>
            </a:r>
            <a:r>
              <a:rPr lang="en-BE" sz="1800" dirty="0" err="1">
                <a:effectLst/>
                <a:latin typeface="Helvetica" panose="020B0604020202020204" pitchFamily="34" charset="0"/>
                <a:ea typeface="Calibri" panose="020F0502020204030204" pitchFamily="34" charset="0"/>
              </a:rPr>
              <a:t>normaal</a:t>
            </a:r>
            <a:r>
              <a:rPr lang="en-BE" sz="1800" dirty="0">
                <a:effectLst/>
                <a:latin typeface="Helvetica" panose="020B0604020202020204" pitchFamily="34" charset="0"/>
                <a:ea typeface="Calibri" panose="020F0502020204030204" pitchFamily="34" charset="0"/>
              </a:rPr>
              <a:t>, dan </a:t>
            </a:r>
            <a:r>
              <a:rPr lang="en-BE" sz="1800" dirty="0" err="1">
                <a:effectLst/>
                <a:latin typeface="Helvetica" panose="020B0604020202020204" pitchFamily="34" charset="0"/>
                <a:ea typeface="Calibri" panose="020F0502020204030204" pitchFamily="34" charset="0"/>
              </a:rPr>
              <a:t>denk</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ik</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dat</a:t>
            </a:r>
            <a:r>
              <a:rPr lang="en-BE" sz="1800" dirty="0">
                <a:effectLst/>
                <a:latin typeface="Helvetica" panose="020B0604020202020204" pitchFamily="34" charset="0"/>
                <a:ea typeface="Calibri" panose="020F0502020204030204" pitchFamily="34" charset="0"/>
              </a:rPr>
              <a:t> het </a:t>
            </a:r>
            <a:r>
              <a:rPr lang="en-BE" sz="1800" dirty="0" err="1">
                <a:effectLst/>
                <a:latin typeface="Helvetica" panose="020B0604020202020204" pitchFamily="34" charset="0"/>
                <a:ea typeface="Calibri" panose="020F0502020204030204" pitchFamily="34" charset="0"/>
              </a:rPr>
              <a:t>ergst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nog</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moet</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komen</a:t>
            </a:r>
            <a:r>
              <a:rPr lang="en-BE" sz="1800" dirty="0">
                <a:effectLst/>
                <a:latin typeface="Helvetica" panose="020B0604020202020204" pitchFamily="34" charset="0"/>
                <a:ea typeface="Calibri" panose="020F0502020204030204" pitchFamily="34" charset="0"/>
              </a:rPr>
              <a:t>." </a:t>
            </a:r>
            <a:endParaRPr lang="en-BE" sz="1800" dirty="0">
              <a:effectLst/>
              <a:latin typeface="Calibri" panose="020F0502020204030204" pitchFamily="34" charset="0"/>
              <a:ea typeface="Calibri" panose="020F0502020204030204" pitchFamily="34" charset="0"/>
            </a:endParaRPr>
          </a:p>
          <a:p>
            <a:pPr>
              <a:spcAft>
                <a:spcPts val="750"/>
              </a:spcAft>
            </a:pPr>
            <a:r>
              <a:rPr lang="en-BE" sz="1800" dirty="0" err="1">
                <a:effectLst/>
                <a:latin typeface="Helvetica" panose="020B0604020202020204" pitchFamily="34" charset="0"/>
                <a:ea typeface="Calibri" panose="020F0502020204030204" pitchFamily="34" charset="0"/>
              </a:rPr>
              <a:t>Ook</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zij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Saoedisch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collega</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prins</a:t>
            </a:r>
            <a:r>
              <a:rPr lang="en-BE" sz="1800" dirty="0">
                <a:effectLst/>
                <a:latin typeface="Helvetica" panose="020B0604020202020204" pitchFamily="34" charset="0"/>
                <a:ea typeface="Calibri" panose="020F0502020204030204" pitchFamily="34" charset="0"/>
              </a:rPr>
              <a:t> Abdulaziz bin Salman </a:t>
            </a:r>
            <a:r>
              <a:rPr lang="en-BE" sz="1800" dirty="0" err="1">
                <a:effectLst/>
                <a:highlight>
                  <a:srgbClr val="FFFF00"/>
                </a:highlight>
                <a:latin typeface="Helvetica" panose="020B0604020202020204" pitchFamily="34" charset="0"/>
                <a:ea typeface="Calibri" panose="020F0502020204030204" pitchFamily="34" charset="0"/>
              </a:rPr>
              <a:t>waarschuwde</a:t>
            </a:r>
            <a:r>
              <a:rPr lang="en-BE" sz="1800" dirty="0">
                <a:effectLst/>
                <a:highlight>
                  <a:srgbClr val="FFFF00"/>
                </a:highlight>
                <a:latin typeface="Helvetica" panose="020B0604020202020204" pitchFamily="34" charset="0"/>
                <a:ea typeface="Calibri" panose="020F0502020204030204" pitchFamily="34" charset="0"/>
              </a:rPr>
              <a:t> op de </a:t>
            </a:r>
            <a:r>
              <a:rPr lang="en-BE" sz="1800" dirty="0" err="1">
                <a:effectLst/>
                <a:highlight>
                  <a:srgbClr val="FFFF00"/>
                </a:highlight>
                <a:latin typeface="Helvetica" panose="020B0604020202020204" pitchFamily="34" charset="0"/>
                <a:ea typeface="Calibri" panose="020F0502020204030204" pitchFamily="34" charset="0"/>
              </a:rPr>
              <a:t>conferentie</a:t>
            </a:r>
            <a:r>
              <a:rPr lang="en-BE" sz="1800" dirty="0">
                <a:effectLst/>
                <a:highlight>
                  <a:srgbClr val="FFFF00"/>
                </a:highlight>
                <a:latin typeface="Helvetica" panose="020B0604020202020204" pitchFamily="34" charset="0"/>
                <a:ea typeface="Calibri" panose="020F0502020204030204" pitchFamily="34" charset="0"/>
              </a:rPr>
              <a:t> </a:t>
            </a:r>
            <a:r>
              <a:rPr lang="en-BE" sz="1800" dirty="0" err="1">
                <a:effectLst/>
                <a:highlight>
                  <a:srgbClr val="FFFF00"/>
                </a:highlight>
                <a:latin typeface="Helvetica" panose="020B0604020202020204" pitchFamily="34" charset="0"/>
                <a:ea typeface="Calibri" panose="020F0502020204030204" pitchFamily="34" charset="0"/>
              </a:rPr>
              <a:t>dat</a:t>
            </a:r>
            <a:r>
              <a:rPr lang="en-BE" sz="1800" dirty="0">
                <a:effectLst/>
                <a:highlight>
                  <a:srgbClr val="FFFF00"/>
                </a:highlight>
                <a:latin typeface="Helvetica" panose="020B0604020202020204" pitchFamily="34" charset="0"/>
                <a:ea typeface="Calibri" panose="020F0502020204030204" pitchFamily="34" charset="0"/>
              </a:rPr>
              <a:t> er </a:t>
            </a:r>
            <a:r>
              <a:rPr lang="en-BE" sz="1800" dirty="0" err="1">
                <a:effectLst/>
                <a:highlight>
                  <a:srgbClr val="FFFF00"/>
                </a:highlight>
                <a:latin typeface="Helvetica" panose="020B0604020202020204" pitchFamily="34" charset="0"/>
                <a:ea typeface="Calibri" panose="020F0502020204030204" pitchFamily="34" charset="0"/>
              </a:rPr>
              <a:t>een</a:t>
            </a:r>
            <a:r>
              <a:rPr lang="en-BE" sz="1800" dirty="0">
                <a:effectLst/>
                <a:highlight>
                  <a:srgbClr val="FFFF00"/>
                </a:highlight>
                <a:latin typeface="Helvetica" panose="020B0604020202020204" pitchFamily="34" charset="0"/>
                <a:ea typeface="Calibri" panose="020F0502020204030204" pitchFamily="34" charset="0"/>
              </a:rPr>
              <a:t> </a:t>
            </a:r>
            <a:r>
              <a:rPr lang="en-BE" sz="1800" dirty="0" err="1">
                <a:effectLst/>
                <a:highlight>
                  <a:srgbClr val="FFFF00"/>
                </a:highlight>
                <a:latin typeface="Helvetica" panose="020B0604020202020204" pitchFamily="34" charset="0"/>
                <a:ea typeface="Calibri" panose="020F0502020204030204" pitchFamily="34" charset="0"/>
              </a:rPr>
              <a:t>energiecrisis</a:t>
            </a:r>
            <a:r>
              <a:rPr lang="en-BE" sz="1800" dirty="0">
                <a:effectLst/>
                <a:highlight>
                  <a:srgbClr val="FFFF00"/>
                </a:highlight>
                <a:latin typeface="Helvetica" panose="020B0604020202020204" pitchFamily="34" charset="0"/>
                <a:ea typeface="Calibri" panose="020F0502020204030204" pitchFamily="34" charset="0"/>
              </a:rPr>
              <a:t> op de </a:t>
            </a:r>
            <a:r>
              <a:rPr lang="en-BE" sz="1800" dirty="0" err="1">
                <a:effectLst/>
                <a:highlight>
                  <a:srgbClr val="FFFF00"/>
                </a:highlight>
                <a:latin typeface="Helvetica" panose="020B0604020202020204" pitchFamily="34" charset="0"/>
                <a:ea typeface="Calibri" panose="020F0502020204030204" pitchFamily="34" charset="0"/>
              </a:rPr>
              <a:t>loer</a:t>
            </a:r>
            <a:r>
              <a:rPr lang="en-BE" sz="1800" dirty="0">
                <a:effectLst/>
                <a:highlight>
                  <a:srgbClr val="FFFF00"/>
                </a:highlight>
                <a:latin typeface="Helvetica" panose="020B0604020202020204" pitchFamily="34" charset="0"/>
                <a:ea typeface="Calibri" panose="020F0502020204030204" pitchFamily="34" charset="0"/>
              </a:rPr>
              <a:t> </a:t>
            </a:r>
            <a:r>
              <a:rPr lang="en-BE" sz="1800" dirty="0" err="1">
                <a:effectLst/>
                <a:highlight>
                  <a:srgbClr val="FFFF00"/>
                </a:highlight>
                <a:latin typeface="Helvetica" panose="020B0604020202020204" pitchFamily="34" charset="0"/>
                <a:ea typeface="Calibri" panose="020F0502020204030204" pitchFamily="34" charset="0"/>
              </a:rPr>
              <a:t>lig</a:t>
            </a:r>
            <a:r>
              <a:rPr lang="en-BE" sz="1800" dirty="0" err="1">
                <a:effectLst/>
                <a:latin typeface="Helvetica" panose="020B0604020202020204" pitchFamily="34" charset="0"/>
                <a:ea typeface="Calibri" panose="020F0502020204030204" pitchFamily="34" charset="0"/>
              </a:rPr>
              <a:t>t</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Volgende</a:t>
            </a:r>
            <a:r>
              <a:rPr lang="en-BE" sz="1800" dirty="0">
                <a:effectLst/>
                <a:latin typeface="Helvetica" panose="020B0604020202020204" pitchFamily="34" charset="0"/>
                <a:ea typeface="Calibri" panose="020F0502020204030204" pitchFamily="34" charset="0"/>
              </a:rPr>
              <a:t> week </a:t>
            </a:r>
            <a:r>
              <a:rPr lang="en-BE" sz="1800" dirty="0" err="1">
                <a:effectLst/>
                <a:latin typeface="Helvetica" panose="020B0604020202020204" pitchFamily="34" charset="0"/>
                <a:ea typeface="Calibri" panose="020F0502020204030204" pitchFamily="34" charset="0"/>
              </a:rPr>
              <a:t>komen</a:t>
            </a:r>
            <a:r>
              <a:rPr lang="en-BE" sz="1800" dirty="0">
                <a:effectLst/>
                <a:latin typeface="Helvetica" panose="020B0604020202020204" pitchFamily="34" charset="0"/>
                <a:ea typeface="Calibri" panose="020F0502020204030204" pitchFamily="34" charset="0"/>
              </a:rPr>
              <a:t> de </a:t>
            </a:r>
            <a:r>
              <a:rPr lang="en-BE" sz="1800" dirty="0" err="1">
                <a:effectLst/>
                <a:latin typeface="Helvetica" panose="020B0604020202020204" pitchFamily="34" charset="0"/>
                <a:ea typeface="Calibri" panose="020F0502020204030204" pitchFamily="34" charset="0"/>
              </a:rPr>
              <a:t>olieproducerend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land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Opec</a:t>
            </a:r>
            <a:r>
              <a:rPr lang="en-BE" sz="1800" dirty="0">
                <a:effectLst/>
                <a:latin typeface="Helvetica" panose="020B0604020202020204" pitchFamily="34" charset="0"/>
                <a:ea typeface="Calibri" panose="020F0502020204030204" pitchFamily="34" charset="0"/>
              </a:rPr>
              <a:t>) weer </a:t>
            </a:r>
            <a:r>
              <a:rPr lang="en-BE" sz="1800" dirty="0" err="1">
                <a:effectLst/>
                <a:latin typeface="Helvetica" panose="020B0604020202020204" pitchFamily="34" charset="0"/>
                <a:ea typeface="Calibri" panose="020F0502020204030204" pitchFamily="34" charset="0"/>
              </a:rPr>
              <a:t>bijeen</a:t>
            </a:r>
            <a:r>
              <a:rPr lang="en-BE" sz="1800" dirty="0">
                <a:effectLst/>
                <a:latin typeface="Helvetica" panose="020B0604020202020204" pitchFamily="34" charset="0"/>
                <a:ea typeface="Calibri" panose="020F0502020204030204" pitchFamily="34" charset="0"/>
              </a:rPr>
              <a:t> om </a:t>
            </a:r>
            <a:r>
              <a:rPr lang="en-BE" sz="1800" dirty="0" err="1">
                <a:effectLst/>
                <a:latin typeface="Helvetica" panose="020B0604020202020204" pitchFamily="34" charset="0"/>
                <a:ea typeface="Calibri" panose="020F0502020204030204" pitchFamily="34" charset="0"/>
              </a:rPr>
              <a:t>zich</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t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buiten</a:t>
            </a:r>
            <a:r>
              <a:rPr lang="en-BE" sz="1800" dirty="0">
                <a:effectLst/>
                <a:latin typeface="Helvetica" panose="020B0604020202020204" pitchFamily="34" charset="0"/>
                <a:ea typeface="Calibri" panose="020F0502020204030204" pitchFamily="34" charset="0"/>
              </a:rPr>
              <a:t> over de </a:t>
            </a:r>
            <a:r>
              <a:rPr lang="en-BE" sz="1800" dirty="0" err="1">
                <a:effectLst/>
                <a:latin typeface="Helvetica" panose="020B0604020202020204" pitchFamily="34" charset="0"/>
                <a:ea typeface="Calibri" panose="020F0502020204030204" pitchFamily="34" charset="0"/>
              </a:rPr>
              <a:t>productie</a:t>
            </a:r>
            <a:r>
              <a:rPr lang="en-BE" sz="1800" dirty="0">
                <a:effectLst/>
                <a:latin typeface="Helvetica" panose="020B0604020202020204" pitchFamily="34" charset="0"/>
                <a:ea typeface="Calibri" panose="020F0502020204030204" pitchFamily="34" charset="0"/>
              </a:rPr>
              <a:t> in de </a:t>
            </a:r>
            <a:r>
              <a:rPr lang="en-BE" sz="1800" dirty="0" err="1">
                <a:effectLst/>
                <a:latin typeface="Helvetica" panose="020B0604020202020204" pitchFamily="34" charset="0"/>
                <a:ea typeface="Calibri" panose="020F0502020204030204" pitchFamily="34" charset="0"/>
              </a:rPr>
              <a:t>tweed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jaarhelft</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volgens</a:t>
            </a:r>
            <a:r>
              <a:rPr lang="en-BE" sz="1800" dirty="0">
                <a:effectLst/>
                <a:latin typeface="Helvetica" panose="020B0604020202020204" pitchFamily="34" charset="0"/>
                <a:ea typeface="Calibri" panose="020F0502020204030204" pitchFamily="34" charset="0"/>
              </a:rPr>
              <a:t> bin Salman "</a:t>
            </a:r>
            <a:r>
              <a:rPr lang="en-BE" sz="1800" dirty="0" err="1">
                <a:effectLst/>
                <a:latin typeface="Helvetica" panose="020B0604020202020204" pitchFamily="34" charset="0"/>
                <a:ea typeface="Calibri" panose="020F0502020204030204" pitchFamily="34" charset="0"/>
              </a:rPr>
              <a:t>passen</a:t>
            </a:r>
            <a:r>
              <a:rPr lang="en-BE" sz="1800" dirty="0">
                <a:effectLst/>
                <a:latin typeface="Helvetica" panose="020B0604020202020204" pitchFamily="34" charset="0"/>
                <a:ea typeface="Calibri" panose="020F0502020204030204" pitchFamily="34" charset="0"/>
              </a:rPr>
              <a:t> de </a:t>
            </a:r>
            <a:r>
              <a:rPr lang="en-BE" sz="1800" dirty="0" err="1">
                <a:effectLst/>
                <a:latin typeface="Helvetica" panose="020B0604020202020204" pitchFamily="34" charset="0"/>
                <a:ea typeface="Calibri" panose="020F0502020204030204" pitchFamily="34" charset="0"/>
              </a:rPr>
              <a:t>speculanten</a:t>
            </a:r>
            <a:r>
              <a:rPr lang="en-BE" sz="1800" dirty="0">
                <a:effectLst/>
                <a:latin typeface="Helvetica" panose="020B0604020202020204" pitchFamily="34" charset="0"/>
                <a:ea typeface="Calibri" panose="020F0502020204030204" pitchFamily="34" charset="0"/>
              </a:rPr>
              <a:t> maar </a:t>
            </a:r>
            <a:r>
              <a:rPr lang="en-BE" sz="1800" dirty="0" err="1">
                <a:effectLst/>
                <a:latin typeface="Helvetica" panose="020B0604020202020204" pitchFamily="34" charset="0"/>
                <a:ea typeface="Calibri" panose="020F0502020204030204" pitchFamily="34" charset="0"/>
              </a:rPr>
              <a:t>beter</a:t>
            </a:r>
            <a:r>
              <a:rPr lang="en-BE" sz="1800" dirty="0">
                <a:effectLst/>
                <a:latin typeface="Helvetica" panose="020B0604020202020204" pitchFamily="34" charset="0"/>
                <a:ea typeface="Calibri" panose="020F0502020204030204" pitchFamily="34" charset="0"/>
              </a:rPr>
              <a:t> op". </a:t>
            </a:r>
            <a:r>
              <a:rPr lang="en-BE" sz="1800" dirty="0" err="1">
                <a:effectLst/>
                <a:highlight>
                  <a:srgbClr val="FFFF00"/>
                </a:highlight>
                <a:latin typeface="Helvetica" panose="020B0604020202020204" pitchFamily="34" charset="0"/>
                <a:ea typeface="Calibri" panose="020F0502020204030204" pitchFamily="34" charset="0"/>
              </a:rPr>
              <a:t>Mogelijk</a:t>
            </a:r>
            <a:r>
              <a:rPr lang="en-BE" sz="1800" dirty="0">
                <a:effectLst/>
                <a:highlight>
                  <a:srgbClr val="FFFF00"/>
                </a:highlight>
                <a:latin typeface="Helvetica" panose="020B0604020202020204" pitchFamily="34" charset="0"/>
                <a:ea typeface="Calibri" panose="020F0502020204030204" pitchFamily="34" charset="0"/>
              </a:rPr>
              <a:t> </a:t>
            </a:r>
            <a:r>
              <a:rPr lang="en-BE" sz="1800" dirty="0" err="1">
                <a:effectLst/>
                <a:highlight>
                  <a:srgbClr val="FFFF00"/>
                </a:highlight>
                <a:latin typeface="Helvetica" panose="020B0604020202020204" pitchFamily="34" charset="0"/>
                <a:ea typeface="Calibri" panose="020F0502020204030204" pitchFamily="34" charset="0"/>
              </a:rPr>
              <a:t>wordt</a:t>
            </a:r>
            <a:r>
              <a:rPr lang="en-BE" sz="1800" dirty="0">
                <a:effectLst/>
                <a:highlight>
                  <a:srgbClr val="FFFF00"/>
                </a:highlight>
                <a:latin typeface="Helvetica" panose="020B0604020202020204" pitchFamily="34" charset="0"/>
                <a:ea typeface="Calibri" panose="020F0502020204030204" pitchFamily="34" charset="0"/>
              </a:rPr>
              <a:t> er </a:t>
            </a:r>
            <a:r>
              <a:rPr lang="en-BE" sz="1800" dirty="0" err="1">
                <a:effectLst/>
                <a:highlight>
                  <a:srgbClr val="FFFF00"/>
                </a:highlight>
                <a:latin typeface="Helvetica" panose="020B0604020202020204" pitchFamily="34" charset="0"/>
                <a:ea typeface="Calibri" panose="020F0502020204030204" pitchFamily="34" charset="0"/>
              </a:rPr>
              <a:t>dus</a:t>
            </a:r>
            <a:r>
              <a:rPr lang="en-BE" sz="1800" dirty="0">
                <a:effectLst/>
                <a:highlight>
                  <a:srgbClr val="FFFF00"/>
                </a:highlight>
                <a:latin typeface="Helvetica" panose="020B0604020202020204" pitchFamily="34" charset="0"/>
                <a:ea typeface="Calibri" panose="020F0502020204030204" pitchFamily="34" charset="0"/>
              </a:rPr>
              <a:t> </a:t>
            </a:r>
            <a:r>
              <a:rPr lang="en-BE" sz="1800" dirty="0" err="1">
                <a:effectLst/>
                <a:highlight>
                  <a:srgbClr val="FFFF00"/>
                </a:highlight>
                <a:latin typeface="Helvetica" panose="020B0604020202020204" pitchFamily="34" charset="0"/>
                <a:ea typeface="Calibri" panose="020F0502020204030204" pitchFamily="34" charset="0"/>
              </a:rPr>
              <a:t>opnieuw</a:t>
            </a:r>
            <a:r>
              <a:rPr lang="en-BE" sz="1800" dirty="0">
                <a:effectLst/>
                <a:highlight>
                  <a:srgbClr val="FFFF00"/>
                </a:highlight>
                <a:latin typeface="Helvetica" panose="020B0604020202020204" pitchFamily="34" charset="0"/>
                <a:ea typeface="Calibri" panose="020F0502020204030204" pitchFamily="34" charset="0"/>
              </a:rPr>
              <a:t> </a:t>
            </a:r>
            <a:r>
              <a:rPr lang="en-BE" sz="1800" dirty="0" err="1">
                <a:effectLst/>
                <a:highlight>
                  <a:srgbClr val="FFFF00"/>
                </a:highlight>
                <a:latin typeface="Helvetica" panose="020B0604020202020204" pitchFamily="34" charset="0"/>
                <a:ea typeface="Calibri" panose="020F0502020204030204" pitchFamily="34" charset="0"/>
              </a:rPr>
              <a:t>gesnoeid</a:t>
            </a:r>
            <a:r>
              <a:rPr lang="en-BE" sz="1800" dirty="0">
                <a:effectLst/>
                <a:highlight>
                  <a:srgbClr val="FFFF00"/>
                </a:highlight>
                <a:latin typeface="Helvetica" panose="020B0604020202020204" pitchFamily="34" charset="0"/>
                <a:ea typeface="Calibri" panose="020F0502020204030204" pitchFamily="34" charset="0"/>
              </a:rPr>
              <a:t> in de </a:t>
            </a:r>
            <a:r>
              <a:rPr lang="en-BE" sz="1800" dirty="0" err="1">
                <a:effectLst/>
                <a:highlight>
                  <a:srgbClr val="FFFF00"/>
                </a:highlight>
                <a:latin typeface="Helvetica" panose="020B0604020202020204" pitchFamily="34" charset="0"/>
                <a:ea typeface="Calibri" panose="020F0502020204030204" pitchFamily="34" charset="0"/>
              </a:rPr>
              <a:t>productie</a:t>
            </a:r>
            <a:r>
              <a:rPr lang="en-BE" sz="1800" dirty="0">
                <a:effectLst/>
                <a:highlight>
                  <a:srgbClr val="FFFF00"/>
                </a:highlight>
                <a:latin typeface="Helvetica" panose="020B0604020202020204" pitchFamily="34" charset="0"/>
                <a:ea typeface="Calibri" panose="020F0502020204030204" pitchFamily="34" charset="0"/>
              </a:rPr>
              <a:t>.</a:t>
            </a:r>
            <a:endParaRPr lang="en-BE" sz="1800" dirty="0">
              <a:effectLst/>
              <a:highlight>
                <a:srgbClr val="FFFF00"/>
              </a:highlight>
              <a:latin typeface="Calibri" panose="020F0502020204030204" pitchFamily="34" charset="0"/>
              <a:ea typeface="Calibri" panose="020F0502020204030204" pitchFamily="34" charset="0"/>
            </a:endParaRPr>
          </a:p>
          <a:p>
            <a:pPr>
              <a:spcAft>
                <a:spcPts val="750"/>
              </a:spcAft>
            </a:pPr>
            <a:r>
              <a:rPr lang="en-BE" sz="1800" dirty="0">
                <a:effectLst/>
                <a:latin typeface="Helvetica" panose="020B0604020202020204" pitchFamily="34" charset="0"/>
                <a:ea typeface="Calibri" panose="020F0502020204030204" pitchFamily="34" charset="0"/>
              </a:rPr>
              <a:t>Het </a:t>
            </a:r>
            <a:r>
              <a:rPr lang="en-BE" sz="1800" dirty="0" err="1">
                <a:effectLst/>
                <a:latin typeface="Helvetica" panose="020B0604020202020204" pitchFamily="34" charset="0"/>
                <a:ea typeface="Calibri" panose="020F0502020204030204" pitchFamily="34" charset="0"/>
              </a:rPr>
              <a:t>Russisch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staatsgasconcern</a:t>
            </a:r>
            <a:r>
              <a:rPr lang="en-BE" sz="1800" dirty="0">
                <a:effectLst/>
                <a:latin typeface="Helvetica" panose="020B0604020202020204" pitchFamily="34" charset="0"/>
                <a:ea typeface="Calibri" panose="020F0502020204030204" pitchFamily="34" charset="0"/>
              </a:rPr>
              <a:t> Gazprom </a:t>
            </a:r>
            <a:r>
              <a:rPr lang="en-BE" sz="1800" dirty="0" err="1">
                <a:effectLst/>
                <a:latin typeface="Helvetica" panose="020B0604020202020204" pitchFamily="34" charset="0"/>
                <a:ea typeface="Calibri" panose="020F0502020204030204" pitchFamily="34" charset="0"/>
              </a:rPr>
              <a:t>waarschuwd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vorig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maand</a:t>
            </a:r>
            <a:r>
              <a:rPr lang="en-BE" sz="1800" dirty="0">
                <a:effectLst/>
                <a:latin typeface="Helvetica" panose="020B0604020202020204" pitchFamily="34" charset="0"/>
                <a:ea typeface="Calibri" panose="020F0502020204030204" pitchFamily="34" charset="0"/>
              </a:rPr>
              <a:t> al </a:t>
            </a:r>
            <a:r>
              <a:rPr lang="en-BE" sz="1800" dirty="0" err="1">
                <a:effectLst/>
                <a:latin typeface="Helvetica" panose="020B0604020202020204" pitchFamily="34" charset="0"/>
                <a:ea typeface="Calibri" panose="020F0502020204030204" pitchFamily="34" charset="0"/>
              </a:rPr>
              <a:t>dat</a:t>
            </a:r>
            <a:r>
              <a:rPr lang="en-BE" sz="1800" dirty="0">
                <a:effectLst/>
                <a:latin typeface="Helvetica" panose="020B0604020202020204" pitchFamily="34" charset="0"/>
                <a:ea typeface="Calibri" panose="020F0502020204030204" pitchFamily="34" charset="0"/>
              </a:rPr>
              <a:t> Europa het </a:t>
            </a:r>
            <a:r>
              <a:rPr lang="en-BE" sz="1800" dirty="0" err="1">
                <a:effectLst/>
                <a:latin typeface="Helvetica" panose="020B0604020202020204" pitchFamily="34" charset="0"/>
                <a:ea typeface="Calibri" panose="020F0502020204030204" pitchFamily="34" charset="0"/>
              </a:rPr>
              <a:t>moeilijk</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zal</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krijgen</a:t>
            </a:r>
            <a:r>
              <a:rPr lang="en-BE" sz="1800" dirty="0">
                <a:effectLst/>
                <a:latin typeface="Helvetica" panose="020B0604020202020204" pitchFamily="34" charset="0"/>
                <a:ea typeface="Calibri" panose="020F0502020204030204" pitchFamily="34" charset="0"/>
              </a:rPr>
              <a:t> met het </a:t>
            </a:r>
            <a:r>
              <a:rPr lang="en-BE" sz="1800" dirty="0" err="1">
                <a:effectLst/>
                <a:latin typeface="Helvetica" panose="020B0604020202020204" pitchFamily="34" charset="0"/>
                <a:ea typeface="Calibri" panose="020F0502020204030204" pitchFamily="34" charset="0"/>
              </a:rPr>
              <a:t>aanvullen</a:t>
            </a:r>
            <a:r>
              <a:rPr lang="en-BE" sz="1800" dirty="0">
                <a:effectLst/>
                <a:latin typeface="Helvetica" panose="020B0604020202020204" pitchFamily="34" charset="0"/>
                <a:ea typeface="Calibri" panose="020F0502020204030204" pitchFamily="34" charset="0"/>
              </a:rPr>
              <a:t> van de </a:t>
            </a:r>
            <a:r>
              <a:rPr lang="en-BE" sz="1800" dirty="0" err="1">
                <a:effectLst/>
                <a:latin typeface="Helvetica" panose="020B0604020202020204" pitchFamily="34" charset="0"/>
                <a:ea typeface="Calibri" panose="020F0502020204030204" pitchFamily="34" charset="0"/>
              </a:rPr>
              <a:t>gasvoorrad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voor</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komende</a:t>
            </a:r>
            <a:r>
              <a:rPr lang="en-BE" sz="1800" dirty="0">
                <a:effectLst/>
                <a:latin typeface="Helvetica" panose="020B0604020202020204" pitchFamily="34" charset="0"/>
                <a:ea typeface="Calibri" panose="020F0502020204030204" pitchFamily="34" charset="0"/>
              </a:rPr>
              <a:t> winter. Door de </a:t>
            </a:r>
            <a:r>
              <a:rPr lang="en-BE" sz="1800" dirty="0" err="1">
                <a:effectLst/>
                <a:latin typeface="Helvetica" panose="020B0604020202020204" pitchFamily="34" charset="0"/>
                <a:ea typeface="Calibri" panose="020F0502020204030204" pitchFamily="34" charset="0"/>
              </a:rPr>
              <a:t>oorlog</a:t>
            </a:r>
            <a:r>
              <a:rPr lang="en-BE" sz="1800" dirty="0">
                <a:effectLst/>
                <a:latin typeface="Helvetica" panose="020B0604020202020204" pitchFamily="34" charset="0"/>
                <a:ea typeface="Calibri" panose="020F0502020204030204" pitchFamily="34" charset="0"/>
              </a:rPr>
              <a:t> in </a:t>
            </a:r>
            <a:r>
              <a:rPr lang="en-BE" sz="1800" dirty="0" err="1">
                <a:effectLst/>
                <a:latin typeface="Helvetica" panose="020B0604020202020204" pitchFamily="34" charset="0"/>
                <a:ea typeface="Calibri" panose="020F0502020204030204" pitchFamily="34" charset="0"/>
              </a:rPr>
              <a:t>Oekraïne</a:t>
            </a:r>
            <a:r>
              <a:rPr lang="en-BE" sz="1800" dirty="0">
                <a:effectLst/>
                <a:latin typeface="Helvetica" panose="020B0604020202020204" pitchFamily="34" charset="0"/>
                <a:ea typeface="Calibri" panose="020F0502020204030204" pitchFamily="34" charset="0"/>
              </a:rPr>
              <a:t> is Europa </a:t>
            </a:r>
            <a:r>
              <a:rPr lang="en-BE" sz="1800" dirty="0" err="1">
                <a:effectLst/>
                <a:latin typeface="Helvetica" panose="020B0604020202020204" pitchFamily="34" charset="0"/>
                <a:ea typeface="Calibri" panose="020F0502020204030204" pitchFamily="34" charset="0"/>
              </a:rPr>
              <a:t>namelijk</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grotendeels</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afgestapt</a:t>
            </a:r>
            <a:r>
              <a:rPr lang="en-BE" sz="1800" dirty="0">
                <a:effectLst/>
                <a:latin typeface="Helvetica" panose="020B0604020202020204" pitchFamily="34" charset="0"/>
                <a:ea typeface="Calibri" panose="020F0502020204030204" pitchFamily="34" charset="0"/>
              </a:rPr>
              <a:t> van </a:t>
            </a:r>
            <a:r>
              <a:rPr lang="en-BE" sz="1800" dirty="0" err="1">
                <a:effectLst/>
                <a:latin typeface="Helvetica" panose="020B0604020202020204" pitchFamily="34" charset="0"/>
                <a:ea typeface="Calibri" panose="020F0502020204030204" pitchFamily="34" charset="0"/>
              </a:rPr>
              <a:t>Russisch</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aardgas</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Dankzij</a:t>
            </a:r>
            <a:r>
              <a:rPr lang="en-BE" sz="1800" dirty="0">
                <a:effectLst/>
                <a:latin typeface="Helvetica" panose="020B0604020202020204" pitchFamily="34" charset="0"/>
                <a:ea typeface="Calibri" panose="020F0502020204030204" pitchFamily="34" charset="0"/>
              </a:rPr>
              <a:t> het </a:t>
            </a:r>
            <a:r>
              <a:rPr lang="en-BE" sz="1800" dirty="0" err="1">
                <a:effectLst/>
                <a:latin typeface="Helvetica" panose="020B0604020202020204" pitchFamily="34" charset="0"/>
                <a:ea typeface="Calibri" panose="020F0502020204030204" pitchFamily="34" charset="0"/>
              </a:rPr>
              <a:t>mild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winterweer</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e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fors</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toegenomen</a:t>
            </a:r>
            <a:r>
              <a:rPr lang="en-BE" sz="1800" dirty="0">
                <a:effectLst/>
                <a:latin typeface="Helvetica" panose="020B0604020202020204" pitchFamily="34" charset="0"/>
                <a:ea typeface="Calibri" panose="020F0502020204030204" pitchFamily="34" charset="0"/>
              </a:rPr>
              <a:t> import van </a:t>
            </a:r>
            <a:r>
              <a:rPr lang="en-BE" sz="1800" dirty="0" err="1">
                <a:effectLst/>
                <a:latin typeface="Helvetica" panose="020B0604020202020204" pitchFamily="34" charset="0"/>
                <a:ea typeface="Calibri" panose="020F0502020204030204" pitchFamily="34" charset="0"/>
              </a:rPr>
              <a:t>vloeibaar</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gemaakt</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aardgas</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lng</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uit</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ander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land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konden</a:t>
            </a:r>
            <a:r>
              <a:rPr lang="en-BE" sz="1800" dirty="0">
                <a:effectLst/>
                <a:latin typeface="Helvetica" panose="020B0604020202020204" pitchFamily="34" charset="0"/>
                <a:ea typeface="Calibri" panose="020F0502020204030204" pitchFamily="34" charset="0"/>
              </a:rPr>
              <a:t> de </a:t>
            </a:r>
            <a:r>
              <a:rPr lang="en-BE" sz="1800" dirty="0" err="1">
                <a:effectLst/>
                <a:latin typeface="Helvetica" panose="020B0604020202020204" pitchFamily="34" charset="0"/>
                <a:ea typeface="Calibri" panose="020F0502020204030204" pitchFamily="34" charset="0"/>
              </a:rPr>
              <a:t>gasvoorraden</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wel</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voldoende</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gevuld</a:t>
            </a:r>
            <a:r>
              <a:rPr lang="en-BE" sz="1800" dirty="0">
                <a:effectLst/>
                <a:latin typeface="Helvetica" panose="020B0604020202020204" pitchFamily="34" charset="0"/>
                <a:ea typeface="Calibri" panose="020F0502020204030204" pitchFamily="34" charset="0"/>
              </a:rPr>
              <a:t> </a:t>
            </a:r>
            <a:r>
              <a:rPr lang="en-BE" sz="1800" dirty="0" err="1">
                <a:effectLst/>
                <a:latin typeface="Helvetica" panose="020B0604020202020204" pitchFamily="34" charset="0"/>
                <a:ea typeface="Calibri" panose="020F0502020204030204" pitchFamily="34" charset="0"/>
              </a:rPr>
              <a:t>worden</a:t>
            </a:r>
            <a:r>
              <a:rPr lang="en-BE" sz="1800" dirty="0">
                <a:effectLst/>
                <a:latin typeface="Helvetica" panose="020B0604020202020204" pitchFamily="34" charset="0"/>
                <a:ea typeface="Calibri" panose="020F0502020204030204" pitchFamily="34" charset="0"/>
              </a:rPr>
              <a:t>.</a:t>
            </a:r>
            <a:endParaRPr lang="en-BE" sz="1800" dirty="0">
              <a:effectLst/>
              <a:latin typeface="Calibri" panose="020F0502020204030204" pitchFamily="34" charset="0"/>
              <a:ea typeface="Calibri" panose="020F0502020204030204" pitchFamily="34" charset="0"/>
            </a:endParaRPr>
          </a:p>
          <a:p>
            <a:endParaRPr lang="en-BE" dirty="0"/>
          </a:p>
        </p:txBody>
      </p:sp>
      <p:sp>
        <p:nvSpPr>
          <p:cNvPr id="3" name="Date Placeholder 2">
            <a:extLst>
              <a:ext uri="{FF2B5EF4-FFF2-40B4-BE49-F238E27FC236}">
                <a16:creationId xmlns:a16="http://schemas.microsoft.com/office/drawing/2014/main" id="{FDC3B63C-1918-A3EA-3E2A-17097B5EFB10}"/>
              </a:ext>
            </a:extLst>
          </p:cNvPr>
          <p:cNvSpPr>
            <a:spLocks noGrp="1"/>
          </p:cNvSpPr>
          <p:nvPr>
            <p:ph type="dt" sz="half" idx="10"/>
          </p:nvPr>
        </p:nvSpPr>
        <p:spPr/>
        <p:txBody>
          <a:bodyPr/>
          <a:lstStyle/>
          <a:p>
            <a:fld id="{68D80C0F-9C3E-4349-8766-2C60FFEA92D8}" type="datetime1">
              <a:rPr lang="nl-BE" smtClean="0"/>
              <a:pPr/>
              <a:t>30/05/2023</a:t>
            </a:fld>
            <a:endParaRPr lang="nl-BE" dirty="0"/>
          </a:p>
        </p:txBody>
      </p:sp>
      <p:sp>
        <p:nvSpPr>
          <p:cNvPr id="4" name="Footer Placeholder 3">
            <a:extLst>
              <a:ext uri="{FF2B5EF4-FFF2-40B4-BE49-F238E27FC236}">
                <a16:creationId xmlns:a16="http://schemas.microsoft.com/office/drawing/2014/main" id="{DBEFB455-BE1B-DBFC-3BAB-19031D53D157}"/>
              </a:ext>
            </a:extLst>
          </p:cNvPr>
          <p:cNvSpPr>
            <a:spLocks noGrp="1"/>
          </p:cNvSpPr>
          <p:nvPr>
            <p:ph type="ftr" sz="quarter" idx="11"/>
          </p:nvPr>
        </p:nvSpPr>
        <p:spPr/>
        <p:txBody>
          <a:bodyPr/>
          <a:lstStyle/>
          <a:p>
            <a:endParaRPr lang="nl-BE" dirty="0"/>
          </a:p>
        </p:txBody>
      </p:sp>
      <p:sp>
        <p:nvSpPr>
          <p:cNvPr id="5" name="Slide Number Placeholder 4">
            <a:extLst>
              <a:ext uri="{FF2B5EF4-FFF2-40B4-BE49-F238E27FC236}">
                <a16:creationId xmlns:a16="http://schemas.microsoft.com/office/drawing/2014/main" id="{D9B3EEC5-59B2-D5C2-8034-CAA195B77148}"/>
              </a:ext>
            </a:extLst>
          </p:cNvPr>
          <p:cNvSpPr>
            <a:spLocks noGrp="1"/>
          </p:cNvSpPr>
          <p:nvPr>
            <p:ph type="sldNum" sz="quarter" idx="12"/>
          </p:nvPr>
        </p:nvSpPr>
        <p:spPr/>
        <p:txBody>
          <a:bodyPr/>
          <a:lstStyle/>
          <a:p>
            <a:fld id="{9BE375CD-4755-4D83-B134-E6AD5007676A}" type="slidenum">
              <a:rPr lang="nl-BE" smtClean="0"/>
              <a:pPr/>
              <a:t>7</a:t>
            </a:fld>
            <a:endParaRPr lang="nl-BE" dirty="0"/>
          </a:p>
        </p:txBody>
      </p:sp>
    </p:spTree>
    <p:extLst>
      <p:ext uri="{BB962C8B-B14F-4D97-AF65-F5344CB8AC3E}">
        <p14:creationId xmlns:p14="http://schemas.microsoft.com/office/powerpoint/2010/main" val="17110472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CC087-63DB-4EF9-2A0F-0E8732DA0600}"/>
              </a:ext>
            </a:extLst>
          </p:cNvPr>
          <p:cNvSpPr>
            <a:spLocks noGrp="1"/>
          </p:cNvSpPr>
          <p:nvPr>
            <p:ph type="title"/>
          </p:nvPr>
        </p:nvSpPr>
        <p:spPr/>
        <p:txBody>
          <a:bodyPr/>
          <a:lstStyle/>
          <a:p>
            <a:r>
              <a:rPr lang="en-GB" dirty="0"/>
              <a:t>Gas prices – alignment with JPN - </a:t>
            </a:r>
            <a:r>
              <a:rPr lang="en-GB" dirty="0" err="1"/>
              <a:t>korea</a:t>
            </a:r>
            <a:endParaRPr lang="en-BE" dirty="0"/>
          </a:p>
        </p:txBody>
      </p:sp>
      <p:sp>
        <p:nvSpPr>
          <p:cNvPr id="3" name="Content Placeholder 2">
            <a:extLst>
              <a:ext uri="{FF2B5EF4-FFF2-40B4-BE49-F238E27FC236}">
                <a16:creationId xmlns:a16="http://schemas.microsoft.com/office/drawing/2014/main" id="{BE3451D3-1D40-25E6-5B4E-FBE11171A616}"/>
              </a:ext>
            </a:extLst>
          </p:cNvPr>
          <p:cNvSpPr>
            <a:spLocks noGrp="1"/>
          </p:cNvSpPr>
          <p:nvPr>
            <p:ph idx="1"/>
          </p:nvPr>
        </p:nvSpPr>
        <p:spPr>
          <a:xfrm>
            <a:off x="609600" y="1623061"/>
            <a:ext cx="4262264" cy="4525963"/>
          </a:xfrm>
        </p:spPr>
        <p:txBody>
          <a:bodyPr/>
          <a:lstStyle/>
          <a:p>
            <a:r>
              <a:rPr lang="en-GB" dirty="0"/>
              <a:t>Competition: Large price difference with US</a:t>
            </a:r>
          </a:p>
          <a:p>
            <a:r>
              <a:rPr lang="en-GB" dirty="0"/>
              <a:t>Competition for LNG with other importing countries</a:t>
            </a:r>
          </a:p>
          <a:p>
            <a:r>
              <a:rPr lang="en-GB" dirty="0"/>
              <a:t>Long term contracts? </a:t>
            </a:r>
          </a:p>
          <a:p>
            <a:endParaRPr lang="en-BE" dirty="0"/>
          </a:p>
        </p:txBody>
      </p:sp>
      <p:sp>
        <p:nvSpPr>
          <p:cNvPr id="4" name="Date Placeholder 3">
            <a:extLst>
              <a:ext uri="{FF2B5EF4-FFF2-40B4-BE49-F238E27FC236}">
                <a16:creationId xmlns:a16="http://schemas.microsoft.com/office/drawing/2014/main" id="{6F0185F1-5904-FDCB-9D51-F062CE1457E2}"/>
              </a:ext>
            </a:extLst>
          </p:cNvPr>
          <p:cNvSpPr>
            <a:spLocks noGrp="1"/>
          </p:cNvSpPr>
          <p:nvPr>
            <p:ph type="dt" sz="half" idx="10"/>
          </p:nvPr>
        </p:nvSpPr>
        <p:spPr/>
        <p:txBody>
          <a:bodyPr/>
          <a:lstStyle/>
          <a:p>
            <a:fld id="{A5BF5FAA-1273-48C9-A418-A52A86AE5014}" type="datetime1">
              <a:rPr lang="nl-BE" smtClean="0"/>
              <a:t>30/05/2023</a:t>
            </a:fld>
            <a:endParaRPr lang="nl-BE" dirty="0"/>
          </a:p>
        </p:txBody>
      </p:sp>
      <p:sp>
        <p:nvSpPr>
          <p:cNvPr id="5" name="Footer Placeholder 4">
            <a:extLst>
              <a:ext uri="{FF2B5EF4-FFF2-40B4-BE49-F238E27FC236}">
                <a16:creationId xmlns:a16="http://schemas.microsoft.com/office/drawing/2014/main" id="{625AC599-68A1-CD29-DA3C-58C29E42A1E8}"/>
              </a:ext>
            </a:extLst>
          </p:cNvPr>
          <p:cNvSpPr>
            <a:spLocks noGrp="1"/>
          </p:cNvSpPr>
          <p:nvPr>
            <p:ph type="ftr" sz="quarter" idx="11"/>
          </p:nvPr>
        </p:nvSpPr>
        <p:spPr/>
        <p:txBody>
          <a:bodyPr/>
          <a:lstStyle/>
          <a:p>
            <a:endParaRPr lang="nl-BE" dirty="0"/>
          </a:p>
        </p:txBody>
      </p:sp>
      <p:sp>
        <p:nvSpPr>
          <p:cNvPr id="6" name="Slide Number Placeholder 5">
            <a:extLst>
              <a:ext uri="{FF2B5EF4-FFF2-40B4-BE49-F238E27FC236}">
                <a16:creationId xmlns:a16="http://schemas.microsoft.com/office/drawing/2014/main" id="{2D6C88B1-F611-7A91-1978-E98E3C19C078}"/>
              </a:ext>
            </a:extLst>
          </p:cNvPr>
          <p:cNvSpPr>
            <a:spLocks noGrp="1"/>
          </p:cNvSpPr>
          <p:nvPr>
            <p:ph type="sldNum" sz="quarter" idx="12"/>
          </p:nvPr>
        </p:nvSpPr>
        <p:spPr/>
        <p:txBody>
          <a:bodyPr/>
          <a:lstStyle/>
          <a:p>
            <a:fld id="{9BE375CD-4755-4D83-B134-E6AD5007676A}" type="slidenum">
              <a:rPr lang="nl-BE" smtClean="0"/>
              <a:t>8</a:t>
            </a:fld>
            <a:endParaRPr lang="nl-BE"/>
          </a:p>
        </p:txBody>
      </p:sp>
      <p:pic>
        <p:nvPicPr>
          <p:cNvPr id="8" name="Picture 7">
            <a:extLst>
              <a:ext uri="{FF2B5EF4-FFF2-40B4-BE49-F238E27FC236}">
                <a16:creationId xmlns:a16="http://schemas.microsoft.com/office/drawing/2014/main" id="{8D68DC19-153A-9C4A-806C-332F04342B78}"/>
              </a:ext>
            </a:extLst>
          </p:cNvPr>
          <p:cNvPicPr>
            <a:picLocks noChangeAspect="1"/>
          </p:cNvPicPr>
          <p:nvPr/>
        </p:nvPicPr>
        <p:blipFill>
          <a:blip r:embed="rId2"/>
          <a:stretch>
            <a:fillRect/>
          </a:stretch>
        </p:blipFill>
        <p:spPr>
          <a:xfrm>
            <a:off x="4724008" y="1914070"/>
            <a:ext cx="7467600" cy="3829050"/>
          </a:xfrm>
          <a:prstGeom prst="rect">
            <a:avLst/>
          </a:prstGeom>
        </p:spPr>
      </p:pic>
    </p:spTree>
    <p:extLst>
      <p:ext uri="{BB962C8B-B14F-4D97-AF65-F5344CB8AC3E}">
        <p14:creationId xmlns:p14="http://schemas.microsoft.com/office/powerpoint/2010/main" val="4220812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F815DAB-ABBC-43EF-A67B-49B83DBAB2A3}"/>
              </a:ext>
            </a:extLst>
          </p:cNvPr>
          <p:cNvSpPr>
            <a:spLocks noGrp="1"/>
          </p:cNvSpPr>
          <p:nvPr>
            <p:ph type="title"/>
          </p:nvPr>
        </p:nvSpPr>
        <p:spPr/>
        <p:txBody>
          <a:bodyPr anchor="ctr">
            <a:normAutofit/>
          </a:bodyPr>
          <a:lstStyle/>
          <a:p>
            <a:r>
              <a:rPr lang="en-US"/>
              <a:t>EU GAS supply </a:t>
            </a:r>
            <a:r>
              <a:rPr lang="en-US" dirty="0"/>
              <a:t>demand balance – sobriety needed to maintain balance </a:t>
            </a:r>
          </a:p>
        </p:txBody>
      </p:sp>
      <p:sp>
        <p:nvSpPr>
          <p:cNvPr id="5" name="Tijdelijke aanduiding voor dianummer 4">
            <a:extLst>
              <a:ext uri="{FF2B5EF4-FFF2-40B4-BE49-F238E27FC236}">
                <a16:creationId xmlns:a16="http://schemas.microsoft.com/office/drawing/2014/main" id="{B9B95A1C-BC9E-41C7-9C9E-29B3167863E1}"/>
              </a:ext>
            </a:extLst>
          </p:cNvPr>
          <p:cNvSpPr>
            <a:spLocks noGrp="1"/>
          </p:cNvSpPr>
          <p:nvPr>
            <p:ph type="sldNum" sz="quarter" idx="12"/>
          </p:nvPr>
        </p:nvSpPr>
        <p:spPr/>
        <p:txBody>
          <a:bodyPr wrap="square">
            <a:normAutofit/>
          </a:bodyPr>
          <a:lstStyle/>
          <a:p>
            <a:pPr>
              <a:spcAft>
                <a:spcPts val="800"/>
              </a:spcAft>
            </a:pPr>
            <a:fld id="{B6F15528-21DE-4FAA-801E-634DDDAF4B2B}" type="slidenum">
              <a:rPr lang="nl-BE" smtClean="0"/>
              <a:pPr>
                <a:spcAft>
                  <a:spcPts val="800"/>
                </a:spcAft>
              </a:pPr>
              <a:t>9</a:t>
            </a:fld>
            <a:endParaRPr lang="nl-BE"/>
          </a:p>
        </p:txBody>
      </p:sp>
      <p:graphicFrame>
        <p:nvGraphicFramePr>
          <p:cNvPr id="6" name="Chart 5">
            <a:extLst>
              <a:ext uri="{FF2B5EF4-FFF2-40B4-BE49-F238E27FC236}">
                <a16:creationId xmlns:a16="http://schemas.microsoft.com/office/drawing/2014/main" id="{0E79B172-B21B-4C62-BD81-743765A799AC}"/>
              </a:ext>
            </a:extLst>
          </p:cNvPr>
          <p:cNvGraphicFramePr>
            <a:graphicFrameLocks/>
          </p:cNvGraphicFramePr>
          <p:nvPr>
            <p:extLst>
              <p:ext uri="{D42A27DB-BD31-4B8C-83A1-F6EECF244321}">
                <p14:modId xmlns:p14="http://schemas.microsoft.com/office/powerpoint/2010/main" val="348724136"/>
              </p:ext>
            </p:extLst>
          </p:nvPr>
        </p:nvGraphicFramePr>
        <p:xfrm>
          <a:off x="599726" y="1484784"/>
          <a:ext cx="10871200" cy="441748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30661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1K2Ks2v6SNW40XvTg0Kn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pBlSrdy9pVfkZDW26S8W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wFC5BBjUkThpDBOPmUGT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4EMLd7ELWyehfUpYo1_v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tnnfvWvTkqs28WEtgq_K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QaNU.a5vgwOBY9H4OzrD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VaCF5w6yPXU.gonWfoO6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VaCF5w6yPXU.gonWfoO6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cVaCF5w6yPXU.gonWfoO6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VaCF5w6yPXU.gonWfoO6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VaCF5w6yPXU.gonWfoO6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rRVBALm1KfhZQYw7CJLD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cVaCF5w6yPXU.gonWfoO6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VaCF5w6yPXU.gonWfoO6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uHLuXGaBFrtvoe9YM1aW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J9olAgF1zTl2bbIJnxXm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4OW78ANhOs1DfT..hSV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ee3L6HI6G5JymtDNgzx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KM6sDR2owqmh9QG2sH13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33EKthVOlvccQG8C_8v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fj9mqUNmeVV_c0QlpMr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KLz9T9e5FKfn_X5PShC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YMtXsddhu1RsT5HiInR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zsBaLKd.usDpkGQ5x01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u5tXT4bteo975jztRWu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riIhPUC5nEO1vHVTLXs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Cl3NXBL1SznOE_eiBOPC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yFTmJMnJ9dUWTZrdTBk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HzACNU9uFhGXRQ1Bb5P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Zhl.kST8nHC8Ujk_aRU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Boacb7ZJK1qpkiw6a6Z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GVuzzN2mMe8KbyqX.iu6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DVKLDV7NNlgGGHeTRpz4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743aMjzVSlQTr811CGF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Rg7VnExerZaZ3_.9UcG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gSnq4OgjVMGPNiqFud55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CqiyjIHbVZNX8g2O5OH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IAAPsTpJE3fh0d0HYh1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zTVNtEJ98iVyalpUwz0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jKRKDaPBFUPTG9Wo5Vt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yniK_MdYiHy7.vSNguX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b5Aki7uv581_xa1vTpc3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GnImyvYdMRiMryboEgY.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vjlLYM9AqwK8gAdSLIP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s7MQ2CbZbKDgfY2a2Oy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dLdIWC_BkQQwKCDMLu_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kPBSci53VljY6hJGTO.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cprWrQdHK.x.AiKJVA8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3pFttdGKxYQ8WOxRPWVMm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RVOhB6sAtXtj5SdhfWBb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46Ji2sDNShws5uoVk9y4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geLPj4m_rJeOuLei6Ls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6TWIYM0Exbd1bR0wMpHR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oaVOT7d9RdD7JvnRUZt1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4QlDr7xjT9vQJO2Pyd1.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OKWYfzrvEX4x5gFSLRc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4gm7sY1HbL9Bjod58u4V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RZxf_53PAdWfjKzTT6eb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RpoQiTlC6n_r394GYIg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O1F6PoR.1HsD6zq_AGT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vk429v4q_gjxh7Uq_TY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hq__E6jUHTI9jQXEMjL1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e9JrnpkjTdkUWDRlqtb9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yrnBIuCAMYAKfnkaUqhp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tqFelBqlaYlP4P_EFGb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r2_TXyieOYpiWa.zYPGc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b7n5ESad4rgGOVyy.DV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AnQQvc_i9D7if1w9blDL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pa7m0mkE2eoau4x8pnK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tu5cXpJ1UybAUwkmTq3S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7Hc4TQsQh29LYWLr92_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rpEZXN7M_TZHgf_y8hp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6RzwYhwwcU8bvfa6gG2h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9eaepubJHOAJlhIfyoU7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Nj3v3ofQcMwQN7zaTRt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diu.tPXSq.AhRttu_AFq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66pybpI9rkNVI.zOw21o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YERtkVda0bi94qUFkpM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ba7tUxXrIDw8.86KQsD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OtPNnJL4_MJOT7wPPwkB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ptxJ440qulKbvkPHtiS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svO10_j1hpoT0JcrjOw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fostawI_GeU4x4QuiwIC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ZL1mWruSLOuKzmzXCZr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GkLzdyCgNThfEEEctgql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Ogqpk6OegxdGc.C_RvV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tg9DldnS2OtbDfrJ5Gpx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lmMrKzNkSKaB6ub4gDp5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HU8fhLGA71L3.HOD1sUC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9Nbn1zabKeVsZoWlc3KU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sYJW.KPZFhv92tQzQbW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Sw6ANnFx8mU5kG_E0FV9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F82dcaV32J9b5ozos5I7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m4UA2wvn6YwHxHP0y.w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kgJvP.d5TEE.yOB3gw4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Sl9jOozCxwWQZMI2SKIW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UVieiEr.lP3azt_fdKS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iSOjmNGKJEEg2EZmXTN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smmm1urKxpggmn__0kVq9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aE0MqSTX.kje_q2Keks9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FinyS4GJBRhxm9l78r20C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9jYE7_h.Tl0jcD7p8x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pIqM6OMmrqQCsOGC.Vw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zq0eXYP1MMzdG9vddWhP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3BV.H.aSFADHPFprvFceY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iGzKy.3wRA3fqd5cB14b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ejqMXAd7N.MCN1FMLsunA"/>
</p:tagLst>
</file>

<file path=ppt/theme/theme1.xml><?xml version="1.0" encoding="utf-8"?>
<a:theme xmlns:a="http://schemas.openxmlformats.org/drawingml/2006/main" name="b150711 DARTAGNAN PRESENTATIE FEBEG v3">
  <a:themeElements>
    <a:clrScheme name="Febeg">
      <a:dk1>
        <a:sysClr val="windowText" lastClr="000000"/>
      </a:dk1>
      <a:lt1>
        <a:sysClr val="window" lastClr="FFFFFF"/>
      </a:lt1>
      <a:dk2>
        <a:srgbClr val="000000"/>
      </a:dk2>
      <a:lt2>
        <a:srgbClr val="FFFFFF"/>
      </a:lt2>
      <a:accent1>
        <a:srgbClr val="C62B37"/>
      </a:accent1>
      <a:accent2>
        <a:srgbClr val="A2D3F3"/>
      </a:accent2>
      <a:accent3>
        <a:srgbClr val="E3EDCA"/>
      </a:accent3>
      <a:accent4>
        <a:srgbClr val="CACACA"/>
      </a:accent4>
      <a:accent5>
        <a:srgbClr val="000000"/>
      </a:accent5>
      <a:accent6>
        <a:srgbClr val="FFFFFF"/>
      </a:accent6>
      <a:hlink>
        <a:srgbClr val="A2D3F3"/>
      </a:hlink>
      <a:folHlink>
        <a:srgbClr val="E3EDCA"/>
      </a:folHlink>
    </a:clrScheme>
    <a:fontScheme name="Febeg">
      <a:majorFont>
        <a:latin typeface="Lucida Sans Unicode"/>
        <a:ea typeface=""/>
        <a:cs typeface=""/>
      </a:majorFont>
      <a:minorFont>
        <a:latin typeface="Lucida Sans Unicode"/>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3" id="{9312BA46-93AE-4BD6-A4F0-62B1229086A0}" vid="{27DA3FD5-0771-4CFF-BC60-ED07846B3E18}"/>
    </a:ext>
  </a:extLst>
</a:theme>
</file>

<file path=ppt/theme/theme2.xml><?xml version="1.0" encoding="utf-8"?>
<a:theme xmlns:a="http://schemas.openxmlformats.org/drawingml/2006/main" name="1_b150711 DARTAGNAN PRESENTATIE FEBEG v3">
  <a:themeElements>
    <a:clrScheme name="Febeg">
      <a:dk1>
        <a:sysClr val="windowText" lastClr="000000"/>
      </a:dk1>
      <a:lt1>
        <a:sysClr val="window" lastClr="FFFFFF"/>
      </a:lt1>
      <a:dk2>
        <a:srgbClr val="000000"/>
      </a:dk2>
      <a:lt2>
        <a:srgbClr val="FFFFFF"/>
      </a:lt2>
      <a:accent1>
        <a:srgbClr val="C62B37"/>
      </a:accent1>
      <a:accent2>
        <a:srgbClr val="A2D3F3"/>
      </a:accent2>
      <a:accent3>
        <a:srgbClr val="E3EDCA"/>
      </a:accent3>
      <a:accent4>
        <a:srgbClr val="CACACA"/>
      </a:accent4>
      <a:accent5>
        <a:srgbClr val="000000"/>
      </a:accent5>
      <a:accent6>
        <a:srgbClr val="FFFFFF"/>
      </a:accent6>
      <a:hlink>
        <a:srgbClr val="A2D3F3"/>
      </a:hlink>
      <a:folHlink>
        <a:srgbClr val="E3EDCA"/>
      </a:folHlink>
    </a:clrScheme>
    <a:fontScheme name="Febeg">
      <a:majorFont>
        <a:latin typeface="Lucida Sans Unicode"/>
        <a:ea typeface=""/>
        <a:cs typeface=""/>
      </a:majorFont>
      <a:minorFont>
        <a:latin typeface="Lucida Sans Unicode"/>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3" id="{9312BA46-93AE-4BD6-A4F0-62B1229086A0}" vid="{27DA3FD5-0771-4CFF-BC60-ED07846B3E18}"/>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2_b150711 DARTAGNAN PRESENTATIE FEBEG v3">
  <a:themeElements>
    <a:clrScheme name="Febeg">
      <a:dk1>
        <a:sysClr val="windowText" lastClr="000000"/>
      </a:dk1>
      <a:lt1>
        <a:sysClr val="window" lastClr="FFFFFF"/>
      </a:lt1>
      <a:dk2>
        <a:srgbClr val="000000"/>
      </a:dk2>
      <a:lt2>
        <a:srgbClr val="FFFFFF"/>
      </a:lt2>
      <a:accent1>
        <a:srgbClr val="C62B37"/>
      </a:accent1>
      <a:accent2>
        <a:srgbClr val="A2D3F3"/>
      </a:accent2>
      <a:accent3>
        <a:srgbClr val="E3EDCA"/>
      </a:accent3>
      <a:accent4>
        <a:srgbClr val="CACACA"/>
      </a:accent4>
      <a:accent5>
        <a:srgbClr val="000000"/>
      </a:accent5>
      <a:accent6>
        <a:srgbClr val="FFFFFF"/>
      </a:accent6>
      <a:hlink>
        <a:srgbClr val="A2D3F3"/>
      </a:hlink>
      <a:folHlink>
        <a:srgbClr val="E3EDCA"/>
      </a:folHlink>
    </a:clrScheme>
    <a:fontScheme name="Febeg">
      <a:majorFont>
        <a:latin typeface="Lucida Sans Unicode"/>
        <a:ea typeface=""/>
        <a:cs typeface=""/>
      </a:majorFont>
      <a:minorFont>
        <a:latin typeface="Lucida Sans Unicode"/>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920B17A6-E97F-400D-904E-D1B53D24E7AD}" vid="{24CF3604-31CF-4FE4-8F92-08269ED29A83}"/>
    </a:ext>
  </a:extLst>
</a:theme>
</file>

<file path=ppt/theme/theme5.xml><?xml version="1.0" encoding="utf-8"?>
<a:theme xmlns:a="http://schemas.openxmlformats.org/drawingml/2006/main" name="3_b150711 DARTAGNAN PRESENTATIE FEBEG v3">
  <a:themeElements>
    <a:clrScheme name="Febeg">
      <a:dk1>
        <a:sysClr val="windowText" lastClr="000000"/>
      </a:dk1>
      <a:lt1>
        <a:sysClr val="window" lastClr="FFFFFF"/>
      </a:lt1>
      <a:dk2>
        <a:srgbClr val="000000"/>
      </a:dk2>
      <a:lt2>
        <a:srgbClr val="FFFFFF"/>
      </a:lt2>
      <a:accent1>
        <a:srgbClr val="C62B37"/>
      </a:accent1>
      <a:accent2>
        <a:srgbClr val="A2D3F3"/>
      </a:accent2>
      <a:accent3>
        <a:srgbClr val="E3EDCA"/>
      </a:accent3>
      <a:accent4>
        <a:srgbClr val="CACACA"/>
      </a:accent4>
      <a:accent5>
        <a:srgbClr val="000000"/>
      </a:accent5>
      <a:accent6>
        <a:srgbClr val="FFFFFF"/>
      </a:accent6>
      <a:hlink>
        <a:srgbClr val="A2D3F3"/>
      </a:hlink>
      <a:folHlink>
        <a:srgbClr val="E3EDCA"/>
      </a:folHlink>
    </a:clrScheme>
    <a:fontScheme name="Febeg">
      <a:majorFont>
        <a:latin typeface="Lucida Sans Unicode"/>
        <a:ea typeface=""/>
        <a:cs typeface=""/>
      </a:majorFont>
      <a:minorFont>
        <a:latin typeface="Lucida Sans Unicode"/>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3" id="{9312BA46-93AE-4BD6-A4F0-62B1229086A0}" vid="{27DA3FD5-0771-4CFF-BC60-ED07846B3E18}"/>
    </a:ext>
  </a:extLst>
</a:theme>
</file>

<file path=ppt/theme/theme6.xml><?xml version="1.0" encoding="utf-8"?>
<a:theme xmlns:a="http://schemas.openxmlformats.org/drawingml/2006/main" name="SIA PARTNERS TEMPLATE">
  <a:themeElements>
    <a:clrScheme name="Sia Partners 2021">
      <a:dk1>
        <a:srgbClr val="1A1A1A"/>
      </a:dk1>
      <a:lt1>
        <a:srgbClr val="383838"/>
      </a:lt1>
      <a:dk2>
        <a:srgbClr val="6A6A6A"/>
      </a:dk2>
      <a:lt2>
        <a:srgbClr val="FFFFFF"/>
      </a:lt2>
      <a:accent1>
        <a:srgbClr val="1DE9B6"/>
      </a:accent1>
      <a:accent2>
        <a:srgbClr val="383838"/>
      </a:accent2>
      <a:accent3>
        <a:srgbClr val="6A6A6A"/>
      </a:accent3>
      <a:accent4>
        <a:srgbClr val="E0E0E0"/>
      </a:accent4>
      <a:accent5>
        <a:srgbClr val="F4F4F4"/>
      </a:accent5>
      <a:accent6>
        <a:srgbClr val="FFFFFF"/>
      </a:accent6>
      <a:hlink>
        <a:srgbClr val="383838"/>
      </a:hlink>
      <a:folHlink>
        <a:srgbClr val="1A1A1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80F89547-3892-4403-97C0-C28D5DBF22F0}" vid="{B3CD4391-A277-4E18-8F55-7AEB74E5FAC1}"/>
    </a:ext>
  </a:extLst>
</a:theme>
</file>

<file path=ppt/theme/theme7.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FEBEG New Logo">
    <a:dk1>
      <a:sysClr val="windowText" lastClr="000000"/>
    </a:dk1>
    <a:lt1>
      <a:sysClr val="window" lastClr="FFFFFF"/>
    </a:lt1>
    <a:dk2>
      <a:srgbClr val="000000"/>
    </a:dk2>
    <a:lt2>
      <a:srgbClr val="CACACA"/>
    </a:lt2>
    <a:accent1>
      <a:srgbClr val="C62B37"/>
    </a:accent1>
    <a:accent2>
      <a:srgbClr val="A2D3F3"/>
    </a:accent2>
    <a:accent3>
      <a:srgbClr val="E3EDCA"/>
    </a:accent3>
    <a:accent4>
      <a:srgbClr val="CACACA"/>
    </a:accent4>
    <a:accent5>
      <a:srgbClr val="FFFFFF"/>
    </a:accent5>
    <a:accent6>
      <a:srgbClr val="FFFFFF"/>
    </a:accent6>
    <a:hlink>
      <a:srgbClr val="C62B37"/>
    </a:hlink>
    <a:folHlink>
      <a:srgbClr val="595959"/>
    </a:folHlink>
  </a:clrScheme>
  <a:fontScheme name="Kantoor">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F5841C311EE6B47A76413F77D37BCB7" ma:contentTypeVersion="16" ma:contentTypeDescription="Create a new document." ma:contentTypeScope="" ma:versionID="68ae0ce1dc2d8005be45e1487214a1c5">
  <xsd:schema xmlns:xsd="http://www.w3.org/2001/XMLSchema" xmlns:xs="http://www.w3.org/2001/XMLSchema" xmlns:p="http://schemas.microsoft.com/office/2006/metadata/properties" xmlns:ns2="f002b782-f03d-458f-907d-be30707fc0fd" xmlns:ns3="e70a0854-7ef1-4b57-8792-c1c1a3f2b52f" targetNamespace="http://schemas.microsoft.com/office/2006/metadata/properties" ma:root="true" ma:fieldsID="7c0e2270d2ff17be7369e3f70cfc7054" ns2:_="" ns3:_="">
    <xsd:import namespace="f002b782-f03d-458f-907d-be30707fc0fd"/>
    <xsd:import namespace="e70a0854-7ef1-4b57-8792-c1c1a3f2b52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02b782-f03d-458f-907d-be30707fc0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e1de52e-7296-4d03-a357-ed74ae7ac5a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70a0854-7ef1-4b57-8792-c1c1a3f2b52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2aa4a954-a813-415e-83eb-2eef50b35111}" ma:internalName="TaxCatchAll" ma:showField="CatchAllData" ma:web="e70a0854-7ef1-4b57-8792-c1c1a3f2b52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e70a0854-7ef1-4b57-8792-c1c1a3f2b52f" xsi:nil="true"/>
    <lcf76f155ced4ddcb4097134ff3c332f xmlns="f002b782-f03d-458f-907d-be30707fc0f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BE3658C-4051-4258-857A-EB87DB6BFA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02b782-f03d-458f-907d-be30707fc0fd"/>
    <ds:schemaRef ds:uri="e70a0854-7ef1-4b57-8792-c1c1a3f2b5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8330F50-10D0-4ED1-B4A5-6705B2737FB3}">
  <ds:schemaRefs>
    <ds:schemaRef ds:uri="http://schemas.microsoft.com/sharepoint/v3/contenttype/forms"/>
  </ds:schemaRefs>
</ds:datastoreItem>
</file>

<file path=customXml/itemProps3.xml><?xml version="1.0" encoding="utf-8"?>
<ds:datastoreItem xmlns:ds="http://schemas.openxmlformats.org/officeDocument/2006/customXml" ds:itemID="{78073980-8C32-4889-BDBD-45671C4990C6}">
  <ds:schemaRefs>
    <ds:schemaRef ds:uri="http://purl.org/dc/terms/"/>
    <ds:schemaRef ds:uri="http://schemas.microsoft.com/office/infopath/2007/PartnerControls"/>
    <ds:schemaRef ds:uri="http://www.w3.org/XML/1998/namespace"/>
    <ds:schemaRef ds:uri="http://schemas.microsoft.com/office/2006/documentManagement/types"/>
    <ds:schemaRef ds:uri="f002b782-f03d-458f-907d-be30707fc0fd"/>
    <ds:schemaRef ds:uri="http://schemas.microsoft.com/office/2006/metadata/properties"/>
    <ds:schemaRef ds:uri="http://purl.org/dc/elements/1.1/"/>
    <ds:schemaRef ds:uri="http://schemas.openxmlformats.org/package/2006/metadata/core-properties"/>
    <ds:schemaRef ds:uri="e70a0854-7ef1-4b57-8792-c1c1a3f2b52f"/>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Sophisticated_Template_FEBEG_v012021-16-9_FORMAT_v02</Template>
  <TotalTime>0</TotalTime>
  <Words>2556</Words>
  <Application>Microsoft Office PowerPoint</Application>
  <PresentationFormat>Breedbeeld</PresentationFormat>
  <Paragraphs>418</Paragraphs>
  <Slides>33</Slides>
  <Notes>5</Notes>
  <HiddenSlides>0</HiddenSlides>
  <MMClips>0</MMClips>
  <ScaleCrop>false</ScaleCrop>
  <HeadingPairs>
    <vt:vector size="8" baseType="variant">
      <vt:variant>
        <vt:lpstr>Gebruikte lettertypen</vt:lpstr>
      </vt:variant>
      <vt:variant>
        <vt:i4>10</vt:i4>
      </vt:variant>
      <vt:variant>
        <vt:lpstr>Thema</vt:lpstr>
      </vt:variant>
      <vt:variant>
        <vt:i4>6</vt:i4>
      </vt:variant>
      <vt:variant>
        <vt:lpstr>Ingesloten OLE-bronprogramma's</vt:lpstr>
      </vt:variant>
      <vt:variant>
        <vt:i4>2</vt:i4>
      </vt:variant>
      <vt:variant>
        <vt:lpstr>Diatitels</vt:lpstr>
      </vt:variant>
      <vt:variant>
        <vt:i4>33</vt:i4>
      </vt:variant>
    </vt:vector>
  </HeadingPairs>
  <TitlesOfParts>
    <vt:vector size="51" baseType="lpstr">
      <vt:lpstr>Arial</vt:lpstr>
      <vt:lpstr>Arial Narrow</vt:lpstr>
      <vt:lpstr>Arial Unicode MS</vt:lpstr>
      <vt:lpstr>Calibri</vt:lpstr>
      <vt:lpstr>Calibri Light</vt:lpstr>
      <vt:lpstr>Helvetica</vt:lpstr>
      <vt:lpstr>Lucida Sans</vt:lpstr>
      <vt:lpstr>Lucida Sans Unicode</vt:lpstr>
      <vt:lpstr>Wingdings</vt:lpstr>
      <vt:lpstr>Wingdings 2</vt:lpstr>
      <vt:lpstr>b150711 DARTAGNAN PRESENTATIE FEBEG v3</vt:lpstr>
      <vt:lpstr>1_b150711 DARTAGNAN PRESENTATIE FEBEG v3</vt:lpstr>
      <vt:lpstr>Office Theme</vt:lpstr>
      <vt:lpstr>2_b150711 DARTAGNAN PRESENTATIE FEBEG v3</vt:lpstr>
      <vt:lpstr>3_b150711 DARTAGNAN PRESENTATIE FEBEG v3</vt:lpstr>
      <vt:lpstr>SIA PARTNERS TEMPLATE</vt:lpstr>
      <vt:lpstr>Diapositive think-cell</vt:lpstr>
      <vt:lpstr>think-cell Slide</vt:lpstr>
      <vt:lpstr>PowerPoint-presentatie</vt:lpstr>
      <vt:lpstr>MEMBERS</vt:lpstr>
      <vt:lpstr>Introduction: prices – affordability – competitivity  </vt:lpstr>
      <vt:lpstr>Energy prices calming down after unseen peak prices </vt:lpstr>
      <vt:lpstr>CO2 prices – at high level – higher than most scenario’s </vt:lpstr>
      <vt:lpstr>B. SOS gas </vt:lpstr>
      <vt:lpstr>Qatarese minister waarschuwt voor energietekorten in Europa (23/5/23 Belga) </vt:lpstr>
      <vt:lpstr>Gas prices – alignment with JPN - korea</vt:lpstr>
      <vt:lpstr>EU GAS supply demand balance – sobriety needed to maintain balance </vt:lpstr>
      <vt:lpstr>EU reduction target reached – 15% for B</vt:lpstr>
      <vt:lpstr>Gas storage at better starting point than last year </vt:lpstr>
      <vt:lpstr>Still Russian gasflows coming to Europe</vt:lpstr>
      <vt:lpstr>Winter 2023 – 2024 ENTSOG outlook – risks: cold winter and disruption Ru flows </vt:lpstr>
      <vt:lpstr>Crisis and supply side</vt:lpstr>
      <vt:lpstr>TIJSDLIJN IMPLEMENTATIES  2021, 2022 en Q1 2023</vt:lpstr>
      <vt:lpstr>New contracts residential tariffs =&gt; normalization  </vt:lpstr>
      <vt:lpstr>The average EBIT margin has not recovered from 2021 and fell further into the negatives</vt:lpstr>
      <vt:lpstr>PowerPoint-presentatie</vt:lpstr>
      <vt:lpstr>PowerPoint-presentatie</vt:lpstr>
      <vt:lpstr>PowerPoint-presentatie</vt:lpstr>
      <vt:lpstr>Supply – conclusion </vt:lpstr>
      <vt:lpstr>E. The challenge of the energy transition</vt:lpstr>
      <vt:lpstr>Megatrends …</vt:lpstr>
      <vt:lpstr>In Belgium, the vast majority of the primary energy demand is being met by oil and gas, despite recent efforts</vt:lpstr>
      <vt:lpstr>The expected 3 fold growth in electricity demand will require very significant investments </vt:lpstr>
      <vt:lpstr>Increasing RES capacities installed </vt:lpstr>
      <vt:lpstr>Increasing renewables –accelerated development needed to reach targets </vt:lpstr>
      <vt:lpstr>PowerPoint-presentatie</vt:lpstr>
      <vt:lpstr>Pull from large consumers </vt:lpstr>
      <vt:lpstr>Technological evolution drives the consumer needs</vt:lpstr>
      <vt:lpstr>Use cases are triggered by technological evolution - but legal, metering and data management aspects are equally important and they need to be addressed in time. </vt:lpstr>
      <vt:lpstr>Sobriety, energy efficiency, electrification and decarbonization relies on investments and the commitment of the Belgian energy sector  </vt:lpstr>
      <vt:lpstr>PowerPoint-presentatie</vt:lpstr>
    </vt:vector>
  </TitlesOfParts>
  <Company>Power Presentat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idi Boonen (Febeg)</dc:creator>
  <cp:lastModifiedBy>Jozef De Borger</cp:lastModifiedBy>
  <cp:revision>34</cp:revision>
  <cp:lastPrinted>2022-09-28T09:40:22Z</cp:lastPrinted>
  <dcterms:created xsi:type="dcterms:W3CDTF">2022-02-18T08:47:27Z</dcterms:created>
  <dcterms:modified xsi:type="dcterms:W3CDTF">2023-05-30T11:5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5841C311EE6B47A76413F77D37BCB7</vt:lpwstr>
  </property>
  <property fmtid="{D5CDD505-2E9C-101B-9397-08002B2CF9AE}" pid="3" name="MediaServiceImageTags">
    <vt:lpwstr/>
  </property>
</Properties>
</file>